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102" r:id="rId2"/>
    <p:sldMasterId id="2147484127" r:id="rId3"/>
    <p:sldMasterId id="2147484219" r:id="rId4"/>
    <p:sldMasterId id="2147484241" r:id="rId5"/>
    <p:sldMasterId id="2147484325" r:id="rId6"/>
    <p:sldMasterId id="2147484348" r:id="rId7"/>
  </p:sldMasterIdLst>
  <p:notesMasterIdLst>
    <p:notesMasterId r:id="rId17"/>
  </p:notesMasterIdLst>
  <p:handoutMasterIdLst>
    <p:handoutMasterId r:id="rId18"/>
  </p:handoutMasterIdLst>
  <p:sldIdLst>
    <p:sldId id="474" r:id="rId8"/>
    <p:sldId id="560" r:id="rId9"/>
    <p:sldId id="566" r:id="rId10"/>
    <p:sldId id="565" r:id="rId11"/>
    <p:sldId id="534" r:id="rId12"/>
    <p:sldId id="569" r:id="rId13"/>
    <p:sldId id="547" r:id="rId14"/>
    <p:sldId id="359" r:id="rId15"/>
    <p:sldId id="558" r:id="rId16"/>
  </p:sldIdLst>
  <p:sldSz cx="9144000" cy="6858000" type="screen4x3"/>
  <p:notesSz cx="6797675" cy="9874250"/>
  <p:defaultTextStyle>
    <a:defPPr>
      <a:defRPr lang="de-DE"/>
    </a:defPPr>
    <a:lvl1pPr marL="0" algn="l" defTabSz="913936" rtl="0" eaLnBrk="1" latinLnBrk="0" hangingPunct="1">
      <a:defRPr lang="de-DE" sz="1800" kern="1200">
        <a:solidFill>
          <a:schemeClr val="tx1"/>
        </a:solidFill>
        <a:latin typeface="Arial"/>
        <a:ea typeface="+mn-ea"/>
        <a:cs typeface="+mn-cs"/>
      </a:defRPr>
    </a:lvl1pPr>
    <a:lvl2pPr marL="456967" algn="l" defTabSz="913936"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3936" algn="l" defTabSz="913936"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0904" algn="l" defTabSz="913936"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7872" algn="l" defTabSz="913936"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4840" algn="l" defTabSz="913936" rtl="0" eaLnBrk="1" latinLnBrk="0" hangingPunct="1">
      <a:defRPr sz="1800" kern="1200">
        <a:solidFill>
          <a:schemeClr val="tx1"/>
        </a:solidFill>
        <a:latin typeface="+mn-lt"/>
        <a:ea typeface="+mn-ea"/>
        <a:cs typeface="+mn-cs"/>
      </a:defRPr>
    </a:lvl6pPr>
    <a:lvl7pPr marL="2741808" algn="l" defTabSz="913936" rtl="0" eaLnBrk="1" latinLnBrk="0" hangingPunct="1">
      <a:defRPr sz="1800" kern="1200">
        <a:solidFill>
          <a:schemeClr val="tx1"/>
        </a:solidFill>
        <a:latin typeface="+mn-lt"/>
        <a:ea typeface="+mn-ea"/>
        <a:cs typeface="+mn-cs"/>
      </a:defRPr>
    </a:lvl7pPr>
    <a:lvl8pPr marL="3198776" algn="l" defTabSz="913936" rtl="0" eaLnBrk="1" latinLnBrk="0" hangingPunct="1">
      <a:defRPr sz="1800" kern="1200">
        <a:solidFill>
          <a:schemeClr val="tx1"/>
        </a:solidFill>
        <a:latin typeface="+mn-lt"/>
        <a:ea typeface="+mn-ea"/>
        <a:cs typeface="+mn-cs"/>
      </a:defRPr>
    </a:lvl8pPr>
    <a:lvl9pPr marL="3655743" algn="l" defTabSz="913936"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4EB51B"/>
    <a:srgbClr val="FFFFCC"/>
    <a:srgbClr val="F5F5F5"/>
    <a:srgbClr val="EAEAEA"/>
    <a:srgbClr val="99FFCC"/>
    <a:srgbClr val="003283"/>
    <a:srgbClr val="666666"/>
    <a:srgbClr val="2B3F7B"/>
    <a:srgbClr val="9C27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4088" autoAdjust="0"/>
    <p:restoredTop sz="89943" autoAdjust="0"/>
  </p:normalViewPr>
  <p:slideViewPr>
    <p:cSldViewPr snapToGrid="0" showGuides="1">
      <p:cViewPr>
        <p:scale>
          <a:sx n="90" d="100"/>
          <a:sy n="90" d="100"/>
        </p:scale>
        <p:origin x="-570" y="-264"/>
      </p:cViewPr>
      <p:guideLst>
        <p:guide orient="horz" pos="4117"/>
        <p:guide orient="horz" pos="211"/>
        <p:guide orient="horz" pos="4284"/>
        <p:guide orient="horz" pos="3352"/>
        <p:guide orient="horz" pos="191"/>
        <p:guide pos="5556"/>
        <p:guide pos="57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90" d="100"/>
          <a:sy n="90" d="100"/>
        </p:scale>
        <p:origin x="-2886" y="-114"/>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26008" y="9378824"/>
            <a:ext cx="2945659" cy="493713"/>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4825" y="422275"/>
            <a:ext cx="5788025" cy="434022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43998" y="5081949"/>
            <a:ext cx="5309680" cy="425385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31497" y="9627396"/>
            <a:ext cx="934681" cy="2217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3936" rtl="0" eaLnBrk="1" latinLnBrk="0" hangingPunct="1">
      <a:defRPr sz="1200" kern="1200">
        <a:solidFill>
          <a:schemeClr val="tx1"/>
        </a:solidFill>
        <a:latin typeface="+mn-lt"/>
        <a:ea typeface="+mn-ea"/>
        <a:cs typeface="+mn-cs"/>
      </a:defRPr>
    </a:lvl1pPr>
    <a:lvl2pPr marL="269862" indent="-179908" algn="l" defTabSz="913936"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035" indent="-182470" algn="l" defTabSz="913936"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450" indent="-133283" algn="l" defTabSz="913936"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7872" algn="l" defTabSz="913936" rtl="0" eaLnBrk="1" latinLnBrk="0" hangingPunct="1">
      <a:defRPr sz="1200" kern="1200">
        <a:solidFill>
          <a:schemeClr val="tx1"/>
        </a:solidFill>
        <a:latin typeface="+mn-lt"/>
        <a:ea typeface="+mn-ea"/>
        <a:cs typeface="+mn-cs"/>
      </a:defRPr>
    </a:lvl5pPr>
    <a:lvl6pPr marL="2284840" algn="l" defTabSz="913936" rtl="0" eaLnBrk="1" latinLnBrk="0" hangingPunct="1">
      <a:defRPr sz="1200" kern="1200">
        <a:solidFill>
          <a:schemeClr val="tx1"/>
        </a:solidFill>
        <a:latin typeface="+mn-lt"/>
        <a:ea typeface="+mn-ea"/>
        <a:cs typeface="+mn-cs"/>
      </a:defRPr>
    </a:lvl6pPr>
    <a:lvl7pPr marL="2741808" algn="l" defTabSz="913936" rtl="0" eaLnBrk="1" latinLnBrk="0" hangingPunct="1">
      <a:defRPr sz="1200" kern="1200">
        <a:solidFill>
          <a:schemeClr val="tx1"/>
        </a:solidFill>
        <a:latin typeface="+mn-lt"/>
        <a:ea typeface="+mn-ea"/>
        <a:cs typeface="+mn-cs"/>
      </a:defRPr>
    </a:lvl7pPr>
    <a:lvl8pPr marL="3198776" algn="l" defTabSz="913936" rtl="0" eaLnBrk="1" latinLnBrk="0" hangingPunct="1">
      <a:defRPr sz="1200" kern="1200">
        <a:solidFill>
          <a:schemeClr val="tx1"/>
        </a:solidFill>
        <a:latin typeface="+mn-lt"/>
        <a:ea typeface="+mn-ea"/>
        <a:cs typeface="+mn-cs"/>
      </a:defRPr>
    </a:lvl8pPr>
    <a:lvl9pPr marL="3655743" algn="l" defTabSz="91393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422275"/>
            <a:ext cx="5788025" cy="43402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1</a:t>
            </a:fld>
            <a:endParaRPr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422275"/>
            <a:ext cx="5788025" cy="4340225"/>
          </a:xfrm>
        </p:spPr>
      </p:sp>
      <p:sp>
        <p:nvSpPr>
          <p:cNvPr id="3" name="Notes Placeholder 2"/>
          <p:cNvSpPr>
            <a:spLocks noGrp="1"/>
          </p:cNvSpPr>
          <p:nvPr>
            <p:ph type="body" idx="1"/>
          </p:nvPr>
        </p:nvSpPr>
        <p:spPr/>
        <p:txBody>
          <a:bodyPr/>
          <a:lstStyle/>
          <a:p>
            <a:r>
              <a:rPr lang="en-US" dirty="0" smtClean="0"/>
              <a:t>5 main</a:t>
            </a:r>
            <a:r>
              <a:rPr lang="en-US" baseline="0" dirty="0" smtClean="0"/>
              <a:t> Segments =&gt; Structure of IM&amp;C</a:t>
            </a:r>
          </a:p>
          <a:p>
            <a:pPr marL="162175" indent="-162175">
              <a:buFont typeface="Arial" pitchFamily="34" charset="0"/>
              <a:buChar char="•"/>
            </a:pPr>
            <a:r>
              <a:rPr lang="en-US" baseline="0" dirty="0" smtClean="0"/>
              <a:t>A&amp;C : e.g. Siemens, ABB</a:t>
            </a:r>
          </a:p>
          <a:p>
            <a:pPr marL="162175" indent="-162175">
              <a:buFont typeface="Arial" pitchFamily="34" charset="0"/>
              <a:buChar char="•"/>
            </a:pPr>
            <a:r>
              <a:rPr lang="en-US" baseline="0" dirty="0" smtClean="0"/>
              <a:t>C&amp;M : Machines on wheels (e.g. CAT, Hitachi)</a:t>
            </a:r>
          </a:p>
          <a:p>
            <a:pPr marL="162175" indent="-162175">
              <a:buFont typeface="Arial" pitchFamily="34" charset="0"/>
              <a:buChar char="•"/>
            </a:pPr>
            <a:r>
              <a:rPr lang="en-US" baseline="0" dirty="0" smtClean="0"/>
              <a:t>M&amp;E : Biggest Segment</a:t>
            </a:r>
          </a:p>
          <a:p>
            <a:pPr marL="162175" indent="-162175">
              <a:buFont typeface="Arial" pitchFamily="34" charset="0"/>
              <a:buChar char="•"/>
            </a:pPr>
            <a:r>
              <a:rPr lang="en-US" dirty="0" smtClean="0"/>
              <a:t>E&amp;P</a:t>
            </a:r>
            <a:r>
              <a:rPr lang="en-US" baseline="0" dirty="0" smtClean="0"/>
              <a:t> :Turbine, Nuclear Transformation, Wind, …</a:t>
            </a:r>
          </a:p>
          <a:p>
            <a:pPr marL="162175" indent="-162175">
              <a:buFont typeface="Arial" pitchFamily="34" charset="0"/>
              <a:buChar char="•"/>
            </a:pPr>
            <a:r>
              <a:rPr lang="en-US" baseline="0" dirty="0" smtClean="0"/>
              <a:t>R&amp;S : High Speed Train,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2</a:t>
            </a:fld>
            <a:endParaRPr lang="en-US" dirty="0"/>
          </a:p>
        </p:txBody>
      </p:sp>
    </p:spTree>
    <p:extLst>
      <p:ext uri="{BB962C8B-B14F-4D97-AF65-F5344CB8AC3E}">
        <p14:creationId xmlns:p14="http://schemas.microsoft.com/office/powerpoint/2010/main" val="25118490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69" name="Rectangle 2"/>
          <p:cNvSpPr>
            <a:spLocks noGrp="1" noRot="1" noChangeAspect="1" noChangeArrowheads="1" noTextEdit="1"/>
          </p:cNvSpPr>
          <p:nvPr>
            <p:ph type="sldImg"/>
          </p:nvPr>
        </p:nvSpPr>
        <p:spPr>
          <a:xfrm>
            <a:off x="274638" y="330200"/>
            <a:ext cx="6249987" cy="4686300"/>
          </a:xfrm>
          <a:ln/>
        </p:spPr>
      </p:sp>
      <p:sp>
        <p:nvSpPr>
          <p:cNvPr id="442370" name="Rectangle 3"/>
          <p:cNvSpPr>
            <a:spLocks noGrp="1" noChangeArrowheads="1"/>
          </p:cNvSpPr>
          <p:nvPr>
            <p:ph type="body" idx="1"/>
          </p:nvPr>
        </p:nvSpPr>
        <p:spPr>
          <a:xfrm>
            <a:off x="531586" y="5346868"/>
            <a:ext cx="5667081" cy="3923733"/>
          </a:xfrm>
          <a:noFill/>
          <a:ln/>
        </p:spPr>
        <p:txBody>
          <a:bodyPr>
            <a:normAutofit fontScale="85000" lnSpcReduction="10000"/>
          </a:bodyPr>
          <a:lstStyle/>
          <a:p>
            <a:pPr marL="238928" indent="-238928"/>
            <a:r>
              <a:rPr lang="en-US" sz="500" dirty="0">
                <a:latin typeface="Arial" charset="0"/>
              </a:rPr>
              <a:t>&lt;click&gt;</a:t>
            </a:r>
          </a:p>
          <a:p>
            <a:pPr marL="238928" indent="-238928"/>
            <a:r>
              <a:rPr lang="en-US" sz="500" dirty="0">
                <a:latin typeface="Arial" charset="0"/>
              </a:rPr>
              <a:t>The first opportunity is </a:t>
            </a:r>
            <a:r>
              <a:rPr lang="en-US" sz="500" b="1" dirty="0">
                <a:latin typeface="Arial" charset="0"/>
              </a:rPr>
              <a:t>Delivering turn-key solutions.</a:t>
            </a:r>
            <a:r>
              <a:rPr lang="en-US" sz="500" dirty="0">
                <a:latin typeface="Arial" charset="0"/>
              </a:rPr>
              <a:t>  </a:t>
            </a:r>
          </a:p>
          <a:p>
            <a:pPr marL="238928" indent="-238928"/>
            <a:r>
              <a:rPr lang="en-US" dirty="0" smtClean="0">
                <a:latin typeface="Arial" charset="0"/>
              </a:rPr>
              <a:t>The business transformation toward a solution provider network includes a shift from just selling finished goods and spare parts to providing complete aftermarket service and value-added support in addition to the original equipment. This network could include parties like 3</a:t>
            </a:r>
            <a:r>
              <a:rPr lang="en-US" baseline="30000" dirty="0" smtClean="0">
                <a:latin typeface="Arial" charset="0"/>
              </a:rPr>
              <a:t>rd</a:t>
            </a:r>
            <a:r>
              <a:rPr lang="en-US" dirty="0" smtClean="0">
                <a:latin typeface="Arial" charset="0"/>
              </a:rPr>
              <a:t> party service providers for installation and non traditional partners like banks for financing.</a:t>
            </a:r>
            <a:endParaRPr lang="en-US" sz="500" dirty="0">
              <a:latin typeface="Arial" charset="0"/>
            </a:endParaRPr>
          </a:p>
          <a:p>
            <a:pPr marL="238928" indent="-238928"/>
            <a:r>
              <a:rPr lang="en-US" sz="500" dirty="0">
                <a:latin typeface="Arial" charset="0"/>
              </a:rPr>
              <a:t>Why are turn-key solutions important? </a:t>
            </a:r>
          </a:p>
          <a:p>
            <a:pPr marL="238928" indent="-238928">
              <a:buFontTx/>
              <a:buChar char="•"/>
            </a:pPr>
            <a:r>
              <a:rPr lang="en-US" sz="500" dirty="0">
                <a:latin typeface="Arial" charset="0"/>
              </a:rPr>
              <a:t>A study by</a:t>
            </a:r>
            <a:r>
              <a:rPr lang="en-US" sz="500" b="1" dirty="0">
                <a:solidFill>
                  <a:schemeClr val="hlink"/>
                </a:solidFill>
                <a:latin typeface="Arial" charset="0"/>
              </a:rPr>
              <a:t> </a:t>
            </a:r>
            <a:r>
              <a:rPr lang="en-US" sz="500" dirty="0">
                <a:latin typeface="Arial" charset="0"/>
              </a:rPr>
              <a:t>Deloitte found that some of the best performing manufacturing companies generate 50%of their revenue from services, while the average company is only at 26%</a:t>
            </a:r>
          </a:p>
          <a:p>
            <a:pPr marL="238928" indent="-238928">
              <a:buFontTx/>
              <a:buChar char="•"/>
            </a:pPr>
            <a:r>
              <a:rPr lang="en-US" sz="500" dirty="0">
                <a:solidFill>
                  <a:schemeClr val="tx2"/>
                </a:solidFill>
                <a:latin typeface="Arial" charset="0"/>
              </a:rPr>
              <a:t>Additionally, the average profitability of service and spare parts operations are typically more than 75% higher than the profitability on original equipment and machinery	</a:t>
            </a:r>
            <a:endParaRPr lang="en-US" sz="500" dirty="0">
              <a:latin typeface="Arial" charset="0"/>
            </a:endParaRPr>
          </a:p>
          <a:p>
            <a:pPr marL="238928" indent="-238928"/>
            <a:endParaRPr lang="en-US" sz="500" dirty="0">
              <a:latin typeface="Arial" charset="0"/>
            </a:endParaRPr>
          </a:p>
          <a:p>
            <a:pPr marL="238928" indent="-238928"/>
            <a:r>
              <a:rPr lang="en-US" sz="500" dirty="0">
                <a:latin typeface="Arial" charset="0"/>
              </a:rPr>
              <a:t>&lt;click&gt;</a:t>
            </a:r>
          </a:p>
          <a:p>
            <a:pPr marL="238928" indent="-238928"/>
            <a:r>
              <a:rPr lang="en-US" sz="500" dirty="0">
                <a:latin typeface="Arial" charset="0"/>
              </a:rPr>
              <a:t>The second opportunity is </a:t>
            </a:r>
            <a:r>
              <a:rPr lang="en-US" sz="500" b="1" dirty="0">
                <a:latin typeface="Arial" charset="0"/>
              </a:rPr>
              <a:t>leveraging ecosystem networks</a:t>
            </a:r>
            <a:r>
              <a:rPr lang="en-US" sz="500" dirty="0">
                <a:latin typeface="Arial" charset="0"/>
              </a:rPr>
              <a:t>. </a:t>
            </a:r>
          </a:p>
          <a:p>
            <a:pPr marL="238928" indent="-238928"/>
            <a:r>
              <a:rPr lang="en-US" sz="500" dirty="0">
                <a:latin typeface="Arial" charset="0"/>
              </a:rPr>
              <a:t>G</a:t>
            </a:r>
            <a:r>
              <a:rPr lang="en-US" dirty="0" smtClean="0">
                <a:latin typeface="Arial" charset="0"/>
              </a:rPr>
              <a:t>oing beyond the four walls of the manufacturing plant and extending out to ecosystem networks present opportunities for manufacturers to collaborate more closely downstream with customers and upstream with suppliers. This increased collaboration can create new value for the customer </a:t>
            </a:r>
            <a:r>
              <a:rPr lang="en-US" sz="500" dirty="0">
                <a:solidFill>
                  <a:schemeClr val="tx2"/>
                </a:solidFill>
                <a:latin typeface="Arial" charset="0"/>
              </a:rPr>
              <a:t>by enabling you to be the one stop shop for the customer</a:t>
            </a:r>
            <a:r>
              <a:rPr lang="en-US" dirty="0" smtClean="0">
                <a:latin typeface="Arial" charset="0"/>
              </a:rPr>
              <a:t> and create revenue stream enhancements for the manufacturer. Leveraging your ecosystem also </a:t>
            </a:r>
            <a:r>
              <a:rPr lang="en-US" sz="500" dirty="0">
                <a:solidFill>
                  <a:schemeClr val="tx2"/>
                </a:solidFill>
                <a:latin typeface="Arial" charset="0"/>
              </a:rPr>
              <a:t>provides a unique competitive advantage for your company as it is much more difficult to copy an ecosystem than a product or service . </a:t>
            </a:r>
          </a:p>
          <a:p>
            <a:pPr marL="238928" indent="-238928"/>
            <a:endParaRPr lang="en-US" sz="500" dirty="0">
              <a:latin typeface="Arial" charset="0"/>
            </a:endParaRPr>
          </a:p>
          <a:p>
            <a:pPr marL="238928" indent="-238928"/>
            <a:endParaRPr lang="en-US" sz="500" dirty="0">
              <a:solidFill>
                <a:srgbClr val="336699"/>
              </a:solidFill>
              <a:latin typeface="Arial" charset="0"/>
            </a:endParaRPr>
          </a:p>
          <a:p>
            <a:pPr marL="238928" indent="-238928"/>
            <a:r>
              <a:rPr lang="en-US" sz="500" dirty="0">
                <a:solidFill>
                  <a:srgbClr val="336699"/>
                </a:solidFill>
                <a:latin typeface="Arial" charset="0"/>
              </a:rPr>
              <a:t>&lt;click&gt;</a:t>
            </a:r>
          </a:p>
          <a:p>
            <a:pPr marL="238928" indent="-238928"/>
            <a:r>
              <a:rPr lang="en-US" sz="500" dirty="0">
                <a:latin typeface="Arial" charset="0"/>
              </a:rPr>
              <a:t>The third opportunity for manufacturers is to drive customer value through </a:t>
            </a:r>
            <a:r>
              <a:rPr lang="en-US" sz="500" b="1" dirty="0">
                <a:solidFill>
                  <a:schemeClr val="tx2"/>
                </a:solidFill>
                <a:latin typeface="Arial" charset="0"/>
              </a:rPr>
              <a:t>innovating processes and leveraging new technologies</a:t>
            </a:r>
            <a:r>
              <a:rPr lang="en-US" sz="500" dirty="0">
                <a:solidFill>
                  <a:schemeClr val="tx2"/>
                </a:solidFill>
                <a:latin typeface="Arial" charset="0"/>
              </a:rPr>
              <a:t>.</a:t>
            </a:r>
          </a:p>
          <a:p>
            <a:pPr marL="238928" indent="-238928"/>
            <a:r>
              <a:rPr lang="en-US" dirty="0" smtClean="0">
                <a:latin typeface="Arial" charset="0"/>
              </a:rPr>
              <a:t>Product sales cycle of machinery manufacturers is getting shorter because product innovation is getting faster; however, aftermarket sales and service cycle is getting longer. By leveraging technology, machinery manufacturers can create products in a totally different way.</a:t>
            </a:r>
          </a:p>
          <a:p>
            <a:pPr marL="238928" indent="-238928"/>
            <a:r>
              <a:rPr lang="en-US" dirty="0" smtClean="0">
                <a:latin typeface="Arial" charset="0"/>
              </a:rPr>
              <a:t>Mechatronics, for example, which combines mechanics, electronics, and computing to provide a synergistic approach to using hardware, electronics, and imbedded software, is becoming increasingly important</a:t>
            </a:r>
          </a:p>
          <a:p>
            <a:pPr marL="238928" indent="-238928"/>
            <a:endParaRPr lang="en-US" sz="500" dirty="0">
              <a:solidFill>
                <a:schemeClr val="tx2"/>
              </a:solidFill>
              <a:latin typeface="Arial" charset="0"/>
            </a:endParaRPr>
          </a:p>
          <a:p>
            <a:pPr marL="238928" indent="-238928"/>
            <a:endParaRPr lang="en-US" sz="500" dirty="0">
              <a:solidFill>
                <a:schemeClr val="tx2"/>
              </a:solidFill>
              <a:latin typeface="Arial" charset="0"/>
            </a:endParaRPr>
          </a:p>
          <a:p>
            <a:pPr marL="238928" indent="-238928"/>
            <a:r>
              <a:rPr lang="en-US" sz="500" dirty="0">
                <a:solidFill>
                  <a:schemeClr val="tx2"/>
                </a:solidFill>
                <a:latin typeface="Arial" charset="0"/>
              </a:rPr>
              <a:t>So if these are the opportunities that present themselves to industrial manufacturers, what must Industrial manufacturers do to capitalize on these opportunities?</a:t>
            </a:r>
          </a:p>
          <a:p>
            <a:pPr marL="497768" lvl="1" indent="-199108"/>
            <a:endParaRPr lang="en-US" sz="500" dirty="0">
              <a:solidFill>
                <a:schemeClr val="tx2"/>
              </a:solidFill>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422275"/>
            <a:ext cx="5788025" cy="4340225"/>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a:t>
            </a:fld>
            <a:endParaRPr dirty="0">
              <a:solidFill>
                <a:prstClr val="black"/>
              </a:solidFill>
            </a:endParaRPr>
          </a:p>
        </p:txBody>
      </p:sp>
    </p:spTree>
    <p:extLst>
      <p:ext uri="{BB962C8B-B14F-4D97-AF65-F5344CB8AC3E}">
        <p14:creationId xmlns:p14="http://schemas.microsoft.com/office/powerpoint/2010/main" val="1648700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422275"/>
            <a:ext cx="5788025" cy="4340225"/>
          </a:xfrm>
        </p:spPr>
      </p:sp>
      <p:sp>
        <p:nvSpPr>
          <p:cNvPr id="3" name="Notes Placeholder 2"/>
          <p:cNvSpPr>
            <a:spLocks noGrp="1"/>
          </p:cNvSpPr>
          <p:nvPr>
            <p:ph type="body" idx="1"/>
          </p:nvPr>
        </p:nvSpPr>
        <p:spPr/>
        <p:txBody>
          <a:bodyPr/>
          <a:lstStyle/>
          <a:p>
            <a:r>
              <a:rPr lang="en-US" dirty="0" smtClean="0"/>
              <a:t>1 ) </a:t>
            </a:r>
            <a:r>
              <a:rPr lang="en-US" dirty="0" err="1" smtClean="0"/>
              <a:t>Roboter</a:t>
            </a:r>
            <a:r>
              <a:rPr lang="en-US" dirty="0" smtClean="0"/>
              <a:t> </a:t>
            </a:r>
            <a:r>
              <a:rPr lang="en-US" dirty="0" err="1" smtClean="0"/>
              <a:t>lernen</a:t>
            </a:r>
            <a:r>
              <a:rPr lang="en-US" baseline="0" dirty="0" smtClean="0"/>
              <a:t> und </a:t>
            </a:r>
            <a:r>
              <a:rPr lang="en-US" baseline="0" dirty="0" err="1" smtClean="0"/>
              <a:t>werden</a:t>
            </a:r>
            <a:r>
              <a:rPr lang="en-US" baseline="0" dirty="0" smtClean="0"/>
              <a:t> </a:t>
            </a:r>
            <a:r>
              <a:rPr lang="en-US" baseline="0" dirty="0" err="1" smtClean="0"/>
              <a:t>nicht</a:t>
            </a:r>
            <a:r>
              <a:rPr lang="en-US" baseline="0" dirty="0" smtClean="0"/>
              <a:t> </a:t>
            </a:r>
            <a:r>
              <a:rPr lang="en-US" baseline="0" dirty="0" err="1" smtClean="0"/>
              <a:t>mehr</a:t>
            </a:r>
            <a:r>
              <a:rPr lang="en-US" baseline="0" dirty="0" smtClean="0"/>
              <a:t> </a:t>
            </a:r>
            <a:r>
              <a:rPr lang="en-US" baseline="0" dirty="0" err="1" smtClean="0"/>
              <a:t>programiert</a:t>
            </a:r>
            <a:r>
              <a:rPr lang="en-US" baseline="0" dirty="0" smtClean="0"/>
              <a:t> </a:t>
            </a:r>
          </a:p>
          <a:p>
            <a:r>
              <a:rPr lang="en-US" baseline="0" dirty="0" smtClean="0"/>
              <a:t>2) Virtual </a:t>
            </a:r>
            <a:r>
              <a:rPr lang="en-US" baseline="0" dirty="0" err="1" smtClean="0"/>
              <a:t>Zäune</a:t>
            </a:r>
            <a:r>
              <a:rPr lang="en-US" baseline="0" dirty="0" smtClean="0"/>
              <a:t> um </a:t>
            </a:r>
            <a:r>
              <a:rPr lang="en-US" baseline="0" dirty="0" err="1" smtClean="0"/>
              <a:t>gegenstände</a:t>
            </a:r>
            <a:r>
              <a:rPr lang="en-US" baseline="0" dirty="0" smtClean="0"/>
              <a:t> </a:t>
            </a:r>
          </a:p>
          <a:p>
            <a:r>
              <a:rPr lang="en-US" baseline="0" dirty="0" smtClean="0"/>
              <a:t>)9 </a:t>
            </a:r>
            <a:r>
              <a:rPr lang="en-US" baseline="0" dirty="0" err="1" smtClean="0"/>
              <a:t>argumented</a:t>
            </a:r>
            <a:r>
              <a:rPr lang="en-US" baseline="0" dirty="0" smtClean="0"/>
              <a:t> Reality </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Tree>
    <p:extLst>
      <p:ext uri="{BB962C8B-B14F-4D97-AF65-F5344CB8AC3E}">
        <p14:creationId xmlns:p14="http://schemas.microsoft.com/office/powerpoint/2010/main" val="2332582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lstStyle/>
          <a:p>
            <a:r>
              <a:rPr lang="en-US" dirty="0" smtClean="0"/>
              <a:t>As our customers are starting to make the vision</a:t>
            </a:r>
            <a:r>
              <a:rPr lang="en-US" baseline="0" dirty="0" smtClean="0"/>
              <a:t> a reality, so are we.. </a:t>
            </a:r>
          </a:p>
          <a:p>
            <a:endParaRPr lang="en-US" baseline="0" dirty="0" smtClean="0"/>
          </a:p>
          <a:p>
            <a:r>
              <a:rPr lang="en-US" baseline="0" dirty="0" smtClean="0"/>
              <a:t>I would like to highlight a couple of very exciting emerging solutions, Predictive Maintenance &amp; service and Configurable Product analysis as early examples of solutions that leverage the capabilities of the connected machine platform and start to deliver on the vision of the Machinery Cloud</a:t>
            </a:r>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6</a:t>
            </a:fld>
            <a:endParaRPr dirty="0">
              <a:solidFill>
                <a:prstClr val="black"/>
              </a:solidFill>
            </a:endParaRPr>
          </a:p>
        </p:txBody>
      </p:sp>
    </p:spTree>
    <p:extLst>
      <p:ext uri="{BB962C8B-B14F-4D97-AF65-F5344CB8AC3E}">
        <p14:creationId xmlns:p14="http://schemas.microsoft.com/office/powerpoint/2010/main" val="1316662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661988"/>
            <a:ext cx="4667250" cy="3500437"/>
          </a:xfrm>
        </p:spPr>
      </p:sp>
      <p:sp>
        <p:nvSpPr>
          <p:cNvPr id="3" name="Notes Placeholder 2"/>
          <p:cNvSpPr>
            <a:spLocks noGrp="1"/>
          </p:cNvSpPr>
          <p:nvPr>
            <p:ph type="body" idx="1"/>
          </p:nvPr>
        </p:nvSpPr>
        <p:spPr/>
        <p:txBody>
          <a:bodyPr>
            <a:normAutofit fontScale="85000" lnSpcReduction="20000"/>
          </a:bodyPr>
          <a:lstStyle/>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None/>
              <a:tabLst/>
            </a:pPr>
            <a:r>
              <a:rPr lang="en-US" sz="1200" kern="0" smtClean="0">
                <a:ea typeface="Arial Unicode MS" pitchFamily="34" charset="-128"/>
                <a:cs typeface="Arial Unicode MS" pitchFamily="34" charset="-128"/>
              </a:rPr>
              <a:t>SAP has the opportunity and will deliver on a platform that enables companies to confidently innovate and grow in a connected world.</a:t>
            </a:r>
            <a:r>
              <a:rPr lang="en-US" sz="1200" kern="0" baseline="0" smtClean="0">
                <a:ea typeface="Arial Unicode MS" pitchFamily="34" charset="-128"/>
                <a:cs typeface="Arial Unicode MS" pitchFamily="34" charset="-128"/>
              </a:rPr>
              <a:t> </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endParaRPr lang="en-US" sz="1200" kern="0" baseline="0" dirty="0" smtClean="0">
              <a:ea typeface="Arial Unicode MS" pitchFamily="34" charset="-128"/>
              <a:cs typeface="Arial Unicode MS" pitchFamily="34" charset="-128"/>
            </a:endParaRP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None/>
              <a:tabLst/>
            </a:pPr>
            <a:r>
              <a:rPr lang="en-US" sz="1200" kern="0" baseline="0" dirty="0" smtClean="0">
                <a:ea typeface="Arial Unicode MS" pitchFamily="34" charset="-128"/>
                <a:cs typeface="Arial Unicode MS" pitchFamily="34" charset="-128"/>
              </a:rPr>
              <a:t>This graphic shows the structure of “360 Product” regards the solution layers as well as the end to end process coverage.</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endParaRPr lang="en-US" sz="1200" kern="0" baseline="0" dirty="0" smtClean="0">
              <a:ea typeface="Arial Unicode MS" pitchFamily="34" charset="-128"/>
              <a:cs typeface="Arial Unicode MS" pitchFamily="34" charset="-128"/>
            </a:endParaRP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None/>
              <a:tabLst/>
            </a:pPr>
            <a:r>
              <a:rPr lang="en-US" sz="1200" kern="0" baseline="0" dirty="0" smtClean="0">
                <a:ea typeface="Arial Unicode MS" pitchFamily="34" charset="-128"/>
                <a:cs typeface="Arial Unicode MS" pitchFamily="34" charset="-128"/>
              </a:rPr>
              <a:t>360 Product manages all processes, staring by Invent to Design, followed by Plan, Manufacture and Service. The goal is to look into this from an integrated process perspective to enable manufacturers to bring innovative products / services faster and highest quality to market. </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endParaRPr lang="en-US" sz="1200" kern="0" baseline="0" dirty="0" smtClean="0">
              <a:ea typeface="Arial Unicode MS" pitchFamily="34" charset="-128"/>
              <a:cs typeface="Arial Unicode MS" pitchFamily="34" charset="-128"/>
            </a:endParaRP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b="1" kern="0" baseline="0" dirty="0" smtClean="0">
                <a:ea typeface="Arial Unicode MS" pitchFamily="34" charset="-128"/>
                <a:cs typeface="Arial Unicode MS" pitchFamily="34" charset="-128"/>
              </a:rPr>
              <a:t>Visualization</a:t>
            </a:r>
            <a:r>
              <a:rPr lang="en-US" sz="1200" kern="0" baseline="0" dirty="0" smtClean="0">
                <a:ea typeface="Arial Unicode MS" pitchFamily="34" charset="-128"/>
                <a:cs typeface="Arial Unicode MS" pitchFamily="34" charset="-128"/>
              </a:rPr>
              <a:t>: 3D visualization is changing the paradigm to communicate and collaborate across engineering, manufacturing and service. Visualization linked with business information is simplifying complex product descriptions while bringing all information around a product or component to the consumer on a finger tip anytime anywhere. Visual work instructions help to communicate more efficient in manufacturing while service information linked with visual instructions empower the service worked with all information he need.</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b="1" kern="0" baseline="0" dirty="0" smtClean="0">
                <a:ea typeface="Arial Unicode MS" pitchFamily="34" charset="-128"/>
                <a:cs typeface="Arial Unicode MS" pitchFamily="34" charset="-128"/>
              </a:rPr>
              <a:t>Mobile</a:t>
            </a:r>
            <a:r>
              <a:rPr lang="en-US" sz="1200" kern="0" baseline="0" dirty="0" smtClean="0">
                <a:ea typeface="Arial Unicode MS" pitchFamily="34" charset="-128"/>
                <a:cs typeface="Arial Unicode MS" pitchFamily="34" charset="-128"/>
              </a:rPr>
              <a:t>: Mobile provides the flexibility to have all information which are needed in Engineering, Manufacturing or Service available anytime anywhere, combined with 3D visualization and analytics the workforce productivity is increasing.</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b="1" kern="0" baseline="0" dirty="0" smtClean="0">
                <a:ea typeface="Arial Unicode MS" pitchFamily="34" charset="-128"/>
                <a:cs typeface="Arial Unicode MS" pitchFamily="34" charset="-128"/>
              </a:rPr>
              <a:t>Analytics</a:t>
            </a:r>
            <a:r>
              <a:rPr lang="en-US" sz="1200" kern="0" baseline="0" dirty="0" smtClean="0">
                <a:ea typeface="Arial Unicode MS" pitchFamily="34" charset="-128"/>
                <a:cs typeface="Arial Unicode MS" pitchFamily="34" charset="-128"/>
              </a:rPr>
              <a:t>: provide a 360 view on all required information of a product / service across roles and organizational boundaries supports fast and fact based decision making. Imagine a service worker can search at the customer side through a 3D product representation about spare parts, price, availability, quality reports and get visual via moves instructed how to exchange a component.  </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kern="0" baseline="0" dirty="0" smtClean="0">
                <a:ea typeface="Arial Unicode MS" pitchFamily="34" charset="-128"/>
                <a:cs typeface="Arial Unicode MS" pitchFamily="34" charset="-128"/>
              </a:rPr>
              <a:t> </a:t>
            </a:r>
            <a:r>
              <a:rPr lang="en-US" sz="1200" b="1" kern="0" baseline="0" dirty="0" smtClean="0">
                <a:ea typeface="Arial Unicode MS" pitchFamily="34" charset="-128"/>
                <a:cs typeface="Arial Unicode MS" pitchFamily="34" charset="-128"/>
              </a:rPr>
              <a:t>Data and Process Information center</a:t>
            </a:r>
            <a:r>
              <a:rPr lang="en-US" sz="1200" kern="0" baseline="0" dirty="0" smtClean="0">
                <a:ea typeface="Arial Unicode MS" pitchFamily="34" charset="-128"/>
                <a:cs typeface="Arial Unicode MS" pitchFamily="34" charset="-128"/>
              </a:rPr>
              <a:t>: integrated solutions for design (PLM), manufacturing (ME, MII, QM) and EAM provide the consistent description of data, structures, and processes for the products, services and assets.</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b="1" kern="0" baseline="0" dirty="0" smtClean="0">
                <a:ea typeface="Arial Unicode MS" pitchFamily="34" charset="-128"/>
                <a:cs typeface="Arial Unicode MS" pitchFamily="34" charset="-128"/>
              </a:rPr>
              <a:t>HANA</a:t>
            </a:r>
            <a:r>
              <a:rPr lang="en-US" sz="1200" kern="0" baseline="0" dirty="0" smtClean="0">
                <a:ea typeface="Arial Unicode MS" pitchFamily="34" charset="-128"/>
                <a:cs typeface="Arial Unicode MS" pitchFamily="34" charset="-128"/>
              </a:rPr>
              <a:t>: All this applications can be supported by HANA to get real time information, for better and faster decision making </a:t>
            </a:r>
            <a:endParaRPr lang="en-US" sz="1200" kern="0" dirty="0" smtClean="0">
              <a:ea typeface="Arial Unicode MS" pitchFamily="34" charset="-128"/>
              <a:cs typeface="Arial Unicode MS" pitchFamily="34" charset="-128"/>
            </a:endParaRP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r>
              <a:rPr lang="en-US" sz="1200" b="1" kern="0" dirty="0" smtClean="0">
                <a:ea typeface="Arial Unicode MS" pitchFamily="34" charset="-128"/>
                <a:cs typeface="Arial Unicode MS" pitchFamily="34" charset="-128"/>
              </a:rPr>
              <a:t>Integration</a:t>
            </a:r>
            <a:r>
              <a:rPr lang="en-US" sz="1200" kern="0" dirty="0" smtClean="0">
                <a:ea typeface="Arial Unicode MS" pitchFamily="34" charset="-128"/>
                <a:cs typeface="Arial Unicode MS" pitchFamily="34" charset="-128"/>
              </a:rPr>
              <a:t>: The</a:t>
            </a:r>
            <a:r>
              <a:rPr lang="en-US" sz="1200" kern="0" baseline="0" dirty="0" smtClean="0">
                <a:ea typeface="Arial Unicode MS" pitchFamily="34" charset="-128"/>
                <a:cs typeface="Arial Unicode MS" pitchFamily="34" charset="-128"/>
              </a:rPr>
              <a:t> open architecture of SAPs solutions allow to interact during all process steps with other systems, machines, or networks.</a:t>
            </a: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Char char="•"/>
              <a:tabLst/>
            </a:pPr>
            <a:endParaRPr lang="en-US" sz="1200" kern="0" baseline="0" dirty="0" smtClean="0">
              <a:ea typeface="Arial Unicode MS" pitchFamily="34" charset="-128"/>
              <a:cs typeface="Arial Unicode MS" pitchFamily="34" charset="-128"/>
            </a:endParaRPr>
          </a:p>
          <a:p>
            <a:pPr marL="171450" marR="0" indent="-171450" defTabSz="914400" eaLnBrk="1" fontAlgn="base" latinLnBrk="0" hangingPunct="1">
              <a:lnSpc>
                <a:spcPct val="100000"/>
              </a:lnSpc>
              <a:spcBef>
                <a:spcPct val="50000"/>
              </a:spcBef>
              <a:spcAft>
                <a:spcPct val="0"/>
              </a:spcAft>
              <a:buClr>
                <a:schemeClr val="bg1"/>
              </a:buClr>
              <a:buSzPct val="80000"/>
              <a:buFont typeface="Arial" pitchFamily="34" charset="0"/>
              <a:buNone/>
              <a:tabLst/>
            </a:pPr>
            <a:r>
              <a:rPr lang="en-US" sz="1200" kern="0" dirty="0" smtClean="0">
                <a:ea typeface="Arial Unicode MS" pitchFamily="34" charset="-128"/>
                <a:cs typeface="Arial Unicode MS" pitchFamily="34" charset="-128"/>
              </a:rPr>
              <a:t>360 Product</a:t>
            </a:r>
            <a:r>
              <a:rPr lang="en-US" sz="1200" kern="0" baseline="0" dirty="0" smtClean="0">
                <a:ea typeface="Arial Unicode MS" pitchFamily="34" charset="-128"/>
                <a:cs typeface="Arial Unicode MS" pitchFamily="34" charset="-128"/>
              </a:rPr>
              <a:t> addresses the 5 Market category of SAP in an integrated and comprehensive fashion and  represents a unique offering to provide highest value to our customers </a:t>
            </a:r>
            <a:endParaRPr lang="en-US" sz="1200" kern="0" dirty="0" smtClean="0">
              <a:ea typeface="Arial Unicode MS" pitchFamily="34" charset="-128"/>
              <a:cs typeface="Arial Unicode MS" pitchFamily="34" charset="-128"/>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252EABF6-D22D-4EE2-B98C-233FF446E55C}" type="slidenum">
              <a:rPr lang="en-US" smtClean="0">
                <a:solidFill>
                  <a:prstClr val="black"/>
                </a:solidFill>
              </a:rPr>
              <a:pPr>
                <a:defRPr/>
              </a:pPr>
              <a:t>7</a:t>
            </a:fld>
            <a:endParaRPr lang="en-US"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0275" y="739775"/>
            <a:ext cx="4937125" cy="3703638"/>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9</a:t>
            </a:fld>
            <a:endParaRPr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hyperlink" Target="http://www.sap.com/corporate-en/legal/copyright/index.epx" TargetMode="Externa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17315" y="-314545"/>
            <a:ext cx="9178630" cy="7172549"/>
          </a:xfrm>
          <a:prstGeom prst="rect">
            <a:avLst/>
          </a:prstGeom>
        </p:spPr>
      </p:pic>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1" y="324003"/>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pic>
        <p:nvPicPr>
          <p:cNvPr id="8" name="Picture 7" descr="SAP_grad_R_pref.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664234"/>
            <a:ext cx="8496000" cy="415766"/>
          </a:xfrm>
        </p:spPr>
        <p:txBody>
          <a:bodyPr/>
          <a:lstStyle>
            <a:lvl1pPr>
              <a:defRPr>
                <a:solidFill>
                  <a:schemeClr val="tx1"/>
                </a:solidFill>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1"/>
          <p:cNvSpPr txBox="1">
            <a:spLocks/>
          </p:cNvSpPr>
          <p:nvPr userDrawn="1"/>
        </p:nvSpPr>
        <p:spPr bwMode="gray">
          <a:xfrm>
            <a:off x="347004" y="243484"/>
            <a:ext cx="8496000" cy="378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000" b="0" dirty="0" smtClean="0">
                <a:solidFill>
                  <a:schemeClr val="tx1"/>
                </a:solidFill>
              </a:rPr>
              <a:t>Industrial Machinery &amp; Components</a:t>
            </a:r>
            <a:endParaRPr lang="en-US" sz="2000" b="0" dirty="0">
              <a:solidFill>
                <a:schemeClr val="tx1"/>
              </a:solidFill>
            </a:endParaRPr>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97"/>
            <a:ext cx="3078000" cy="4391025"/>
          </a:xfrm>
        </p:spPr>
        <p:txBody>
          <a:bodyPr tIns="1293808" anchor="t" anchorCtr="0"/>
          <a:lstStyle>
            <a:lvl1pPr algn="ctr">
              <a:defRPr b="0"/>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069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4840023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10"/>
            <a:ext cx="4165200" cy="4392000"/>
          </a:xfrm>
        </p:spPr>
        <p:txBody>
          <a:bodyPr vert="horz" lIns="0" tIns="1293808" rIns="0" bIns="0" rtlCol="0" anchor="t" anchorCtr="0">
            <a:noAutofit/>
          </a:bodyPr>
          <a:lstStyle>
            <a:lvl1pPr marL="0" indent="0" algn="ctr" defTabSz="912855"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1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4162508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10"/>
            <a:ext cx="5238000" cy="4392000"/>
          </a:xfrm>
        </p:spPr>
        <p:txBody>
          <a:bodyPr vert="horz" lIns="0" tIns="1293808" rIns="0" bIns="0" rtlCol="0" anchor="t" anchorCtr="0">
            <a:noAutofit/>
          </a:bodyPr>
          <a:lstStyle>
            <a:lvl1pPr marL="0" indent="0" algn="ctr" defTabSz="912855"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1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8959755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500"/>
            <a:ext cx="4165200" cy="2508223"/>
          </a:xfrm>
        </p:spPr>
        <p:txBody>
          <a:bodyPr tIns="503149" anchor="t" anchorCtr="0"/>
          <a:lstStyle>
            <a:lvl1pPr algn="ctr">
              <a:defRPr b="0"/>
            </a:lvl1pPr>
          </a:lstStyle>
          <a:p>
            <a:r>
              <a:rPr lang="en-US" dirty="0" smtClean="0"/>
              <a:t>Click icon to add picture</a:t>
            </a:r>
            <a:endParaRPr lang="de-DE" dirty="0"/>
          </a:p>
        </p:txBody>
      </p:sp>
      <p:sp>
        <p:nvSpPr>
          <p:cNvPr id="11" name="Picture Placeholder 4"/>
          <p:cNvSpPr>
            <a:spLocks noGrp="1"/>
          </p:cNvSpPr>
          <p:nvPr>
            <p:ph type="pic" sz="quarter" idx="16"/>
          </p:nvPr>
        </p:nvSpPr>
        <p:spPr bwMode="gray">
          <a:xfrm>
            <a:off x="4654800" y="3573500"/>
            <a:ext cx="4165200" cy="2508223"/>
          </a:xfrm>
        </p:spPr>
        <p:txBody>
          <a:bodyPr tIns="503149" anchor="t" anchorCtr="0"/>
          <a:lstStyle>
            <a:lvl1pPr algn="ctr">
              <a:defRPr b="0"/>
            </a:lvl1pPr>
          </a:lstStyle>
          <a:p>
            <a:r>
              <a:rPr lang="en-US" dirty="0" smtClean="0"/>
              <a:t>Click icon to add picture</a:t>
            </a:r>
            <a:endParaRPr lang="de-DE" dirty="0"/>
          </a:p>
        </p:txBody>
      </p:sp>
    </p:spTree>
    <p:extLst>
      <p:ext uri="{BB962C8B-B14F-4D97-AF65-F5344CB8AC3E}">
        <p14:creationId xmlns:p14="http://schemas.microsoft.com/office/powerpoint/2010/main" val="23007666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2008"/>
            <a:ext cx="8496000" cy="4392000"/>
          </a:xfrm>
        </p:spPr>
        <p:txBody>
          <a:bodyPr tIns="1437564"/>
          <a:lstStyle>
            <a:lvl1pPr algn="ctr">
              <a:defRPr b="0"/>
            </a:lvl1pPr>
          </a:lstStyle>
          <a:p>
            <a:pPr lvl="0"/>
            <a:r>
              <a:rPr lang="en-US" dirty="0" smtClean="0"/>
              <a:t>Click to add content</a:t>
            </a:r>
          </a:p>
        </p:txBody>
      </p:sp>
    </p:spTree>
    <p:extLst>
      <p:ext uri="{BB962C8B-B14F-4D97-AF65-F5344CB8AC3E}">
        <p14:creationId xmlns:p14="http://schemas.microsoft.com/office/powerpoint/2010/main" val="34194757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1" y="1692000"/>
            <a:ext cx="8494713" cy="2816156"/>
          </a:xfrm>
        </p:spPr>
        <p:txBody>
          <a:bodyPr>
            <a:noAutofit/>
          </a:bodyPr>
          <a:lstStyle>
            <a:lvl1pPr>
              <a:spcBef>
                <a:spcPts val="1799"/>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32689061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82091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defTabSz="912855">
              <a:lnSpc>
                <a:spcPct val="95000"/>
              </a:lnSpc>
              <a:spcBef>
                <a:spcPts val="400"/>
              </a:spcBef>
            </a:pPr>
            <a:r>
              <a:rPr lang="en-GB"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Some software products marketed by SAP AG and its distributors contain proprietary software components of other software vendors.</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Microsoft, Windows, Excel, Outlook, and PowerPoint are registered trademarks of Microsoft Corporation. </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Linux is the registered trademark of Linus Torvalds in the U.S. and other countries.</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Oracle is a registered trademark of Oracle Corporation.</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UNIX, X/Open, OSF/1, and Motif are registered trademarks of the Open Group.</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Citrix, ICA, Program Neighborhood, MetaFrame, WinFrame, VideoFrame, and MultiWin are trademarks or registered trademarks of Citrix Systems, Inc.</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HTML, XML, XHTML and W3C are trademarks or registered trademarks of W3C®, World Wide Web Consortium, Massachusetts Institute of Technology. </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Java is a registered trademark of Sun Microsystems, Inc.</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JavaScript is a registered trademark of Sun Microsystems, Inc., used under license for technology invented and implemented by Netscape. </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sz="800" noProof="1" smtClean="0">
              <a:solidFill>
                <a:srgbClr val="000000"/>
              </a:solidFill>
              <a:ea typeface="MS PGothic" pitchFamily="34" charset="-128"/>
            </a:endParaRPr>
          </a:p>
        </p:txBody>
      </p:sp>
      <p:sp>
        <p:nvSpPr>
          <p:cNvPr id="11" name="TextBox 10"/>
          <p:cNvSpPr txBox="1"/>
          <p:nvPr userDrawn="1"/>
        </p:nvSpPr>
        <p:spPr bwMode="gray">
          <a:xfrm>
            <a:off x="324001" y="324000"/>
            <a:ext cx="5311198" cy="756000"/>
          </a:xfrm>
          <a:prstGeom prst="rect">
            <a:avLst/>
          </a:prstGeom>
        </p:spPr>
        <p:txBody>
          <a:bodyPr vert="horz" lIns="0" tIns="0" rIns="0" bIns="0" rtlCol="0" anchor="ctr" anchorCtr="0">
            <a:noAutofit/>
          </a:bodyPr>
          <a:lstStyle/>
          <a:p>
            <a:pPr defTabSz="912855">
              <a:spcBef>
                <a:spcPct val="0"/>
              </a:spcBef>
            </a:pPr>
            <a:r>
              <a:rPr lang="en-GB" sz="2400" b="1" dirty="0" smtClean="0">
                <a:solidFill>
                  <a:srgbClr val="666666"/>
                </a:solidFill>
              </a:rPr>
              <a:t>© </a:t>
            </a:r>
            <a:r>
              <a:rPr sz="2400" b="1" dirty="0" smtClean="0">
                <a:solidFill>
                  <a:srgbClr val="666666"/>
                </a:solidFill>
              </a:rPr>
              <a:t>2011 SAP AG. All rights reserved</a:t>
            </a:r>
          </a:p>
        </p:txBody>
      </p:sp>
      <p:sp>
        <p:nvSpPr>
          <p:cNvPr id="6" name="TextBox 5"/>
          <p:cNvSpPr txBox="1"/>
          <p:nvPr userDrawn="1"/>
        </p:nvSpPr>
        <p:spPr bwMode="gray">
          <a:xfrm>
            <a:off x="4654800" y="1692010"/>
            <a:ext cx="4165200" cy="3867725"/>
          </a:xfrm>
          <a:prstGeom prst="rect">
            <a:avLst/>
          </a:prstGeom>
          <a:noFill/>
        </p:spPr>
        <p:txBody>
          <a:bodyPr wrap="square" lIns="0" tIns="0" rIns="0" bIns="0" rtlCol="0">
            <a:spAutoFit/>
          </a:bodyPr>
          <a:lstStyle/>
          <a:p>
            <a:pPr defTabSz="912855" fontAlgn="t">
              <a:lnSpc>
                <a:spcPct val="95000"/>
              </a:lnSpc>
              <a:spcBef>
                <a:spcPts val="400"/>
              </a:spcBef>
            </a:pPr>
            <a:r>
              <a:rPr lang="en-US"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800" noProof="1" smtClean="0">
              <a:solidFill>
                <a:srgbClr val="000000"/>
              </a:solidFill>
              <a:ea typeface="MS PGothic" pitchFamily="34" charset="-128"/>
            </a:endParaRPr>
          </a:p>
          <a:p>
            <a:pPr defTabSz="912855">
              <a:lnSpc>
                <a:spcPct val="95000"/>
              </a:lnSpc>
              <a:spcBef>
                <a:spcPts val="400"/>
              </a:spcBef>
            </a:pPr>
            <a:r>
              <a:rPr lang="en-GB"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SAP shall have no liability for damages of any kind including without limitation direct, special, indirect, or consequential damages that may result from the use of these materials. This limitation shall not apply in cases of intent or gross negligence.</a:t>
            </a:r>
            <a:endParaRPr sz="800" noProof="1" smtClean="0">
              <a:solidFill>
                <a:srgbClr val="000000"/>
              </a:solidFill>
              <a:ea typeface="MS PGothic" pitchFamily="34" charset="-128"/>
            </a:endParaRPr>
          </a:p>
          <a:p>
            <a:pPr defTabSz="912855">
              <a:lnSpc>
                <a:spcPct val="95000"/>
              </a:lnSpc>
              <a:spcBef>
                <a:spcPts val="400"/>
              </a:spcBef>
            </a:pPr>
            <a:r>
              <a:rPr lang="en-US" sz="800" noProof="1" smtClean="0">
                <a:solidFill>
                  <a:srgbClr val="000000"/>
                </a:solidFill>
                <a:ea typeface="MS PGothic" pitchFamily="34" charset="-128"/>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noProof="1">
              <a:solidFill>
                <a:srgbClr val="000000"/>
              </a:solidFill>
              <a:ea typeface="MS PGothic" pitchFamily="34" charset="-128"/>
            </a:endParaRPr>
          </a:p>
        </p:txBody>
      </p:sp>
    </p:spTree>
    <p:extLst>
      <p:ext uri="{BB962C8B-B14F-4D97-AF65-F5344CB8AC3E}">
        <p14:creationId xmlns:p14="http://schemas.microsoft.com/office/powerpoint/2010/main" val="398258067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1" y="32401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2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80"/>
            <a:ext cx="684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7" name="Rounded Rectangle 6"/>
          <p:cNvSpPr/>
          <p:nvPr userDrawn="1"/>
        </p:nvSpPr>
        <p:spPr bwMode="gray">
          <a:xfrm rot="900000">
            <a:off x="6772425" y="3348141"/>
            <a:ext cx="2021452" cy="467067"/>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3757" tIns="71877" rIns="143757" bIns="71877" rtlCol="0" anchor="ctr">
            <a:spAutoFit/>
          </a:bodyPr>
          <a:lstStyle/>
          <a:p>
            <a:pPr algn="ctr" defTabSz="912855" fontAlgn="base">
              <a:spcBef>
                <a:spcPct val="50000"/>
              </a:spcBef>
              <a:spcAft>
                <a:spcPct val="0"/>
              </a:spcAft>
              <a:buClr>
                <a:srgbClr val="F0AB00"/>
              </a:buClr>
              <a:buSzPct val="80000"/>
            </a:pPr>
            <a:r>
              <a:rPr kern="0" dirty="0" smtClean="0">
                <a:solidFill>
                  <a:srgbClr val="FFFFFF"/>
                </a:solidFill>
                <a:ea typeface="Arial Unicode MS" pitchFamily="34" charset="-128"/>
                <a:cs typeface="Arial Unicode MS" pitchFamily="34" charset="-128"/>
                <a:sym typeface="Arial"/>
              </a:rPr>
              <a:t>CONFIDENTIAL</a:t>
            </a:r>
            <a:endParaRPr lang="en-US" kern="0" dirty="0" smtClean="0">
              <a:solidFill>
                <a:srgbClr val="FFFFFF"/>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39242757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cSld name="Title Slide with picture">
    <p:bg>
      <p:bgRef idx="1001">
        <a:schemeClr val="bg2"/>
      </p:bgRef>
    </p:bg>
    <p:spTree>
      <p:nvGrpSpPr>
        <p:cNvPr id="1" name=""/>
        <p:cNvGrpSpPr/>
        <p:nvPr/>
      </p:nvGrpSpPr>
      <p:grpSpPr>
        <a:xfrm>
          <a:off x="0" y="0"/>
          <a:ext cx="0" cy="0"/>
          <a:chOff x="0" y="0"/>
          <a:chExt cx="0" cy="0"/>
        </a:xfrm>
      </p:grpSpPr>
      <p:sp>
        <p:nvSpPr>
          <p:cNvPr id="8" name="Rectangle 7"/>
          <p:cNvSpPr/>
          <p:nvPr/>
        </p:nvSpPr>
        <p:spPr bwMode="gray">
          <a:xfrm>
            <a:off x="151200" y="2988000"/>
            <a:ext cx="8841600" cy="37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5" tIns="45641" rIns="91285" bIns="45641" rtlCol="0" anchor="ctr"/>
          <a:lstStyle/>
          <a:p>
            <a:pPr algn="ctr" defTabSz="912855"/>
            <a:endParaRPr lang="en-US" dirty="0">
              <a:solidFill>
                <a:srgbClr val="FFFFFF"/>
              </a:solidFill>
            </a:endParaRPr>
          </a:p>
        </p:txBody>
      </p:sp>
      <p:sp>
        <p:nvSpPr>
          <p:cNvPr id="11" name="Right Triangle 10"/>
          <p:cNvSpPr/>
          <p:nvPr/>
        </p:nvSpPr>
        <p:spPr bwMode="white">
          <a:xfrm flipH="1">
            <a:off x="8486819" y="6215083"/>
            <a:ext cx="557211" cy="55721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285" tIns="45641" rIns="91285" bIns="45641" rtlCol="0" anchor="ctr"/>
          <a:lstStyle/>
          <a:p>
            <a:pPr algn="ctr" defTabSz="912855"/>
            <a:endParaRPr lang="en-US" dirty="0">
              <a:solidFill>
                <a:srgbClr val="FFFFFF"/>
              </a:solidFill>
            </a:endParaRPr>
          </a:p>
        </p:txBody>
      </p:sp>
      <p:sp>
        <p:nvSpPr>
          <p:cNvPr id="7" name="Rectangle 6"/>
          <p:cNvSpPr/>
          <p:nvPr/>
        </p:nvSpPr>
        <p:spPr bwMode="gray">
          <a:xfrm>
            <a:off x="151201" y="151200"/>
            <a:ext cx="5860800" cy="273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285" tIns="45641" rIns="91285" bIns="45641" rtlCol="0" anchor="ctr"/>
          <a:lstStyle/>
          <a:p>
            <a:pPr algn="ctr" defTabSz="912855"/>
            <a:endParaRPr lang="en-US" dirty="0">
              <a:solidFill>
                <a:srgbClr val="FFFFFF"/>
              </a:solidFill>
            </a:endParaRPr>
          </a:p>
        </p:txBody>
      </p:sp>
      <p:sp>
        <p:nvSpPr>
          <p:cNvPr id="2" name="Title 1"/>
          <p:cNvSpPr>
            <a:spLocks noGrp="1"/>
          </p:cNvSpPr>
          <p:nvPr>
            <p:ph type="ctrTitle" hasCustomPrompt="1"/>
          </p:nvPr>
        </p:nvSpPr>
        <p:spPr bwMode="gray">
          <a:xfrm>
            <a:off x="248400" y="201609"/>
            <a:ext cx="5666400" cy="2559600"/>
          </a:xfrm>
        </p:spPr>
        <p:txBody>
          <a:bodyPr/>
          <a:lstStyle>
            <a:lvl1pPr>
              <a:defRPr/>
            </a:lvl1pPr>
          </a:lstStyle>
          <a:p>
            <a:r>
              <a:rPr lang="en-US" noProof="0" smtClean="0"/>
              <a:t>Click to Add Title (Title Case)</a:t>
            </a:r>
            <a:endParaRPr lang="en-US" dirty="0"/>
          </a:p>
        </p:txBody>
      </p:sp>
      <p:sp>
        <p:nvSpPr>
          <p:cNvPr id="3" name="Subtitle 2"/>
          <p:cNvSpPr>
            <a:spLocks noGrp="1"/>
          </p:cNvSpPr>
          <p:nvPr>
            <p:ph type="subTitle" idx="1" hasCustomPrompt="1"/>
          </p:nvPr>
        </p:nvSpPr>
        <p:spPr bwMode="gray">
          <a:xfrm>
            <a:off x="248400" y="3110400"/>
            <a:ext cx="5666400" cy="1752600"/>
          </a:xfrm>
        </p:spPr>
        <p:txBody>
          <a:bodyPr/>
          <a:lstStyle>
            <a:lvl1pPr marL="0" indent="0" algn="l">
              <a:spcBef>
                <a:spcPts val="0"/>
              </a:spcBef>
              <a:buNone/>
              <a:defRPr sz="2000">
                <a:solidFill>
                  <a:schemeClr val="accent2"/>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Click to add Department, Board Area or Team</a:t>
            </a:r>
          </a:p>
        </p:txBody>
      </p:sp>
      <p:pic>
        <p:nvPicPr>
          <p:cNvPr id="10" name="Picture 9" descr="sap_tagstra_CG8_P_tmr_p.png"/>
          <p:cNvPicPr>
            <a:picLocks noChangeAspect="1"/>
          </p:cNvPicPr>
          <p:nvPr/>
        </p:nvPicPr>
        <p:blipFill>
          <a:blip r:embed="rId2" cstate="print"/>
          <a:stretch>
            <a:fillRect/>
          </a:stretch>
        </p:blipFill>
        <p:spPr bwMode="gray">
          <a:xfrm>
            <a:off x="4784401" y="6271200"/>
            <a:ext cx="4207307" cy="432000"/>
          </a:xfrm>
          <a:prstGeom prst="rect">
            <a:avLst/>
          </a:prstGeom>
        </p:spPr>
      </p:pic>
      <p:sp>
        <p:nvSpPr>
          <p:cNvPr id="12" name="Picture Placeholder 11"/>
          <p:cNvSpPr>
            <a:spLocks noGrp="1"/>
          </p:cNvSpPr>
          <p:nvPr>
            <p:ph type="pic" sz="quarter" idx="10"/>
          </p:nvPr>
        </p:nvSpPr>
        <p:spPr bwMode="gray">
          <a:xfrm>
            <a:off x="6109200" y="151200"/>
            <a:ext cx="2883600" cy="2739600"/>
          </a:xfrm>
          <a:solidFill>
            <a:schemeClr val="accent2">
              <a:lumMod val="20000"/>
              <a:lumOff val="80000"/>
            </a:schemeClr>
          </a:solidFill>
        </p:spPr>
        <p:txBody>
          <a:bodyPr/>
          <a:lstStyle/>
          <a:p>
            <a:r>
              <a:rPr lang="en-US" dirty="0" smtClean="0"/>
              <a:t>Click icon to add picture</a:t>
            </a:r>
            <a:endParaRPr lang="en-US" dirty="0"/>
          </a:p>
        </p:txBody>
      </p:sp>
    </p:spTree>
    <p:extLst>
      <p:ext uri="{BB962C8B-B14F-4D97-AF65-F5344CB8AC3E}">
        <p14:creationId xmlns:p14="http://schemas.microsoft.com/office/powerpoint/2010/main" val="3597072313"/>
      </p:ext>
    </p:extLst>
  </p:cSld>
  <p:clrMapOvr>
    <a:overrideClrMapping bg1="lt1" tx1="dk1" bg2="lt2" tx2="dk2" accent1="accent1" accent2="accent2" accent3="accent3" accent4="accent4" accent5="accent5" accent6="accent6" hlink="hlink" folHlink="folHlink"/>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002"/>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2"/>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Title and Text with picture lef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Click to Add Title (Title Case)</a:t>
            </a:r>
            <a:endParaRPr lang="en-US" dirty="0"/>
          </a:p>
        </p:txBody>
      </p:sp>
      <p:sp>
        <p:nvSpPr>
          <p:cNvPr id="5" name="Picture Placeholder 4"/>
          <p:cNvSpPr>
            <a:spLocks noGrp="1"/>
          </p:cNvSpPr>
          <p:nvPr>
            <p:ph type="pic" sz="quarter" idx="10"/>
          </p:nvPr>
        </p:nvSpPr>
        <p:spPr bwMode="gray">
          <a:xfrm>
            <a:off x="151201" y="1292400"/>
            <a:ext cx="2883600" cy="5410800"/>
          </a:xfrm>
        </p:spPr>
        <p:txBody>
          <a:bodyPr/>
          <a:lstStyle/>
          <a:p>
            <a:r>
              <a:rPr lang="en-US" dirty="0" smtClean="0"/>
              <a:t>Click icon to add picture</a:t>
            </a:r>
            <a:endParaRPr lang="en-US" dirty="0"/>
          </a:p>
        </p:txBody>
      </p:sp>
      <p:sp>
        <p:nvSpPr>
          <p:cNvPr id="7" name="Text Placeholder 6"/>
          <p:cNvSpPr>
            <a:spLocks noGrp="1"/>
          </p:cNvSpPr>
          <p:nvPr>
            <p:ph type="body" sz="quarter" idx="11" hasCustomPrompt="1"/>
          </p:nvPr>
        </p:nvSpPr>
        <p:spPr bwMode="gray">
          <a:xfrm>
            <a:off x="3132001" y="1292400"/>
            <a:ext cx="5860800" cy="5410800"/>
          </a:xfrm>
        </p:spPr>
        <p:txBody>
          <a:bodyPr/>
          <a:lstStyle>
            <a:lvl1pPr>
              <a:defRPr/>
            </a:lvl1pPr>
          </a:lstStyle>
          <a:p>
            <a:pPr lvl="0"/>
            <a:r>
              <a:rPr lang="en-US" smtClean="0"/>
              <a:t>Click to add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233603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61362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49238" y="201613"/>
            <a:ext cx="7156450" cy="715962"/>
          </a:xfrm>
          <a:prstGeom prst="rect">
            <a:avLst/>
          </a:prstGeom>
        </p:spPr>
        <p:txBody>
          <a:bodyPr/>
          <a:lstStyle/>
          <a:p>
            <a:r>
              <a:rPr lang="en-US" smtClean="0"/>
              <a:t>Click to edit Master title style</a:t>
            </a:r>
            <a:endParaRPr lang="en-US"/>
          </a:p>
        </p:txBody>
      </p:sp>
      <p:sp>
        <p:nvSpPr>
          <p:cNvPr id="3" name="SAP_Footnote_2007_1"/>
          <p:cNvSpPr>
            <a:spLocks noGrp="1" noChangeArrowheads="1"/>
          </p:cNvSpPr>
          <p:nvPr>
            <p:ph type="sldNum" sz="quarter" idx="10"/>
          </p:nvPr>
        </p:nvSpPr>
        <p:spPr>
          <a:xfrm>
            <a:off x="152400" y="6721475"/>
            <a:ext cx="889667" cy="107722"/>
          </a:xfrm>
          <a:prstGeom prst="rect">
            <a:avLst/>
          </a:prstGeom>
          <a:ln/>
        </p:spPr>
        <p:txBody>
          <a:bodyPr lIns="91285" tIns="45641" rIns="91285" bIns="45641"/>
          <a:lstStyle>
            <a:lvl1pPr>
              <a:defRPr/>
            </a:lvl1pPr>
          </a:lstStyle>
          <a:p>
            <a:pPr defTabSz="912855">
              <a:defRPr/>
            </a:pPr>
            <a:r>
              <a:rPr lang="en-US" smtClean="0">
                <a:solidFill>
                  <a:srgbClr val="000000"/>
                </a:solidFill>
                <a:ea typeface="Arial Unicode MS" pitchFamily="34" charset="-128"/>
                <a:cs typeface="Arial Unicode MS" pitchFamily="34" charset="-128"/>
              </a:rPr>
              <a:t>© SAP 2010/ Page </a:t>
            </a:r>
            <a:fld id="{A2C0E2F7-8107-4750-8CBD-A68E0DC538C4}" type="slidenum">
              <a:rPr lang="en-US" smtClean="0">
                <a:solidFill>
                  <a:srgbClr val="000000"/>
                </a:solidFill>
                <a:ea typeface="Arial Unicode MS" pitchFamily="34" charset="-128"/>
                <a:cs typeface="Arial Unicode MS" pitchFamily="34" charset="-128"/>
              </a:rPr>
              <a:pPr defTabSz="912855">
                <a:defRPr/>
              </a:pPr>
              <a:t>‹#›</a:t>
            </a:fld>
            <a:endParaRPr lang="en-US"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1728355468"/>
      </p:ext>
    </p:extLst>
  </p:cSld>
  <p:clrMapOvr>
    <a:masterClrMapping/>
  </p:clrMapOvr>
  <p:transition>
    <p:zoom/>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cSld name="Appendix/Thank You">
    <p:bg>
      <p:bgRef idx="1001">
        <a:schemeClr val="bg2"/>
      </p:bgRef>
    </p:bg>
    <p:spTree>
      <p:nvGrpSpPr>
        <p:cNvPr id="1" name=""/>
        <p:cNvGrpSpPr/>
        <p:nvPr/>
      </p:nvGrpSpPr>
      <p:grpSpPr>
        <a:xfrm>
          <a:off x="0" y="0"/>
          <a:ext cx="0" cy="0"/>
          <a:chOff x="0" y="0"/>
          <a:chExt cx="0" cy="0"/>
        </a:xfrm>
      </p:grpSpPr>
      <p:sp>
        <p:nvSpPr>
          <p:cNvPr id="8" name="Rectangle 7"/>
          <p:cNvSpPr/>
          <p:nvPr userDrawn="1"/>
        </p:nvSpPr>
        <p:spPr bwMode="gray">
          <a:xfrm>
            <a:off x="0" y="0"/>
            <a:ext cx="9144000" cy="6858000"/>
          </a:xfrm>
          <a:prstGeom prst="rect">
            <a:avLst/>
          </a:prstGeom>
          <a:solidFill>
            <a:schemeClr val="bg2"/>
          </a:solidFill>
          <a:ln w="9525" algn="ctr">
            <a:noFill/>
            <a:miter lim="800000"/>
            <a:headEnd/>
            <a:tailEnd/>
          </a:ln>
        </p:spPr>
        <p:txBody>
          <a:bodyPr lIns="89845" tIns="71877" rIns="143757" bIns="71877" rtlCol="0" anchor="ctr"/>
          <a:lstStyle/>
          <a:p>
            <a:pPr marL="156900" indent="-156900" algn="ctr" defTabSz="912855" fontAlgn="base">
              <a:spcBef>
                <a:spcPct val="50000"/>
              </a:spcBef>
              <a:spcAft>
                <a:spcPct val="0"/>
              </a:spcAft>
              <a:buClr>
                <a:srgbClr val="F0AB00"/>
              </a:buClr>
              <a:buSzPct val="80000"/>
              <a:buFont typeface="Wingdings" pitchFamily="2" charset="2"/>
              <a:buChar char="n"/>
            </a:pPr>
            <a:endParaRPr lang="en-US" sz="1600" kern="0" dirty="0" smtClean="0">
              <a:solidFill>
                <a:srgbClr val="FFFFFF"/>
              </a:solidFill>
              <a:ea typeface="Arial Unicode MS" pitchFamily="34" charset="-128"/>
              <a:cs typeface="Arial Unicode MS" pitchFamily="34" charset="-128"/>
            </a:endParaRPr>
          </a:p>
        </p:txBody>
      </p:sp>
      <p:sp>
        <p:nvSpPr>
          <p:cNvPr id="9" name="Text Placeholder 8"/>
          <p:cNvSpPr>
            <a:spLocks noGrp="1"/>
          </p:cNvSpPr>
          <p:nvPr>
            <p:ph type="body" sz="quarter" idx="11" hasCustomPrompt="1"/>
          </p:nvPr>
        </p:nvSpPr>
        <p:spPr bwMode="gray">
          <a:xfrm>
            <a:off x="151199" y="2037599"/>
            <a:ext cx="8841600" cy="856800"/>
          </a:xfrm>
          <a:solidFill>
            <a:schemeClr val="accent1"/>
          </a:solidFill>
        </p:spPr>
        <p:txBody>
          <a:bodyPr lIns="89845" tIns="35940" rIns="35940" bIns="35940" anchor="ctr" anchorCtr="0"/>
          <a:lstStyle>
            <a:lvl1pPr marL="0" indent="0">
              <a:defRPr sz="3800">
                <a:solidFill>
                  <a:schemeClr val="accent3"/>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text</a:t>
            </a:r>
          </a:p>
        </p:txBody>
      </p:sp>
      <p:sp>
        <p:nvSpPr>
          <p:cNvPr id="4" name="Rectangle 3"/>
          <p:cNvSpPr/>
          <p:nvPr/>
        </p:nvSpPr>
        <p:spPr bwMode="gray">
          <a:xfrm>
            <a:off x="151200" y="2988000"/>
            <a:ext cx="8841600" cy="371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5" tIns="45641" rIns="91285" bIns="45641" rtlCol="0" anchor="ctr"/>
          <a:lstStyle/>
          <a:p>
            <a:pPr algn="ctr" defTabSz="912855"/>
            <a:endParaRPr lang="en-US" dirty="0">
              <a:solidFill>
                <a:srgbClr val="FFFFFF"/>
              </a:solidFill>
            </a:endParaRPr>
          </a:p>
        </p:txBody>
      </p:sp>
      <p:sp>
        <p:nvSpPr>
          <p:cNvPr id="7" name="Right Triangle 6"/>
          <p:cNvSpPr>
            <a:spLocks noChangeAspect="1"/>
          </p:cNvSpPr>
          <p:nvPr/>
        </p:nvSpPr>
        <p:spPr bwMode="gray">
          <a:xfrm rot="16200000">
            <a:off x="8562775" y="6273407"/>
            <a:ext cx="432000" cy="4320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5" tIns="45641" rIns="91285" bIns="45641" rtlCol="0" anchor="ctr"/>
          <a:lstStyle/>
          <a:p>
            <a:pPr algn="ctr" defTabSz="912855"/>
            <a:endParaRPr lang="en-US" dirty="0">
              <a:solidFill>
                <a:srgbClr val="FFFFFF"/>
              </a:solidFill>
            </a:endParaRPr>
          </a:p>
        </p:txBody>
      </p:sp>
      <p:pic>
        <p:nvPicPr>
          <p:cNvPr id="6" name="Picture 5" descr="sap_corp_rgb_r.png"/>
          <p:cNvPicPr>
            <a:picLocks noChangeAspect="1"/>
          </p:cNvPicPr>
          <p:nvPr/>
        </p:nvPicPr>
        <p:blipFill>
          <a:blip r:embed="rId2" cstate="print"/>
          <a:stretch>
            <a:fillRect/>
          </a:stretch>
        </p:blipFill>
        <p:spPr bwMode="gray">
          <a:xfrm>
            <a:off x="8114403" y="6274800"/>
            <a:ext cx="876583" cy="432000"/>
          </a:xfrm>
          <a:prstGeom prst="rect">
            <a:avLst/>
          </a:prstGeom>
        </p:spPr>
      </p:pic>
    </p:spTree>
    <p:extLst>
      <p:ext uri="{BB962C8B-B14F-4D97-AF65-F5344CB8AC3E}">
        <p14:creationId xmlns:p14="http://schemas.microsoft.com/office/powerpoint/2010/main" val="651555988"/>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defTabSz="912855">
              <a:spcBef>
                <a:spcPct val="0"/>
              </a:spcBef>
              <a:defRPr/>
            </a:pPr>
            <a:r>
              <a:rPr lang="en-GB" sz="2400" b="1" dirty="0" smtClean="0">
                <a:solidFill>
                  <a:srgbClr val="666666"/>
                </a:solidFill>
              </a:rPr>
              <a:t>© </a:t>
            </a:r>
            <a:r>
              <a:rPr sz="2400" b="1" dirty="0" smtClean="0">
                <a:solidFill>
                  <a:srgbClr val="666666"/>
                </a:solidFill>
              </a:rPr>
              <a:t>2011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defTabSz="912855">
              <a:spcBef>
                <a:spcPts val="400"/>
              </a:spcBef>
            </a:pPr>
            <a:r>
              <a:rPr sz="9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defTabSz="912855">
              <a:spcBef>
                <a:spcPts val="400"/>
              </a:spcBef>
            </a:pPr>
            <a:r>
              <a:rPr sz="900" noProof="1" smtClean="0">
                <a:solidFill>
                  <a:srgbClr val="000000"/>
                </a:solidFill>
                <a:ea typeface="MS PGothic" pitchFamily="34" charset="-128"/>
              </a:rPr>
              <a:t>Die von SAP AG oder deren Vertriebsfirmen angebotenen Softwareprodukte können Softwarekomponenten auch anderer Softwarehersteller enthalten.</a:t>
            </a:r>
          </a:p>
          <a:p>
            <a:pPr defTabSz="912855">
              <a:spcBef>
                <a:spcPts val="400"/>
              </a:spcBef>
            </a:pPr>
            <a:r>
              <a:rPr lang="en-US" sz="900" noProof="1" smtClean="0">
                <a:solidFill>
                  <a:srgbClr val="000000"/>
                </a:solidFill>
                <a:ea typeface="MS PGothic" pitchFamily="34" charset="-128"/>
              </a:rPr>
              <a:t>Microsoft, Windows, Excel, Outlook, und PowerPoint sind eingetragene Marken der Microsoft Corporation. </a:t>
            </a:r>
            <a:endParaRPr sz="900" noProof="1" smtClean="0">
              <a:solidFill>
                <a:srgbClr val="000000"/>
              </a:solidFill>
              <a:ea typeface="MS PGothic" pitchFamily="34" charset="-128"/>
            </a:endParaRPr>
          </a:p>
          <a:p>
            <a:pPr defTabSz="912855">
              <a:spcBef>
                <a:spcPts val="400"/>
              </a:spcBef>
            </a:pPr>
            <a:r>
              <a:rPr lang="en-US"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sz="900" noProof="1" smtClean="0">
              <a:solidFill>
                <a:srgbClr val="000000"/>
              </a:solidFill>
              <a:ea typeface="MS PGothic" pitchFamily="34" charset="-128"/>
            </a:endParaRPr>
          </a:p>
          <a:p>
            <a:pPr defTabSz="912855">
              <a:spcBef>
                <a:spcPts val="400"/>
              </a:spcBef>
            </a:pPr>
            <a:r>
              <a:rPr sz="900" noProof="1" smtClean="0">
                <a:solidFill>
                  <a:srgbClr val="000000"/>
                </a:solidFill>
                <a:ea typeface="MS PGothic" pitchFamily="34" charset="-128"/>
              </a:rPr>
              <a:t>Linux ist eine eingetragene Marke von Linus Torvalds in den USA und anderen Ländern.</a:t>
            </a:r>
          </a:p>
          <a:p>
            <a:pPr defTabSz="912855">
              <a:spcBef>
                <a:spcPts val="400"/>
              </a:spcBef>
            </a:pPr>
            <a:r>
              <a:rPr sz="900" noProof="1" smtClean="0">
                <a:solidFill>
                  <a:srgbClr val="000000"/>
                </a:solidFill>
                <a:ea typeface="MS PGothic" pitchFamily="34" charset="-128"/>
              </a:rPr>
              <a:t>Adobe, das Adobe-Logo, Acrobat, PostScript und Reader sind Marken oder eingetragene Marken von Adobe Systems Incorporated in den USA und/oder anderen Ländern.</a:t>
            </a:r>
          </a:p>
          <a:p>
            <a:pPr defTabSz="912855">
              <a:spcBef>
                <a:spcPts val="400"/>
              </a:spcBef>
            </a:pPr>
            <a:r>
              <a:rPr sz="900" noProof="1" smtClean="0">
                <a:solidFill>
                  <a:srgbClr val="000000"/>
                </a:solidFill>
                <a:ea typeface="MS PGothic" pitchFamily="34" charset="-128"/>
              </a:rPr>
              <a:t>Oracle und Java sind eingetragene Marken von Oracle und/oder ihrer Tochtergesellschaften.</a:t>
            </a:r>
          </a:p>
          <a:p>
            <a:pPr defTabSz="912855">
              <a:spcBef>
                <a:spcPts val="400"/>
              </a:spcBef>
            </a:pPr>
            <a:r>
              <a:rPr sz="900" noProof="1" smtClean="0">
                <a:solidFill>
                  <a:srgbClr val="000000"/>
                </a:solidFill>
                <a:ea typeface="MS PGothic" pitchFamily="34" charset="-128"/>
              </a:rPr>
              <a:t>UNIX, X/Open, OSF/1 und Motif sind eingetragene Marken der Open Group.</a:t>
            </a:r>
          </a:p>
          <a:p>
            <a:pPr defTabSz="912855">
              <a:spcBef>
                <a:spcPts val="400"/>
              </a:spcBef>
            </a:pPr>
            <a:r>
              <a:rPr sz="900" noProof="1" smtClean="0">
                <a:solidFill>
                  <a:srgbClr val="000000"/>
                </a:solidFill>
                <a:ea typeface="MS PGothic" pitchFamily="34" charset="-128"/>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defTabSz="912855">
              <a:spcBef>
                <a:spcPts val="400"/>
              </a:spcBef>
              <a:defRPr/>
            </a:pPr>
            <a:r>
              <a:rPr sz="900" noProof="1" smtClean="0">
                <a:solidFill>
                  <a:srgbClr val="000000"/>
                </a:solidFill>
                <a:ea typeface="MS PGothic" pitchFamily="34" charset="-128"/>
              </a:rPr>
              <a:t>HTML, XML, XHTML und W3C sind Marken oder eingetragene Marken des W3C</a:t>
            </a:r>
            <a:r>
              <a:rPr sz="900" baseline="30000" noProof="1" smtClean="0">
                <a:solidFill>
                  <a:srgbClr val="000000"/>
                </a:solidFill>
                <a:ea typeface="MS PGothic" pitchFamily="34" charset="-128"/>
              </a:rPr>
              <a:t>®</a:t>
            </a:r>
            <a:r>
              <a:rPr sz="900" noProof="1" smtClean="0">
                <a:solidFill>
                  <a:srgbClr val="000000"/>
                </a:solidFill>
                <a:ea typeface="MS PGothic" pitchFamily="34" charset="-128"/>
              </a:rPr>
              <a:t>, World Wide Web Consortium, Massachusetts Institute of Technology.</a:t>
            </a:r>
          </a:p>
          <a:p>
            <a:pPr defTabSz="912855">
              <a:spcBef>
                <a:spcPts val="400"/>
              </a:spcBef>
            </a:pPr>
            <a:r>
              <a:rPr sz="900" noProof="1" smtClean="0">
                <a:solidFill>
                  <a:srgbClr val="000000"/>
                </a:solidFill>
                <a:ea typeface="MS PGothic" pitchFamily="34" charset="-128"/>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defTabSz="912855" fontAlgn="t">
              <a:spcBef>
                <a:spcPts val="400"/>
              </a:spcBef>
            </a:pPr>
            <a:r>
              <a:rPr sz="9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defTabSz="912855">
              <a:spcBef>
                <a:spcPts val="400"/>
              </a:spcBef>
            </a:pPr>
            <a:r>
              <a:rPr sz="9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SAP AG.</a:t>
            </a:r>
          </a:p>
          <a:p>
            <a:pPr defTabSz="912855">
              <a:spcBef>
                <a:spcPts val="400"/>
              </a:spcBef>
            </a:pPr>
            <a:r>
              <a:rPr sz="9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defTabSz="912855">
              <a:spcBef>
                <a:spcPts val="400"/>
              </a:spcBef>
            </a:pPr>
            <a:r>
              <a:rPr sz="9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defTabSz="912855">
              <a:spcBef>
                <a:spcPts val="400"/>
              </a:spcBef>
            </a:pPr>
            <a:endParaRPr sz="900" noProof="1">
              <a:solidFill>
                <a:srgbClr val="000000"/>
              </a:solidFill>
              <a:ea typeface="MS PGothic" pitchFamily="34" charset="-128"/>
            </a:endParaRPr>
          </a:p>
        </p:txBody>
      </p:sp>
    </p:spTree>
    <p:extLst>
      <p:ext uri="{BB962C8B-B14F-4D97-AF65-F5344CB8AC3E}">
        <p14:creationId xmlns:p14="http://schemas.microsoft.com/office/powerpoint/2010/main" val="14743591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242937" y="0"/>
            <a:ext cx="8656646" cy="2143126"/>
          </a:xfrm>
          <a:prstGeom prst="rect">
            <a:avLst/>
          </a:prstGeom>
          <a:solidFill>
            <a:schemeClr val="bg1">
              <a:alpha val="75000"/>
            </a:schemeClr>
          </a:solidFill>
          <a:ln w="6350"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350908" y="324000"/>
            <a:ext cx="8440702" cy="923116"/>
          </a:xfrm>
        </p:spPr>
        <p:txBody>
          <a:bodyPr anchor="t" anchorCtr="0">
            <a:noAutofit/>
          </a:bodyPr>
          <a:lstStyle>
            <a:lvl1pPr>
              <a:defRPr sz="50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sp>
        <p:nvSpPr>
          <p:cNvPr id="5" name="Rectangle 4"/>
          <p:cNvSpPr/>
          <p:nvPr userDrawn="1"/>
        </p:nvSpPr>
        <p:spPr bwMode="gray">
          <a:xfrm>
            <a:off x="242937" y="0"/>
            <a:ext cx="8656646" cy="162000"/>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164"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582" indent="0" algn="ctr">
              <a:buNone/>
              <a:defRPr>
                <a:solidFill>
                  <a:schemeClr val="tx1">
                    <a:tint val="75000"/>
                  </a:schemeClr>
                </a:solidFill>
              </a:defRPr>
            </a:lvl2pPr>
            <a:lvl3pPr marL="913164" indent="0" algn="ctr">
              <a:buNone/>
              <a:defRPr>
                <a:solidFill>
                  <a:schemeClr val="tx1">
                    <a:tint val="75000"/>
                  </a:schemeClr>
                </a:solidFill>
              </a:defRPr>
            </a:lvl3pPr>
            <a:lvl4pPr marL="1369744" indent="0" algn="ctr">
              <a:buNone/>
              <a:defRPr>
                <a:solidFill>
                  <a:schemeClr val="tx1">
                    <a:tint val="75000"/>
                  </a:schemeClr>
                </a:solidFill>
              </a:defRPr>
            </a:lvl4pPr>
            <a:lvl5pPr marL="1826327" indent="0" algn="ctr">
              <a:buNone/>
              <a:defRPr>
                <a:solidFill>
                  <a:schemeClr val="tx1">
                    <a:tint val="75000"/>
                  </a:schemeClr>
                </a:solidFill>
              </a:defRPr>
            </a:lvl5pPr>
            <a:lvl6pPr marL="2282907" indent="0" algn="ctr">
              <a:buNone/>
              <a:defRPr>
                <a:solidFill>
                  <a:schemeClr val="tx1">
                    <a:tint val="75000"/>
                  </a:schemeClr>
                </a:solidFill>
              </a:defRPr>
            </a:lvl6pPr>
            <a:lvl7pPr marL="2739489" indent="0" algn="ctr">
              <a:buNone/>
              <a:defRPr>
                <a:solidFill>
                  <a:schemeClr val="tx1">
                    <a:tint val="75000"/>
                  </a:schemeClr>
                </a:solidFill>
              </a:defRPr>
            </a:lvl7pPr>
            <a:lvl8pPr marL="3196070" indent="0" algn="ctr">
              <a:buNone/>
              <a:defRPr>
                <a:solidFill>
                  <a:schemeClr val="tx1">
                    <a:tint val="75000"/>
                  </a:schemeClr>
                </a:solidFill>
              </a:defRPr>
            </a:lvl8pPr>
            <a:lvl9pPr marL="365265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655004" y="6298412"/>
            <a:ext cx="1225423" cy="23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4939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242937" y="0"/>
            <a:ext cx="8656646" cy="2143126"/>
          </a:xfrm>
          <a:prstGeom prst="rect">
            <a:avLst/>
          </a:prstGeom>
          <a:solidFill>
            <a:schemeClr val="bg1">
              <a:alpha val="75000"/>
            </a:schemeClr>
          </a:solidFill>
          <a:ln w="6350"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242937" y="0"/>
            <a:ext cx="8656646" cy="162000"/>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164"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582" indent="0" algn="ctr">
              <a:buNone/>
              <a:defRPr>
                <a:solidFill>
                  <a:schemeClr val="tx1">
                    <a:tint val="75000"/>
                  </a:schemeClr>
                </a:solidFill>
              </a:defRPr>
            </a:lvl2pPr>
            <a:lvl3pPr marL="913164" indent="0" algn="ctr">
              <a:buNone/>
              <a:defRPr>
                <a:solidFill>
                  <a:schemeClr val="tx1">
                    <a:tint val="75000"/>
                  </a:schemeClr>
                </a:solidFill>
              </a:defRPr>
            </a:lvl3pPr>
            <a:lvl4pPr marL="1369744" indent="0" algn="ctr">
              <a:buNone/>
              <a:defRPr>
                <a:solidFill>
                  <a:schemeClr val="tx1">
                    <a:tint val="75000"/>
                  </a:schemeClr>
                </a:solidFill>
              </a:defRPr>
            </a:lvl4pPr>
            <a:lvl5pPr marL="1826327" indent="0" algn="ctr">
              <a:buNone/>
              <a:defRPr>
                <a:solidFill>
                  <a:schemeClr val="tx1">
                    <a:tint val="75000"/>
                  </a:schemeClr>
                </a:solidFill>
              </a:defRPr>
            </a:lvl5pPr>
            <a:lvl6pPr marL="2282907" indent="0" algn="ctr">
              <a:buNone/>
              <a:defRPr>
                <a:solidFill>
                  <a:schemeClr val="tx1">
                    <a:tint val="75000"/>
                  </a:schemeClr>
                </a:solidFill>
              </a:defRPr>
            </a:lvl6pPr>
            <a:lvl7pPr marL="2739489" indent="0" algn="ctr">
              <a:buNone/>
              <a:defRPr>
                <a:solidFill>
                  <a:schemeClr val="tx1">
                    <a:tint val="75000"/>
                  </a:schemeClr>
                </a:solidFill>
              </a:defRPr>
            </a:lvl7pPr>
            <a:lvl8pPr marL="3196070" indent="0" algn="ctr">
              <a:buNone/>
              <a:defRPr>
                <a:solidFill>
                  <a:schemeClr val="tx1">
                    <a:tint val="75000"/>
                  </a:schemeClr>
                </a:solidFill>
              </a:defRPr>
            </a:lvl8pPr>
            <a:lvl9pPr marL="365265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350908" y="324000"/>
            <a:ext cx="8440702" cy="1107739"/>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11" name="Picture 10"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pic>
        <p:nvPicPr>
          <p:cNvPr id="1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655004" y="6298412"/>
            <a:ext cx="1225423" cy="23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5464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0908" y="324000"/>
            <a:ext cx="8440702" cy="923116"/>
          </a:xfrm>
        </p:spPr>
        <p:txBody>
          <a:bodyPr anchor="t" anchorCtr="0">
            <a:noAutofit/>
          </a:bodyPr>
          <a:lstStyle>
            <a:lvl1pPr>
              <a:defRPr sz="50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164"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582" indent="0" algn="ctr">
              <a:buNone/>
              <a:defRPr>
                <a:solidFill>
                  <a:schemeClr val="tx1">
                    <a:tint val="75000"/>
                  </a:schemeClr>
                </a:solidFill>
              </a:defRPr>
            </a:lvl2pPr>
            <a:lvl3pPr marL="913164" indent="0" algn="ctr">
              <a:buNone/>
              <a:defRPr>
                <a:solidFill>
                  <a:schemeClr val="tx1">
                    <a:tint val="75000"/>
                  </a:schemeClr>
                </a:solidFill>
              </a:defRPr>
            </a:lvl3pPr>
            <a:lvl4pPr marL="1369744" indent="0" algn="ctr">
              <a:buNone/>
              <a:defRPr>
                <a:solidFill>
                  <a:schemeClr val="tx1">
                    <a:tint val="75000"/>
                  </a:schemeClr>
                </a:solidFill>
              </a:defRPr>
            </a:lvl4pPr>
            <a:lvl5pPr marL="1826327" indent="0" algn="ctr">
              <a:buNone/>
              <a:defRPr>
                <a:solidFill>
                  <a:schemeClr val="tx1">
                    <a:tint val="75000"/>
                  </a:schemeClr>
                </a:solidFill>
              </a:defRPr>
            </a:lvl5pPr>
            <a:lvl6pPr marL="2282907" indent="0" algn="ctr">
              <a:buNone/>
              <a:defRPr>
                <a:solidFill>
                  <a:schemeClr val="tx1">
                    <a:tint val="75000"/>
                  </a:schemeClr>
                </a:solidFill>
              </a:defRPr>
            </a:lvl6pPr>
            <a:lvl7pPr marL="2739489" indent="0" algn="ctr">
              <a:buNone/>
              <a:defRPr>
                <a:solidFill>
                  <a:schemeClr val="tx1">
                    <a:tint val="75000"/>
                  </a:schemeClr>
                </a:solidFill>
              </a:defRPr>
            </a:lvl7pPr>
            <a:lvl8pPr marL="3196070" indent="0" algn="ctr">
              <a:buNone/>
              <a:defRPr>
                <a:solidFill>
                  <a:schemeClr val="tx1">
                    <a:tint val="75000"/>
                  </a:schemeClr>
                </a:solidFill>
              </a:defRPr>
            </a:lvl8pPr>
            <a:lvl9pPr marL="365265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655004" y="6298412"/>
            <a:ext cx="1225423" cy="23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6553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164"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582" indent="0" algn="ctr">
              <a:buNone/>
              <a:defRPr>
                <a:solidFill>
                  <a:schemeClr val="tx1">
                    <a:tint val="75000"/>
                  </a:schemeClr>
                </a:solidFill>
              </a:defRPr>
            </a:lvl2pPr>
            <a:lvl3pPr marL="913164" indent="0" algn="ctr">
              <a:buNone/>
              <a:defRPr>
                <a:solidFill>
                  <a:schemeClr val="tx1">
                    <a:tint val="75000"/>
                  </a:schemeClr>
                </a:solidFill>
              </a:defRPr>
            </a:lvl3pPr>
            <a:lvl4pPr marL="1369744" indent="0" algn="ctr">
              <a:buNone/>
              <a:defRPr>
                <a:solidFill>
                  <a:schemeClr val="tx1">
                    <a:tint val="75000"/>
                  </a:schemeClr>
                </a:solidFill>
              </a:defRPr>
            </a:lvl4pPr>
            <a:lvl5pPr marL="1826327" indent="0" algn="ctr">
              <a:buNone/>
              <a:defRPr>
                <a:solidFill>
                  <a:schemeClr val="tx1">
                    <a:tint val="75000"/>
                  </a:schemeClr>
                </a:solidFill>
              </a:defRPr>
            </a:lvl5pPr>
            <a:lvl6pPr marL="2282907" indent="0" algn="ctr">
              <a:buNone/>
              <a:defRPr>
                <a:solidFill>
                  <a:schemeClr val="tx1">
                    <a:tint val="75000"/>
                  </a:schemeClr>
                </a:solidFill>
              </a:defRPr>
            </a:lvl6pPr>
            <a:lvl7pPr marL="2739489" indent="0" algn="ctr">
              <a:buNone/>
              <a:defRPr>
                <a:solidFill>
                  <a:schemeClr val="tx1">
                    <a:tint val="75000"/>
                  </a:schemeClr>
                </a:solidFill>
              </a:defRPr>
            </a:lvl7pPr>
            <a:lvl8pPr marL="3196070" indent="0" algn="ctr">
              <a:buNone/>
              <a:defRPr>
                <a:solidFill>
                  <a:schemeClr val="tx1">
                    <a:tint val="75000"/>
                  </a:schemeClr>
                </a:solidFill>
              </a:defRPr>
            </a:lvl8pPr>
            <a:lvl9pPr marL="365265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350908" y="324000"/>
            <a:ext cx="8440702" cy="1107739"/>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655004" y="6298412"/>
            <a:ext cx="1225423" cy="237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60177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242937" y="8"/>
            <a:ext cx="8656646" cy="2295525"/>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242937" y="3506408"/>
            <a:ext cx="8656646" cy="620713"/>
          </a:xfrm>
        </p:spPr>
        <p:txBody>
          <a:bodyPr/>
          <a:lstStyle>
            <a:lvl1pPr>
              <a:spcBef>
                <a:spcPts val="1200"/>
              </a:spcBef>
              <a:defRPr sz="1600" b="0"/>
            </a:lvl1pPr>
          </a:lstStyle>
          <a:p>
            <a:r>
              <a:rPr lang="en-US" dirty="0" smtClean="0"/>
              <a:t>Subtitle if needed</a:t>
            </a:r>
          </a:p>
        </p:txBody>
      </p:sp>
      <p:pic>
        <p:nvPicPr>
          <p:cNvPr id="6" name="Picture 5"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pic>
        <p:nvPicPr>
          <p:cNvPr id="7" name="Picture 2" descr="\\dwdf034\commteam\Updates\01_Branding\02_Font_Treatment\RGB\SAP_Next_Business_and_Technology_R_stac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55004" y="6298324"/>
            <a:ext cx="1225423" cy="237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760551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1"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242937" y="162000"/>
            <a:ext cx="8656646" cy="2134800"/>
          </a:xfrm>
          <a:solidFill>
            <a:schemeClr val="bg1">
              <a:lumMod val="95000"/>
            </a:schemeClr>
          </a:solidFill>
        </p:spPr>
        <p:txBody>
          <a:bodyPr tIns="503319"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242937" y="0"/>
            <a:ext cx="8656646" cy="162000"/>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242937" y="3506408"/>
            <a:ext cx="8656646" cy="620713"/>
          </a:xfrm>
        </p:spPr>
        <p:txBody>
          <a:bodyPr/>
          <a:lstStyle>
            <a:lvl1pPr>
              <a:spcBef>
                <a:spcPts val="1200"/>
              </a:spcBef>
              <a:defRPr sz="1600" b="0"/>
            </a:lvl1pPr>
          </a:lstStyle>
          <a:p>
            <a:r>
              <a:rPr lang="en-US" dirty="0" smtClean="0"/>
              <a:t>Subtitle if needed</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22" y="6082324"/>
            <a:ext cx="684757" cy="453495"/>
          </a:xfrm>
          <a:prstGeom prst="rect">
            <a:avLst/>
          </a:prstGeom>
          <a:noFill/>
          <a:ln>
            <a:noFill/>
          </a:ln>
        </p:spPr>
      </p:pic>
      <p:pic>
        <p:nvPicPr>
          <p:cNvPr id="9" name="Picture 2" descr="\\dwdf034\commteam\Updates\01_Branding\02_Font_Treatment\RGB\SAP_Next_Business_and_Technology_R_stac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55004" y="6298324"/>
            <a:ext cx="1225423" cy="237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0273851"/>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242937" y="0"/>
            <a:ext cx="8656646" cy="162000"/>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242937" y="4235489"/>
            <a:ext cx="8656646" cy="1846231"/>
          </a:xfrm>
        </p:spPr>
        <p:txBody>
          <a:bodyPr anchor="b" anchorCtr="0">
            <a:noAutofit/>
          </a:bodyPr>
          <a:lstStyle>
            <a:lvl1pPr>
              <a:spcBef>
                <a:spcPts val="0"/>
              </a:spcBef>
              <a:defRPr sz="17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937" y="478630"/>
            <a:ext cx="1369514" cy="906990"/>
          </a:xfrm>
          <a:prstGeom prst="rect">
            <a:avLst/>
          </a:prstGeom>
          <a:noFill/>
          <a:ln>
            <a:noFill/>
          </a:ln>
        </p:spPr>
      </p:pic>
      <p:pic>
        <p:nvPicPr>
          <p:cNvPr id="6" name="Picture 2" descr="\\dwdf034\commteam\Updates\01_Branding\02_Font_Treatment\RGB\SAP_Next_Business_and_Technology_R_stac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55004" y="6298324"/>
            <a:ext cx="1225423" cy="2374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859181"/>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8"/>
            <a:ext cx="8656646" cy="3831818"/>
          </a:xfrm>
        </p:spPr>
        <p:txBody>
          <a:bodyPr>
            <a:noAutofit/>
          </a:bodyPr>
          <a:lstStyle>
            <a:lvl1pPr marL="0" marR="0" indent="0" algn="l" defTabSz="913164" rtl="0" eaLnBrk="1" fontAlgn="auto" latinLnBrk="0" hangingPunct="1">
              <a:lnSpc>
                <a:spcPct val="100000"/>
              </a:lnSpc>
              <a:spcBef>
                <a:spcPts val="1008"/>
              </a:spcBef>
              <a:spcAft>
                <a:spcPts val="0"/>
              </a:spcAft>
              <a:buClr>
                <a:schemeClr val="accent1"/>
              </a:buClr>
              <a:buSzPct val="80000"/>
              <a:buFontTx/>
              <a:buNone/>
              <a:tabLst/>
              <a:defRPr sz="1700" b="0"/>
            </a:lvl1pPr>
            <a:lvl2pPr marL="150966" marR="0" indent="-150966" algn="l" defTabSz="913164"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1935" marR="0" indent="-150453" algn="l" defTabSz="913164"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2902" marR="0" indent="-150966" algn="l" defTabSz="913164"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65383690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31486772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0687"/>
            <a:ext cx="8656646"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20000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2007"/>
            <a:ext cx="4245994"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7"/>
            <a:ext cx="4245994"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899866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937" y="324000"/>
            <a:ext cx="8656646"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2007"/>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399" y="1692007"/>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170668" y="1692007"/>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300027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27796" y="1690695"/>
            <a:ext cx="3173380" cy="4391025"/>
          </a:xfrm>
          <a:solidFill>
            <a:schemeClr val="bg1">
              <a:lumMod val="95000"/>
            </a:schemeClr>
          </a:solidFill>
        </p:spPr>
        <p:txBody>
          <a:bodyPr tIns="1294246"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242938" y="1690695"/>
            <a:ext cx="5361066"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6853819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8"/>
            <a:ext cx="4245994" cy="4392000"/>
          </a:xfrm>
          <a:solidFill>
            <a:schemeClr val="bg1">
              <a:lumMod val="95000"/>
            </a:schemeClr>
          </a:solidFill>
        </p:spPr>
        <p:txBody>
          <a:bodyPr vert="horz" lIns="0" tIns="1294246" rIns="0" bIns="0" rtlCol="0" anchor="t" anchorCtr="0">
            <a:noAutofit/>
          </a:bodyPr>
          <a:lstStyle>
            <a:lvl1pPr marL="0" indent="0" algn="ctr" defTabSz="913164"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242937" y="1692008"/>
            <a:ext cx="4245994"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6838081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29292" y="1692008"/>
            <a:ext cx="5371891" cy="4392000"/>
          </a:xfrm>
          <a:solidFill>
            <a:schemeClr val="bg1">
              <a:lumMod val="95000"/>
            </a:schemeClr>
          </a:solidFill>
        </p:spPr>
        <p:txBody>
          <a:bodyPr vert="horz" lIns="0" tIns="1294246" rIns="0" bIns="0" rtlCol="0" anchor="t" anchorCtr="0">
            <a:noAutofit/>
          </a:bodyPr>
          <a:lstStyle>
            <a:lvl1pPr marL="0" indent="0" algn="ctr" defTabSz="913164"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242937" y="1692008"/>
            <a:ext cx="3167316"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0637083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90"/>
            <a:ext cx="3078000" cy="4391025"/>
          </a:xfrm>
          <a:solidFill>
            <a:schemeClr val="bg1">
              <a:lumMod val="95000"/>
            </a:schemeClr>
          </a:solidFill>
        </p:spPr>
        <p:txBody>
          <a:bodyPr tIns="1295341"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90"/>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0688"/>
            <a:ext cx="4245994"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245994"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242937" y="3573498"/>
            <a:ext cx="4245994" cy="2508223"/>
          </a:xfrm>
          <a:solidFill>
            <a:schemeClr val="bg1">
              <a:lumMod val="95000"/>
            </a:schemeClr>
          </a:solidFill>
        </p:spPr>
        <p:txBody>
          <a:bodyPr tIns="503319"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8"/>
            <a:ext cx="4245994" cy="2508223"/>
          </a:xfrm>
          <a:solidFill>
            <a:schemeClr val="bg1">
              <a:lumMod val="95000"/>
            </a:schemeClr>
          </a:solidFill>
        </p:spPr>
        <p:txBody>
          <a:bodyPr tIns="503319"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814653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242937" y="1692006"/>
            <a:ext cx="8656646" cy="4392000"/>
          </a:xfrm>
        </p:spPr>
        <p:txBody>
          <a:bodyPr tIns="0"/>
          <a:lstStyle>
            <a:lvl1pPr algn="l">
              <a:defRPr b="0"/>
            </a:lvl1pPr>
          </a:lstStyle>
          <a:p>
            <a:pPr lvl="0"/>
            <a:r>
              <a:rPr lang="en-US" dirty="0" smtClean="0"/>
              <a:t>Click to add content</a:t>
            </a:r>
          </a:p>
        </p:txBody>
      </p:sp>
    </p:spTree>
    <p:extLst>
      <p:ext uri="{BB962C8B-B14F-4D97-AF65-F5344CB8AC3E}">
        <p14:creationId xmlns:p14="http://schemas.microsoft.com/office/powerpoint/2010/main" val="11533792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242937" y="1692000"/>
            <a:ext cx="8656646" cy="2852063"/>
          </a:xfrm>
        </p:spPr>
        <p:txBody>
          <a:bodyPr>
            <a:spAutoFit/>
          </a:bodyPr>
          <a:lstStyle>
            <a:lvl1pPr>
              <a:spcBef>
                <a:spcPts val="2014"/>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27882244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164682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242937" y="1692001"/>
            <a:ext cx="4245994" cy="4462760"/>
          </a:xfrm>
          <a:prstGeom prst="rect">
            <a:avLst/>
          </a:prstGeom>
          <a:noFill/>
        </p:spPr>
        <p:txBody>
          <a:bodyPr wrap="square" lIns="0" tIns="0" rIns="0" bIns="0" rtlCol="0">
            <a:spAutoFit/>
          </a:bodyPr>
          <a:lstStyle/>
          <a:p>
            <a:pPr defTabSz="766912">
              <a:spcBef>
                <a:spcPts val="504"/>
              </a:spcBef>
            </a:pPr>
            <a:r>
              <a:rPr lang="en-US"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p>
          <a:p>
            <a:pPr defTabSz="766912">
              <a:spcBef>
                <a:spcPts val="504"/>
              </a:spcBef>
            </a:pPr>
            <a:r>
              <a:rPr lang="en-US" sz="800" noProof="1" smtClean="0">
                <a:solidFill>
                  <a:srgbClr val="000000"/>
                </a:solidFill>
                <a:ea typeface="MS PGothic" pitchFamily="34" charset="-128"/>
              </a:rPr>
              <a:t>Some software products marketed by SAP AG and its distributors contain proprietary software components of other software vendors.</a:t>
            </a:r>
          </a:p>
          <a:p>
            <a:pPr defTabSz="766912">
              <a:spcBef>
                <a:spcPts val="504"/>
              </a:spcBef>
            </a:pPr>
            <a:r>
              <a:rPr lang="en-US" sz="800" noProof="1" smtClean="0">
                <a:solidFill>
                  <a:srgbClr val="000000"/>
                </a:solidFill>
                <a:ea typeface="MS PGothic" pitchFamily="34" charset="-128"/>
              </a:rPr>
              <a:t>Microsoft, Windows, Excel, Outlook, PowerPoint, Silverlight, and Visual Studio are registered trademarks of Microsoft Corporation. </a:t>
            </a:r>
          </a:p>
          <a:p>
            <a:pPr defTabSz="766912">
              <a:spcBef>
                <a:spcPts val="504"/>
              </a:spcBef>
            </a:pPr>
            <a:r>
              <a:rPr lang="en-US" sz="800" noProof="1" smtClean="0">
                <a:solidFill>
                  <a:srgbClr val="000000"/>
                </a:solidFill>
                <a:ea typeface="MS PGothic" pitchFamily="34" charset="-128"/>
              </a:rPr>
              <a:t>IBM, DB2, DB2 Universal Database, System i, System i5, System p, System p5, System x, System z, System z10, z10, z/VM, z/OS, OS/390, zEnterprise, PowerVM, Power Architecture, Power Systems, POWER7, POWER6+, POWER6, POWER, PowerHA, pureScale, PowerPC, BladeCenter, System Storage, Storwize,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XIV, GPFS, HACMP, RETAIN, DB2 Connect, RACF, Redbooks, OS/2, AIX, Intelligent Miner, WebSphere, Tivoli, Informix, and Smarter Planet are trademarks or registered trademarks of IBM Corporation.</a:t>
            </a:r>
          </a:p>
          <a:p>
            <a:pPr defTabSz="766912">
              <a:spcBef>
                <a:spcPts val="504"/>
              </a:spcBef>
            </a:pPr>
            <a:r>
              <a:rPr lang="en-US" sz="800" noProof="1" smtClean="0">
                <a:solidFill>
                  <a:srgbClr val="000000"/>
                </a:solidFill>
                <a:ea typeface="MS PGothic" pitchFamily="34" charset="-128"/>
              </a:rPr>
              <a:t>Linux is the registered trademark of Linus Torvalds in the United States and other countries.</a:t>
            </a:r>
          </a:p>
          <a:p>
            <a:pPr defTabSz="766912">
              <a:spcBef>
                <a:spcPts val="504"/>
              </a:spcBef>
            </a:pPr>
            <a:r>
              <a:rPr lang="en-US" sz="800" noProof="1" smtClean="0">
                <a:solidFill>
                  <a:srgbClr val="000000"/>
                </a:solidFill>
                <a:ea typeface="MS PGothic" pitchFamily="34" charset="-128"/>
              </a:rPr>
              <a:t>Adobe, the Adobe logo, Acrobat, PostScript, and Reader are trademarks or registered trademarks of Adobe Systems Incorporated in the United States and other countries.</a:t>
            </a:r>
          </a:p>
          <a:p>
            <a:pPr defTabSz="766912">
              <a:spcBef>
                <a:spcPts val="504"/>
              </a:spcBef>
            </a:pPr>
            <a:r>
              <a:rPr lang="en-US" sz="800" noProof="1" smtClean="0">
                <a:solidFill>
                  <a:srgbClr val="000000"/>
                </a:solidFill>
                <a:ea typeface="MS PGothic" pitchFamily="34" charset="-128"/>
              </a:rPr>
              <a:t>Oracle and Java are registered trademarks of Oracle and its affiliates.</a:t>
            </a:r>
          </a:p>
          <a:p>
            <a:pPr defTabSz="766912">
              <a:spcBef>
                <a:spcPts val="504"/>
              </a:spcBef>
            </a:pPr>
            <a:r>
              <a:rPr lang="en-US" sz="800" noProof="1" smtClean="0">
                <a:solidFill>
                  <a:srgbClr val="000000"/>
                </a:solidFill>
                <a:ea typeface="MS PGothic" pitchFamily="34" charset="-128"/>
              </a:rPr>
              <a:t>UNIX, X/Open, OSF/1, and Motif are registered trademarks of the Open Group.</a:t>
            </a:r>
          </a:p>
          <a:p>
            <a:pPr defTabSz="766912">
              <a:spcBef>
                <a:spcPts val="504"/>
              </a:spcBef>
            </a:pPr>
            <a:r>
              <a:rPr lang="en-US" sz="800" noProof="1" smtClean="0">
                <a:solidFill>
                  <a:srgbClr val="000000"/>
                </a:solidFill>
                <a:ea typeface="MS PGothic" pitchFamily="34" charset="-128"/>
              </a:rPr>
              <a:t>Citrix, ICA, Program Neighborhood, MetaFrame, WinFrame, VideoFrame, and MultiWin are trademarks or registered trademarks of Citrix Systems Inc.</a:t>
            </a:r>
          </a:p>
          <a:p>
            <a:pPr defTabSz="766912">
              <a:spcBef>
                <a:spcPts val="504"/>
              </a:spcBef>
            </a:pPr>
            <a:r>
              <a:rPr lang="en-US" sz="800" noProof="1" smtClean="0">
                <a:solidFill>
                  <a:srgbClr val="000000"/>
                </a:solidFill>
                <a:ea typeface="MS PGothic" pitchFamily="34" charset="-128"/>
              </a:rPr>
              <a:t>HTML, XML, XHTML, and W3C are trademarks or registered trademarks of W3C®, World Wide Web Consortium, Massachusetts Institute of Technology. </a:t>
            </a:r>
          </a:p>
          <a:p>
            <a:pPr defTabSz="766912">
              <a:spcBef>
                <a:spcPts val="504"/>
              </a:spcBef>
            </a:pPr>
            <a:r>
              <a:rPr lang="en-US" sz="800" noProof="1" smtClean="0">
                <a:solidFill>
                  <a:srgbClr val="000000"/>
                </a:solidFill>
                <a:ea typeface="MS PGothic" pitchFamily="34" charset="-128"/>
              </a:rPr>
              <a:t>Apple, App Store, iBooks, iPad, iPhone, iPhoto, iPod, iTunes, Multi-Touch, Objective-C, Retina, Safari, Siri,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and Xcode are trademarks or registered trademarks of Apple Inc.</a:t>
            </a:r>
          </a:p>
          <a:p>
            <a:pPr defTabSz="766912">
              <a:spcBef>
                <a:spcPts val="504"/>
              </a:spcBef>
            </a:pPr>
            <a:r>
              <a:rPr lang="en-US" sz="800" noProof="1" smtClean="0">
                <a:solidFill>
                  <a:srgbClr val="000000"/>
                </a:solidFill>
                <a:ea typeface="MS PGothic" pitchFamily="34" charset="-128"/>
              </a:rPr>
              <a:t>IOS is a registered trademark of Cisco Systems Inc.</a:t>
            </a:r>
          </a:p>
          <a:p>
            <a:pPr defTabSz="766912">
              <a:spcBef>
                <a:spcPts val="504"/>
              </a:spcBef>
            </a:pPr>
            <a:r>
              <a:rPr lang="en-US" sz="800" noProof="1" smtClean="0">
                <a:solidFill>
                  <a:srgbClr val="000000"/>
                </a:solidFill>
                <a:ea typeface="MS PGothic" pitchFamily="34" charset="-128"/>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11" name="TextBox 10"/>
          <p:cNvSpPr txBox="1"/>
          <p:nvPr userDrawn="1"/>
        </p:nvSpPr>
        <p:spPr bwMode="gray">
          <a:xfrm>
            <a:off x="242938" y="324000"/>
            <a:ext cx="5311198" cy="756000"/>
          </a:xfrm>
          <a:prstGeom prst="rect">
            <a:avLst/>
          </a:prstGeom>
        </p:spPr>
        <p:txBody>
          <a:bodyPr vert="horz" lIns="0" tIns="0" rIns="0" bIns="0" rtlCol="0" anchor="ctr" anchorCtr="0">
            <a:noAutofit/>
          </a:bodyPr>
          <a:lstStyle/>
          <a:p>
            <a:pPr defTabSz="913164">
              <a:spcBef>
                <a:spcPct val="0"/>
              </a:spcBef>
            </a:pPr>
            <a:r>
              <a:rPr lang="en-GB" sz="2400" b="1" dirty="0" smtClean="0">
                <a:solidFill>
                  <a:srgbClr val="666666"/>
                </a:solidFill>
              </a:rPr>
              <a:t>© </a:t>
            </a:r>
            <a:r>
              <a:rPr sz="2400" b="1" dirty="0" smtClean="0">
                <a:solidFill>
                  <a:srgbClr val="666666"/>
                </a:solidFill>
              </a:rPr>
              <a:t>2012 SAP AG. All rights reserved.</a:t>
            </a:r>
          </a:p>
        </p:txBody>
      </p:sp>
      <p:sp>
        <p:nvSpPr>
          <p:cNvPr id="6" name="TextBox 5"/>
          <p:cNvSpPr txBox="1"/>
          <p:nvPr userDrawn="1"/>
        </p:nvSpPr>
        <p:spPr bwMode="gray">
          <a:xfrm>
            <a:off x="4654800" y="1692000"/>
            <a:ext cx="4245994" cy="4644861"/>
          </a:xfrm>
          <a:prstGeom prst="rect">
            <a:avLst/>
          </a:prstGeom>
          <a:noFill/>
        </p:spPr>
        <p:txBody>
          <a:bodyPr wrap="square" lIns="0" tIns="0" rIns="0" bIns="0" rtlCol="0">
            <a:spAutoFit/>
          </a:bodyPr>
          <a:lstStyle/>
          <a:p>
            <a:pPr defTabSz="766912">
              <a:spcBef>
                <a:spcPts val="504"/>
              </a:spcBef>
            </a:pPr>
            <a:r>
              <a:rPr lang="en-US" sz="800" noProof="1" smtClean="0">
                <a:solidFill>
                  <a:srgbClr val="000000"/>
                </a:solidFill>
                <a:ea typeface="MS PGothic" pitchFamily="34" charset="-128"/>
              </a:rPr>
              <a:t>Google App Engine, Google Apps, Google Checkout, Google Data API, Google Maps, Google Mobile Ads, Google Mobile Updater, Google Mobile, Google Store, Google Sync, Google Updater, Google Voice,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Google Mail, Gmail, YouTube, Dalvik and Android are trademarks or registered trademarks of Google Inc.</a:t>
            </a:r>
          </a:p>
          <a:p>
            <a:pPr defTabSz="766912">
              <a:spcBef>
                <a:spcPts val="504"/>
              </a:spcBef>
            </a:pPr>
            <a:r>
              <a:rPr lang="en-US" sz="800" noProof="1" smtClean="0">
                <a:solidFill>
                  <a:srgbClr val="000000"/>
                </a:solidFill>
                <a:ea typeface="MS PGothic" pitchFamily="34" charset="-128"/>
              </a:rPr>
              <a:t>INTERMEC is a registered trademark of Intermec Technologies Corporation.</a:t>
            </a:r>
          </a:p>
          <a:p>
            <a:pPr defTabSz="766912">
              <a:spcBef>
                <a:spcPts val="504"/>
              </a:spcBef>
            </a:pPr>
            <a:r>
              <a:rPr lang="en-US" sz="800" noProof="1" smtClean="0">
                <a:solidFill>
                  <a:srgbClr val="000000"/>
                </a:solidFill>
                <a:ea typeface="MS PGothic" pitchFamily="34" charset="-128"/>
              </a:rPr>
              <a:t>Wi-Fi is a registered trademark of Wi-Fi Alliance.</a:t>
            </a:r>
          </a:p>
          <a:p>
            <a:pPr defTabSz="766912">
              <a:spcBef>
                <a:spcPts val="504"/>
              </a:spcBef>
            </a:pPr>
            <a:r>
              <a:rPr lang="en-US" sz="800" noProof="1" smtClean="0">
                <a:solidFill>
                  <a:srgbClr val="000000"/>
                </a:solidFill>
                <a:ea typeface="MS PGothic" pitchFamily="34" charset="-128"/>
              </a:rPr>
              <a:t>Bluetooth is a registered trademark of Bluetooth SIG Inc.</a:t>
            </a:r>
          </a:p>
          <a:p>
            <a:pPr defTabSz="766912">
              <a:spcBef>
                <a:spcPts val="504"/>
              </a:spcBef>
            </a:pPr>
            <a:r>
              <a:rPr lang="en-US" sz="800" noProof="1" smtClean="0">
                <a:solidFill>
                  <a:srgbClr val="000000"/>
                </a:solidFill>
                <a:ea typeface="MS PGothic" pitchFamily="34" charset="-128"/>
              </a:rPr>
              <a:t>Motorola is a registered trademark of Motorola Trademark Holdings LLC. </a:t>
            </a:r>
          </a:p>
          <a:p>
            <a:pPr defTabSz="766912">
              <a:spcBef>
                <a:spcPts val="504"/>
              </a:spcBef>
            </a:pPr>
            <a:r>
              <a:rPr lang="en-US" sz="800" noProof="1" smtClean="0">
                <a:solidFill>
                  <a:srgbClr val="000000"/>
                </a:solidFill>
                <a:ea typeface="MS PGothic" pitchFamily="34" charset="-128"/>
              </a:rPr>
              <a:t>Computop is a registered trademark of Computop Wirtschaftsinformatik GmbH.</a:t>
            </a:r>
          </a:p>
          <a:p>
            <a:pPr defTabSz="766912">
              <a:spcBef>
                <a:spcPts val="504"/>
              </a:spcBef>
            </a:pPr>
            <a:r>
              <a:rPr lang="en-US" sz="800" noProof="1" smtClean="0">
                <a:solidFill>
                  <a:srgbClr val="000000"/>
                </a:solidFill>
                <a:ea typeface="MS PGothic" pitchFamily="34" charset="-128"/>
              </a:rPr>
              <a:t>SAP, R/3, SAP NetWeaver, Duet, PartnerEdge, ByDesign, SAP BusinessObjects Explorer, StreamWork,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SAP HANA, and other SAP products and services mentioned herein as well as their respective logos are trademarks or registered trademarks of SAP AG in Germany and other countries.</a:t>
            </a:r>
          </a:p>
          <a:p>
            <a:pPr defTabSz="766912">
              <a:spcBef>
                <a:spcPts val="504"/>
              </a:spcBef>
            </a:pPr>
            <a:r>
              <a:rPr lang="en-US"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defTabSz="766912">
              <a:spcBef>
                <a:spcPts val="504"/>
              </a:spcBef>
            </a:pPr>
            <a:r>
              <a:rPr lang="en-US"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p>
          <a:p>
            <a:pPr defTabSz="766912">
              <a:spcBef>
                <a:spcPts val="504"/>
              </a:spcBef>
            </a:pPr>
            <a:r>
              <a:rPr lang="en-US" sz="800" noProof="1" smtClean="0">
                <a:solidFill>
                  <a:srgbClr val="000000"/>
                </a:solidFill>
                <a:ea typeface="MS PGothic" pitchFamily="34" charset="-128"/>
              </a:rPr>
              <a:t>Crossgate, m@gic EDDY, B2B 360°, and B2B 360° Services are registered trademarks of Crossgate AG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in Germany and other countries. Crossgate is an SAP company.</a:t>
            </a:r>
          </a:p>
          <a:p>
            <a:pPr defTabSz="766912">
              <a:spcBef>
                <a:spcPts val="504"/>
              </a:spcBef>
            </a:pPr>
            <a:r>
              <a:rPr lang="en-US"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p>
          <a:p>
            <a:pPr defTabSz="766912">
              <a:spcBef>
                <a:spcPts val="504"/>
              </a:spcBef>
            </a:pPr>
            <a:r>
              <a:rPr lang="en-US" sz="800" noProof="1" smtClean="0">
                <a:solidFill>
                  <a:srgbClr val="000000"/>
                </a:solidFill>
                <a:ea typeface="MS PGothic" pitchFamily="34" charset="-128"/>
              </a:rPr>
              <a:t>The information in this document is proprietary to SAP. No part of this document may be reproduced, copied, </a:t>
            </a:r>
            <a:br>
              <a:rPr lang="en-US" sz="800" noProof="1" smtClean="0">
                <a:solidFill>
                  <a:srgbClr val="000000"/>
                </a:solidFill>
                <a:ea typeface="MS PGothic" pitchFamily="34" charset="-128"/>
              </a:rPr>
            </a:br>
            <a:r>
              <a:rPr lang="en-US" sz="800" noProof="1" smtClean="0">
                <a:solidFill>
                  <a:srgbClr val="000000"/>
                </a:solidFill>
                <a:ea typeface="MS PGothic" pitchFamily="34" charset="-128"/>
              </a:rPr>
              <a:t>or transmitted in any form or for any purpose without the express prior written permission of SAP AG.</a:t>
            </a:r>
          </a:p>
        </p:txBody>
      </p:sp>
    </p:spTree>
    <p:extLst>
      <p:ext uri="{BB962C8B-B14F-4D97-AF65-F5344CB8AC3E}">
        <p14:creationId xmlns:p14="http://schemas.microsoft.com/office/powerpoint/2010/main" val="141678587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324000"/>
            <a:ext cx="7359500" cy="756000"/>
          </a:xfrm>
          <a:prstGeom prst="rect">
            <a:avLst/>
          </a:prstGeom>
        </p:spPr>
        <p:txBody>
          <a:bodyPr vert="horz" lIns="0" tIns="0" rIns="0" bIns="0" rtlCol="0" anchor="ctr" anchorCtr="0">
            <a:noAutofit/>
          </a:bodyPr>
          <a:lstStyle/>
          <a:p>
            <a:pPr defTabSz="913164">
              <a:spcBef>
                <a:spcPct val="0"/>
              </a:spcBef>
              <a:defRPr/>
            </a:pPr>
            <a:r>
              <a:rPr lang="en-GB" sz="2400" b="1" dirty="0" smtClean="0">
                <a:solidFill>
                  <a:srgbClr val="666666"/>
                </a:solidFill>
              </a:rPr>
              <a:t>© </a:t>
            </a:r>
            <a:r>
              <a:rPr sz="2400" b="1" dirty="0" smtClean="0">
                <a:solidFill>
                  <a:srgbClr val="666666"/>
                </a:solidFill>
              </a:rPr>
              <a:t>2012 SAP AG. Alle Rechte vorbehalten.</a:t>
            </a:r>
          </a:p>
        </p:txBody>
      </p:sp>
      <p:sp>
        <p:nvSpPr>
          <p:cNvPr id="6" name="TextBox 5"/>
          <p:cNvSpPr txBox="1"/>
          <p:nvPr userDrawn="1"/>
        </p:nvSpPr>
        <p:spPr bwMode="gray">
          <a:xfrm>
            <a:off x="242937" y="1691616"/>
            <a:ext cx="4245994" cy="5909310"/>
          </a:xfrm>
          <a:prstGeom prst="rect">
            <a:avLst/>
          </a:prstGeom>
          <a:noFill/>
        </p:spPr>
        <p:txBody>
          <a:bodyPr wrap="square" lIns="0" tIns="0" rIns="0" bIns="0" rtlCol="0">
            <a:spAutoFit/>
          </a:bodyPr>
          <a:lstStyle>
            <a:defPPr>
              <a:defRPr lang="de-DE"/>
            </a:defPPr>
            <a:lvl1pPr indent="0">
              <a:lnSpc>
                <a:spcPct val="100000"/>
              </a:lnSpc>
              <a:spcBef>
                <a:spcPts val="600"/>
              </a:spcBef>
              <a:defRPr sz="900">
                <a:ea typeface="MS PGothic" pitchFamily="34" charset="-128"/>
              </a:defRPr>
            </a:lvl1pPr>
          </a:lstStyle>
          <a:p>
            <a:pPr defTabSz="913164"/>
            <a:r>
              <a:rPr dirty="0" smtClean="0">
                <a:solidFill>
                  <a:srgbClr val="000000"/>
                </a:solidFill>
              </a:rPr>
              <a:t>Weitergabe und Vervielfältigung dieser Publikation oder von Teilen daraus sind, zu welchem Zweck und in welcher Form auch immer, ohne die ausdrückliche schriftliche Genehmigung durch SAP AG nicht gestattet. </a:t>
            </a:r>
            <a:br>
              <a:rPr dirty="0" smtClean="0">
                <a:solidFill>
                  <a:srgbClr val="000000"/>
                </a:solidFill>
              </a:rPr>
            </a:br>
            <a:r>
              <a:rPr dirty="0" smtClean="0">
                <a:solidFill>
                  <a:srgbClr val="000000"/>
                </a:solidFill>
              </a:rPr>
              <a:t>In dieser Publikation enthaltene Informationen können ohne vorherige Ankündigung geändert werden.</a:t>
            </a:r>
          </a:p>
          <a:p>
            <a:pPr defTabSz="913164"/>
            <a:r>
              <a:rPr dirty="0" smtClean="0">
                <a:solidFill>
                  <a:srgbClr val="000000"/>
                </a:solidFill>
              </a:rPr>
              <a:t>Die von SAP AG oder deren Vertriebsfirmen angebotenen Softwareprodukte können Softwarekomponenten auch anderer Softwarehersteller enthalten.</a:t>
            </a:r>
          </a:p>
          <a:p>
            <a:pPr defTabSz="913164"/>
            <a:r>
              <a:rPr lang="en-US" dirty="0" smtClean="0">
                <a:solidFill>
                  <a:srgbClr val="000000"/>
                </a:solidFill>
              </a:rPr>
              <a:t>Microsoft, Windows, Excel, Outlook, PowerPoint, </a:t>
            </a:r>
            <a:r>
              <a:rPr lang="en-GB" dirty="0" smtClean="0">
                <a:solidFill>
                  <a:srgbClr val="000000"/>
                </a:solidFill>
              </a:rPr>
              <a:t>Silverlight und Visual Studio</a:t>
            </a:r>
            <a:r>
              <a:rPr lang="en-US" dirty="0" smtClean="0">
                <a:solidFill>
                  <a:srgbClr val="000000"/>
                </a:solidFill>
              </a:rPr>
              <a:t> </a:t>
            </a:r>
            <a:r>
              <a:rPr lang="en-US" dirty="0" err="1" smtClean="0">
                <a:solidFill>
                  <a:srgbClr val="000000"/>
                </a:solidFill>
              </a:rPr>
              <a:t>sind</a:t>
            </a:r>
            <a:r>
              <a:rPr lang="en-US" dirty="0" smtClean="0">
                <a:solidFill>
                  <a:srgbClr val="000000"/>
                </a:solidFill>
              </a:rPr>
              <a:t> </a:t>
            </a:r>
            <a:r>
              <a:rPr lang="en-US" dirty="0" err="1" smtClean="0">
                <a:solidFill>
                  <a:srgbClr val="000000"/>
                </a:solidFill>
              </a:rPr>
              <a:t>eingetragene</a:t>
            </a:r>
            <a:r>
              <a:rPr lang="en-US" dirty="0" smtClean="0">
                <a:solidFill>
                  <a:srgbClr val="000000"/>
                </a:solidFill>
              </a:rPr>
              <a:t> </a:t>
            </a:r>
            <a:r>
              <a:rPr lang="en-US" dirty="0" err="1" smtClean="0">
                <a:solidFill>
                  <a:srgbClr val="000000"/>
                </a:solidFill>
              </a:rPr>
              <a:t>Marken</a:t>
            </a:r>
            <a:r>
              <a:rPr lang="en-US" dirty="0" smtClean="0">
                <a:solidFill>
                  <a:srgbClr val="000000"/>
                </a:solidFill>
              </a:rPr>
              <a:t> der Microsoft Corporation. </a:t>
            </a:r>
            <a:endParaRPr dirty="0" smtClean="0">
              <a:solidFill>
                <a:srgbClr val="000000"/>
              </a:solidFill>
            </a:endParaRPr>
          </a:p>
          <a:p>
            <a:pPr defTabSz="913164"/>
            <a:r>
              <a:rPr dirty="0" smtClean="0">
                <a:solidFill>
                  <a:srgbClr val="000000"/>
                </a:solidFill>
              </a:rPr>
              <a:t>IBM, DB2, DB2 Universal Database, System i, System i5, System p, System p5, System x, System z, System z10, z10, z/VM, z/OS, OS/390, </a:t>
            </a:r>
            <a:r>
              <a:rPr dirty="0" err="1" smtClean="0">
                <a:solidFill>
                  <a:srgbClr val="000000"/>
                </a:solidFill>
              </a:rPr>
              <a:t>zEnterprise</a:t>
            </a:r>
            <a:r>
              <a:rPr dirty="0" smtClean="0">
                <a:solidFill>
                  <a:srgbClr val="000000"/>
                </a:solidFill>
              </a:rPr>
              <a:t>, </a:t>
            </a:r>
            <a:r>
              <a:rPr dirty="0" err="1" smtClean="0">
                <a:solidFill>
                  <a:srgbClr val="000000"/>
                </a:solidFill>
              </a:rPr>
              <a:t>PowerVM</a:t>
            </a:r>
            <a:r>
              <a:rPr dirty="0" smtClean="0">
                <a:solidFill>
                  <a:srgbClr val="000000"/>
                </a:solidFill>
              </a:rPr>
              <a:t>, Power </a:t>
            </a:r>
            <a:r>
              <a:rPr dirty="0" err="1" smtClean="0">
                <a:solidFill>
                  <a:srgbClr val="000000"/>
                </a:solidFill>
              </a:rPr>
              <a:t>Architecture</a:t>
            </a:r>
            <a:r>
              <a:rPr dirty="0" smtClean="0">
                <a:solidFill>
                  <a:srgbClr val="000000"/>
                </a:solidFill>
              </a:rPr>
              <a:t>, Power Systems, POWER7, POWER6+, POWER6, POWER, </a:t>
            </a:r>
            <a:r>
              <a:rPr dirty="0" err="1" smtClean="0">
                <a:solidFill>
                  <a:srgbClr val="000000"/>
                </a:solidFill>
              </a:rPr>
              <a:t>PowerHA</a:t>
            </a:r>
            <a:r>
              <a:rPr dirty="0" smtClean="0">
                <a:solidFill>
                  <a:srgbClr val="000000"/>
                </a:solidFill>
              </a:rPr>
              <a:t>, </a:t>
            </a:r>
            <a:r>
              <a:rPr dirty="0" err="1" smtClean="0">
                <a:solidFill>
                  <a:srgbClr val="000000"/>
                </a:solidFill>
              </a:rPr>
              <a:t>pureScale</a:t>
            </a:r>
            <a:r>
              <a:rPr dirty="0" smtClean="0">
                <a:solidFill>
                  <a:srgbClr val="000000"/>
                </a:solidFill>
              </a:rPr>
              <a:t>, PowerPC, </a:t>
            </a:r>
            <a:r>
              <a:rPr dirty="0" err="1" smtClean="0">
                <a:solidFill>
                  <a:srgbClr val="000000"/>
                </a:solidFill>
              </a:rPr>
              <a:t>BladeCenter</a:t>
            </a:r>
            <a:r>
              <a:rPr dirty="0" smtClean="0">
                <a:solidFill>
                  <a:srgbClr val="000000"/>
                </a:solidFill>
              </a:rPr>
              <a:t>, System Storage, </a:t>
            </a:r>
            <a:r>
              <a:rPr dirty="0" err="1" smtClean="0">
                <a:solidFill>
                  <a:srgbClr val="000000"/>
                </a:solidFill>
              </a:rPr>
              <a:t>Storwize</a:t>
            </a:r>
            <a:r>
              <a:rPr dirty="0" smtClean="0">
                <a:solidFill>
                  <a:srgbClr val="000000"/>
                </a:solidFill>
              </a:rPr>
              <a:t>, XIV, GPFS, HACMP, RETAIN, DB2 Connect, RACF, </a:t>
            </a:r>
            <a:r>
              <a:rPr dirty="0" err="1" smtClean="0">
                <a:solidFill>
                  <a:srgbClr val="000000"/>
                </a:solidFill>
              </a:rPr>
              <a:t>Redbooks</a:t>
            </a:r>
            <a:r>
              <a:rPr dirty="0" smtClean="0">
                <a:solidFill>
                  <a:srgbClr val="000000"/>
                </a:solidFill>
              </a:rPr>
              <a:t>, OS/2, AIX, Intelligent </a:t>
            </a:r>
            <a:r>
              <a:rPr dirty="0" err="1" smtClean="0">
                <a:solidFill>
                  <a:srgbClr val="000000"/>
                </a:solidFill>
              </a:rPr>
              <a:t>Miner</a:t>
            </a:r>
            <a:r>
              <a:rPr dirty="0" smtClean="0">
                <a:solidFill>
                  <a:srgbClr val="000000"/>
                </a:solidFill>
              </a:rPr>
              <a:t>, </a:t>
            </a:r>
            <a:r>
              <a:rPr dirty="0" err="1" smtClean="0">
                <a:solidFill>
                  <a:srgbClr val="000000"/>
                </a:solidFill>
              </a:rPr>
              <a:t>WebSphere</a:t>
            </a:r>
            <a:r>
              <a:rPr dirty="0" smtClean="0">
                <a:solidFill>
                  <a:srgbClr val="000000"/>
                </a:solidFill>
              </a:rPr>
              <a:t>, Tivoli, Informix und Smarter Planet sind Marken oder eingetragene Marken der IBM Corporation.</a:t>
            </a:r>
          </a:p>
          <a:p>
            <a:pPr defTabSz="913164"/>
            <a:r>
              <a:rPr dirty="0" smtClean="0">
                <a:solidFill>
                  <a:srgbClr val="000000"/>
                </a:solidFill>
              </a:rPr>
              <a:t>Linux ist eine eingetragene Marke von Linus </a:t>
            </a:r>
            <a:r>
              <a:rPr dirty="0" err="1" smtClean="0">
                <a:solidFill>
                  <a:srgbClr val="000000"/>
                </a:solidFill>
              </a:rPr>
              <a:t>Torvalds</a:t>
            </a:r>
            <a:r>
              <a:rPr dirty="0" smtClean="0">
                <a:solidFill>
                  <a:srgbClr val="000000"/>
                </a:solidFill>
              </a:rPr>
              <a:t> in den USA und anderen Ländern.</a:t>
            </a:r>
          </a:p>
          <a:p>
            <a:pPr defTabSz="913164"/>
            <a:r>
              <a:rPr dirty="0" smtClean="0">
                <a:solidFill>
                  <a:srgbClr val="000000"/>
                </a:solidFill>
              </a:rPr>
              <a:t>Adobe, das Adobe-Logo, Acrobat, PostScript und Reader sind Marken oder eingetragene Marken von </a:t>
            </a:r>
            <a:br>
              <a:rPr dirty="0" smtClean="0">
                <a:solidFill>
                  <a:srgbClr val="000000"/>
                </a:solidFill>
              </a:rPr>
            </a:br>
            <a:r>
              <a:rPr dirty="0" smtClean="0">
                <a:solidFill>
                  <a:srgbClr val="000000"/>
                </a:solidFill>
              </a:rPr>
              <a:t>Adobe Systems Incorporated in den USA und/oder anderen Ländern.</a:t>
            </a:r>
          </a:p>
          <a:p>
            <a:pPr defTabSz="913164"/>
            <a:r>
              <a:rPr dirty="0" smtClean="0">
                <a:solidFill>
                  <a:srgbClr val="000000"/>
                </a:solidFill>
              </a:rPr>
              <a:t>Oracle und Java sind eingetragene Marken von Oracle und/oder ihrer Tochtergesellschaften. </a:t>
            </a:r>
          </a:p>
          <a:p>
            <a:pPr defTabSz="913164"/>
            <a:r>
              <a:rPr dirty="0" smtClean="0">
                <a:solidFill>
                  <a:srgbClr val="000000"/>
                </a:solidFill>
              </a:rPr>
              <a:t>UNIX, X/Open, OSF/1 und </a:t>
            </a:r>
            <a:r>
              <a:rPr dirty="0" err="1" smtClean="0">
                <a:solidFill>
                  <a:srgbClr val="000000"/>
                </a:solidFill>
              </a:rPr>
              <a:t>Motif</a:t>
            </a:r>
            <a:r>
              <a:rPr dirty="0" smtClean="0">
                <a:solidFill>
                  <a:srgbClr val="000000"/>
                </a:solidFill>
              </a:rPr>
              <a:t> sind eingetragene Marken der Open Group.</a:t>
            </a:r>
          </a:p>
          <a:p>
            <a:pPr defTabSz="913164"/>
            <a:r>
              <a:rPr dirty="0" smtClean="0">
                <a:solidFill>
                  <a:srgbClr val="000000"/>
                </a:solidFill>
              </a:rPr>
              <a:t>Citrix, ICA, </a:t>
            </a:r>
            <a:r>
              <a:rPr dirty="0" err="1" smtClean="0">
                <a:solidFill>
                  <a:srgbClr val="000000"/>
                </a:solidFill>
              </a:rPr>
              <a:t>Program</a:t>
            </a:r>
            <a:r>
              <a:rPr dirty="0" smtClean="0">
                <a:solidFill>
                  <a:srgbClr val="000000"/>
                </a:solidFill>
              </a:rPr>
              <a:t> </a:t>
            </a:r>
            <a:r>
              <a:rPr dirty="0" err="1" smtClean="0">
                <a:solidFill>
                  <a:srgbClr val="000000"/>
                </a:solidFill>
              </a:rPr>
              <a:t>Neighborhood</a:t>
            </a:r>
            <a:r>
              <a:rPr dirty="0" smtClean="0">
                <a:solidFill>
                  <a:srgbClr val="000000"/>
                </a:solidFill>
              </a:rPr>
              <a:t>, </a:t>
            </a:r>
            <a:r>
              <a:rPr dirty="0" err="1" smtClean="0">
                <a:solidFill>
                  <a:srgbClr val="000000"/>
                </a:solidFill>
              </a:rPr>
              <a:t>MetaFrame</a:t>
            </a:r>
            <a:r>
              <a:rPr dirty="0" smtClean="0">
                <a:solidFill>
                  <a:srgbClr val="000000"/>
                </a:solidFill>
              </a:rPr>
              <a:t>, </a:t>
            </a:r>
            <a:r>
              <a:rPr dirty="0" err="1" smtClean="0">
                <a:solidFill>
                  <a:srgbClr val="000000"/>
                </a:solidFill>
              </a:rPr>
              <a:t>WinFrame</a:t>
            </a:r>
            <a:r>
              <a:rPr dirty="0" smtClean="0">
                <a:solidFill>
                  <a:srgbClr val="000000"/>
                </a:solidFill>
              </a:rPr>
              <a:t>, </a:t>
            </a:r>
            <a:r>
              <a:rPr dirty="0" err="1" smtClean="0">
                <a:solidFill>
                  <a:srgbClr val="000000"/>
                </a:solidFill>
              </a:rPr>
              <a:t>VideoFrame</a:t>
            </a:r>
            <a:r>
              <a:rPr dirty="0" smtClean="0">
                <a:solidFill>
                  <a:srgbClr val="000000"/>
                </a:solidFill>
              </a:rPr>
              <a:t> und </a:t>
            </a:r>
            <a:r>
              <a:rPr dirty="0" err="1" smtClean="0">
                <a:solidFill>
                  <a:srgbClr val="000000"/>
                </a:solidFill>
              </a:rPr>
              <a:t>MultiWin</a:t>
            </a:r>
            <a:r>
              <a:rPr dirty="0" smtClean="0">
                <a:solidFill>
                  <a:srgbClr val="000000"/>
                </a:solidFill>
              </a:rPr>
              <a:t> sind Marken oder eingetragene Marken von Citrix Systems, Inc.</a:t>
            </a:r>
          </a:p>
          <a:p>
            <a:pPr defTabSz="913164"/>
            <a:r>
              <a:rPr dirty="0" smtClean="0">
                <a:solidFill>
                  <a:srgbClr val="000000"/>
                </a:solidFill>
              </a:rPr>
              <a:t>HTML, XML, XHTML und W3C sind Marken oder eingetragene Marken des W3C®, World Wide Web </a:t>
            </a:r>
            <a:r>
              <a:rPr dirty="0" err="1" smtClean="0">
                <a:solidFill>
                  <a:srgbClr val="000000"/>
                </a:solidFill>
              </a:rPr>
              <a:t>Consortium</a:t>
            </a:r>
            <a:r>
              <a:rPr dirty="0" smtClean="0">
                <a:solidFill>
                  <a:srgbClr val="000000"/>
                </a:solidFill>
              </a:rPr>
              <a:t>, Massachusetts Institute </a:t>
            </a:r>
            <a:r>
              <a:rPr dirty="0" err="1" smtClean="0">
                <a:solidFill>
                  <a:srgbClr val="000000"/>
                </a:solidFill>
              </a:rPr>
              <a:t>of</a:t>
            </a:r>
            <a:r>
              <a:rPr dirty="0" smtClean="0">
                <a:solidFill>
                  <a:srgbClr val="000000"/>
                </a:solidFill>
              </a:rPr>
              <a:t> Technology. </a:t>
            </a:r>
          </a:p>
          <a:p>
            <a:pPr defTabSz="913164"/>
            <a:r>
              <a:rPr dirty="0" smtClean="0">
                <a:solidFill>
                  <a:srgbClr val="000000"/>
                </a:solidFill>
              </a:rPr>
              <a:t>Apple, App Store, </a:t>
            </a:r>
            <a:r>
              <a:rPr dirty="0" err="1" smtClean="0">
                <a:solidFill>
                  <a:srgbClr val="000000"/>
                </a:solidFill>
              </a:rPr>
              <a:t>iBooks</a:t>
            </a:r>
            <a:r>
              <a:rPr dirty="0" smtClean="0">
                <a:solidFill>
                  <a:srgbClr val="000000"/>
                </a:solidFill>
              </a:rPr>
              <a:t>, </a:t>
            </a:r>
            <a:r>
              <a:rPr dirty="0" err="1" smtClean="0">
                <a:solidFill>
                  <a:srgbClr val="000000"/>
                </a:solidFill>
              </a:rPr>
              <a:t>iPad</a:t>
            </a:r>
            <a:r>
              <a:rPr dirty="0" smtClean="0">
                <a:solidFill>
                  <a:srgbClr val="000000"/>
                </a:solidFill>
              </a:rPr>
              <a:t>, </a:t>
            </a:r>
            <a:r>
              <a:rPr dirty="0" err="1" smtClean="0">
                <a:solidFill>
                  <a:srgbClr val="000000"/>
                </a:solidFill>
              </a:rPr>
              <a:t>iPhone</a:t>
            </a:r>
            <a:r>
              <a:rPr dirty="0" smtClean="0">
                <a:solidFill>
                  <a:srgbClr val="000000"/>
                </a:solidFill>
              </a:rPr>
              <a:t>, </a:t>
            </a:r>
            <a:r>
              <a:rPr dirty="0" err="1" smtClean="0">
                <a:solidFill>
                  <a:srgbClr val="000000"/>
                </a:solidFill>
              </a:rPr>
              <a:t>iPhoto</a:t>
            </a:r>
            <a:r>
              <a:rPr dirty="0" smtClean="0">
                <a:solidFill>
                  <a:srgbClr val="000000"/>
                </a:solidFill>
              </a:rPr>
              <a:t>, iPod, iTunes, Multi-Touch, </a:t>
            </a:r>
            <a:r>
              <a:rPr dirty="0" err="1" smtClean="0">
                <a:solidFill>
                  <a:srgbClr val="000000"/>
                </a:solidFill>
              </a:rPr>
              <a:t>Objective</a:t>
            </a:r>
            <a:r>
              <a:rPr dirty="0" smtClean="0">
                <a:solidFill>
                  <a:srgbClr val="000000"/>
                </a:solidFill>
              </a:rPr>
              <a:t>-C, Retina, Safari, Siri </a:t>
            </a:r>
            <a:br>
              <a:rPr dirty="0" smtClean="0">
                <a:solidFill>
                  <a:srgbClr val="000000"/>
                </a:solidFill>
              </a:rPr>
            </a:br>
            <a:r>
              <a:rPr dirty="0" smtClean="0">
                <a:solidFill>
                  <a:srgbClr val="000000"/>
                </a:solidFill>
              </a:rPr>
              <a:t>und </a:t>
            </a:r>
            <a:r>
              <a:rPr dirty="0" err="1" smtClean="0">
                <a:solidFill>
                  <a:srgbClr val="000000"/>
                </a:solidFill>
              </a:rPr>
              <a:t>Xcode</a:t>
            </a:r>
            <a:r>
              <a:rPr dirty="0" smtClean="0">
                <a:solidFill>
                  <a:srgbClr val="000000"/>
                </a:solidFill>
              </a:rPr>
              <a:t> sind Marken oder eingetragene Marken der Apple Inc.</a:t>
            </a:r>
          </a:p>
          <a:p>
            <a:pPr defTabSz="913164"/>
            <a:r>
              <a:rPr dirty="0" smtClean="0">
                <a:solidFill>
                  <a:srgbClr val="000000"/>
                </a:solidFill>
              </a:rPr>
              <a:t>IOS ist eine eingetragene Marke von Cisco Systems Inc.</a:t>
            </a:r>
          </a:p>
          <a:p>
            <a:pPr defTabSz="913164"/>
            <a:r>
              <a:rPr lang="en-US" dirty="0" smtClean="0">
                <a:solidFill>
                  <a:srgbClr val="000000"/>
                </a:solidFill>
              </a:rPr>
              <a:t>RIM, BlackBerry, BBM, BlackBerry Curve, BlackBerry Bold, BlackBerry Pearl, BlackBerry Torch, BlackBerry Storm, BlackBerry Storm2, BlackBerry </a:t>
            </a:r>
            <a:r>
              <a:rPr lang="en-US" dirty="0" err="1" smtClean="0">
                <a:solidFill>
                  <a:srgbClr val="000000"/>
                </a:solidFill>
              </a:rPr>
              <a:t>PlayBook</a:t>
            </a:r>
            <a:r>
              <a:rPr lang="en-US" dirty="0" smtClean="0">
                <a:solidFill>
                  <a:srgbClr val="000000"/>
                </a:solidFill>
              </a:rPr>
              <a:t> und BlackBerry App World </a:t>
            </a:r>
            <a:r>
              <a:rPr lang="en-US" dirty="0" err="1" smtClean="0">
                <a:solidFill>
                  <a:srgbClr val="000000"/>
                </a:solidFill>
              </a:rPr>
              <a:t>sind</a:t>
            </a:r>
            <a:r>
              <a:rPr lang="en-US" dirty="0" smtClean="0">
                <a:solidFill>
                  <a:srgbClr val="000000"/>
                </a:solidFill>
              </a:rPr>
              <a:t> </a:t>
            </a:r>
            <a:r>
              <a:rPr lang="en-US" dirty="0" err="1" smtClean="0">
                <a:solidFill>
                  <a:srgbClr val="000000"/>
                </a:solidFill>
              </a:rPr>
              <a:t>Marken</a:t>
            </a:r>
            <a:r>
              <a:rPr lang="en-US" dirty="0" smtClean="0">
                <a:solidFill>
                  <a:srgbClr val="000000"/>
                </a:solidFill>
              </a:rPr>
              <a:t> </a:t>
            </a:r>
            <a:r>
              <a:rPr lang="en-US" dirty="0" err="1" smtClean="0">
                <a:solidFill>
                  <a:srgbClr val="000000"/>
                </a:solidFill>
              </a:rPr>
              <a:t>oder</a:t>
            </a:r>
            <a:r>
              <a:rPr lang="en-US" dirty="0" smtClean="0">
                <a:solidFill>
                  <a:srgbClr val="000000"/>
                </a:solidFill>
              </a:rPr>
              <a:t> </a:t>
            </a:r>
            <a:r>
              <a:rPr lang="en-US" dirty="0" err="1" smtClean="0">
                <a:solidFill>
                  <a:srgbClr val="000000"/>
                </a:solidFill>
              </a:rPr>
              <a:t>eingetragene</a:t>
            </a:r>
            <a:r>
              <a:rPr lang="en-US" dirty="0" smtClean="0">
                <a:solidFill>
                  <a:srgbClr val="000000"/>
                </a:solidFill>
              </a:rPr>
              <a:t> </a:t>
            </a:r>
            <a:r>
              <a:rPr lang="en-US" dirty="0" err="1" smtClean="0">
                <a:solidFill>
                  <a:srgbClr val="000000"/>
                </a:solidFill>
              </a:rPr>
              <a:t>Marken</a:t>
            </a:r>
            <a:r>
              <a:rPr lang="en-US" dirty="0" smtClean="0">
                <a:solidFill>
                  <a:srgbClr val="000000"/>
                </a:solidFill>
              </a:rPr>
              <a:t> von Research in Motion Limited.</a:t>
            </a:r>
            <a:endParaRPr noProof="1" smtClean="0">
              <a:solidFill>
                <a:srgbClr val="000000"/>
              </a:solidFill>
            </a:endParaRPr>
          </a:p>
        </p:txBody>
      </p:sp>
      <p:sp>
        <p:nvSpPr>
          <p:cNvPr id="7" name="TextBox 6"/>
          <p:cNvSpPr txBox="1"/>
          <p:nvPr userDrawn="1"/>
        </p:nvSpPr>
        <p:spPr bwMode="gray">
          <a:xfrm>
            <a:off x="4655182" y="1691616"/>
            <a:ext cx="4245994" cy="5693866"/>
          </a:xfrm>
          <a:prstGeom prst="rect">
            <a:avLst/>
          </a:prstGeom>
          <a:noFill/>
        </p:spPr>
        <p:txBody>
          <a:bodyPr wrap="square" lIns="0" tIns="0" rIns="0" bIns="0" rtlCol="0">
            <a:spAutoFit/>
          </a:bodyPr>
          <a:lstStyle>
            <a:defPPr>
              <a:defRPr lang="de-DE"/>
            </a:defPPr>
            <a:lvl1pPr indent="0">
              <a:lnSpc>
                <a:spcPct val="100000"/>
              </a:lnSpc>
              <a:spcBef>
                <a:spcPts val="600"/>
              </a:spcBef>
              <a:defRPr sz="900">
                <a:ea typeface="MS PGothic" pitchFamily="34" charset="-128"/>
              </a:defRPr>
            </a:lvl1pPr>
          </a:lstStyle>
          <a:p>
            <a:pPr defTabSz="913164"/>
            <a:r>
              <a:rPr lang="en-US" dirty="0" smtClean="0">
                <a:solidFill>
                  <a:srgbClr val="000000"/>
                </a:solidFill>
              </a:rPr>
              <a:t>Google App Engine, Google Apps, Google Checkout, Google Data API, Google Maps, Google Mobile Ads, Google Mobile Updater, Google Mobile, Google Store, Google Sync, Google Updater, Google Voice, </a:t>
            </a:r>
            <a:br>
              <a:rPr lang="en-US" dirty="0" smtClean="0">
                <a:solidFill>
                  <a:srgbClr val="000000"/>
                </a:solidFill>
              </a:rPr>
            </a:br>
            <a:r>
              <a:rPr lang="en-US" dirty="0" smtClean="0">
                <a:solidFill>
                  <a:srgbClr val="000000"/>
                </a:solidFill>
              </a:rPr>
              <a:t>Google Mail, Gmail, YouTube, </a:t>
            </a:r>
            <a:r>
              <a:rPr lang="en-US" dirty="0" err="1" smtClean="0">
                <a:solidFill>
                  <a:srgbClr val="000000"/>
                </a:solidFill>
              </a:rPr>
              <a:t>Dalvik</a:t>
            </a:r>
            <a:r>
              <a:rPr lang="en-US" dirty="0" smtClean="0">
                <a:solidFill>
                  <a:srgbClr val="000000"/>
                </a:solidFill>
              </a:rPr>
              <a:t> und Android </a:t>
            </a:r>
            <a:r>
              <a:rPr lang="en-US" dirty="0" err="1" smtClean="0">
                <a:solidFill>
                  <a:srgbClr val="000000"/>
                </a:solidFill>
              </a:rPr>
              <a:t>sind</a:t>
            </a:r>
            <a:r>
              <a:rPr lang="en-US" dirty="0" smtClean="0">
                <a:solidFill>
                  <a:srgbClr val="000000"/>
                </a:solidFill>
              </a:rPr>
              <a:t> </a:t>
            </a:r>
            <a:r>
              <a:rPr lang="en-US" dirty="0" err="1" smtClean="0">
                <a:solidFill>
                  <a:srgbClr val="000000"/>
                </a:solidFill>
              </a:rPr>
              <a:t>Marken</a:t>
            </a:r>
            <a:r>
              <a:rPr lang="en-US" dirty="0" smtClean="0">
                <a:solidFill>
                  <a:srgbClr val="000000"/>
                </a:solidFill>
              </a:rPr>
              <a:t> </a:t>
            </a:r>
            <a:r>
              <a:rPr lang="en-US" dirty="0" err="1" smtClean="0">
                <a:solidFill>
                  <a:srgbClr val="000000"/>
                </a:solidFill>
              </a:rPr>
              <a:t>oder</a:t>
            </a:r>
            <a:r>
              <a:rPr lang="en-US" dirty="0" smtClean="0">
                <a:solidFill>
                  <a:srgbClr val="000000"/>
                </a:solidFill>
              </a:rPr>
              <a:t> </a:t>
            </a:r>
            <a:r>
              <a:rPr lang="en-US" dirty="0" err="1" smtClean="0">
                <a:solidFill>
                  <a:srgbClr val="000000"/>
                </a:solidFill>
              </a:rPr>
              <a:t>eingetragene</a:t>
            </a:r>
            <a:r>
              <a:rPr lang="en-US" dirty="0" smtClean="0">
                <a:solidFill>
                  <a:srgbClr val="000000"/>
                </a:solidFill>
              </a:rPr>
              <a:t> </a:t>
            </a:r>
            <a:r>
              <a:rPr lang="en-US" dirty="0" err="1" smtClean="0">
                <a:solidFill>
                  <a:srgbClr val="000000"/>
                </a:solidFill>
              </a:rPr>
              <a:t>Marken</a:t>
            </a:r>
            <a:r>
              <a:rPr lang="en-US" dirty="0" smtClean="0">
                <a:solidFill>
                  <a:srgbClr val="000000"/>
                </a:solidFill>
              </a:rPr>
              <a:t> von Google Inc.</a:t>
            </a:r>
            <a:endParaRPr dirty="0" smtClean="0">
              <a:solidFill>
                <a:srgbClr val="000000"/>
              </a:solidFill>
            </a:endParaRPr>
          </a:p>
          <a:p>
            <a:pPr defTabSz="913164"/>
            <a:r>
              <a:rPr dirty="0" smtClean="0">
                <a:solidFill>
                  <a:srgbClr val="000000"/>
                </a:solidFill>
              </a:rPr>
              <a:t>INTERMEC ist eine eingetragene Marke der </a:t>
            </a:r>
            <a:r>
              <a:rPr dirty="0" err="1" smtClean="0">
                <a:solidFill>
                  <a:srgbClr val="000000"/>
                </a:solidFill>
              </a:rPr>
              <a:t>Intermec</a:t>
            </a:r>
            <a:r>
              <a:rPr dirty="0" smtClean="0">
                <a:solidFill>
                  <a:srgbClr val="000000"/>
                </a:solidFill>
              </a:rPr>
              <a:t> Technologies Corporation.</a:t>
            </a:r>
          </a:p>
          <a:p>
            <a:pPr defTabSz="913164"/>
            <a:r>
              <a:rPr dirty="0" err="1" smtClean="0">
                <a:solidFill>
                  <a:srgbClr val="000000"/>
                </a:solidFill>
              </a:rPr>
              <a:t>Wi-Fi</a:t>
            </a:r>
            <a:r>
              <a:rPr dirty="0" smtClean="0">
                <a:solidFill>
                  <a:srgbClr val="000000"/>
                </a:solidFill>
              </a:rPr>
              <a:t> ist eine eingetragene Marke der </a:t>
            </a:r>
            <a:r>
              <a:rPr dirty="0" err="1" smtClean="0">
                <a:solidFill>
                  <a:srgbClr val="000000"/>
                </a:solidFill>
              </a:rPr>
              <a:t>Wi-Fi</a:t>
            </a:r>
            <a:r>
              <a:rPr dirty="0" smtClean="0">
                <a:solidFill>
                  <a:srgbClr val="000000"/>
                </a:solidFill>
              </a:rPr>
              <a:t> Alliance.</a:t>
            </a:r>
          </a:p>
          <a:p>
            <a:pPr defTabSz="913164"/>
            <a:r>
              <a:rPr dirty="0" smtClean="0">
                <a:solidFill>
                  <a:srgbClr val="000000"/>
                </a:solidFill>
              </a:rPr>
              <a:t>Bluetooth ist eine eingetragene Marke von Bluetooth SIG Inc.</a:t>
            </a:r>
          </a:p>
          <a:p>
            <a:pPr defTabSz="913164"/>
            <a:r>
              <a:rPr dirty="0" smtClean="0">
                <a:solidFill>
                  <a:srgbClr val="000000"/>
                </a:solidFill>
              </a:rPr>
              <a:t>Motorola ist eine eingetragene Marke von Motorola Trademark Holdings, LLC. </a:t>
            </a:r>
          </a:p>
          <a:p>
            <a:pPr defTabSz="913164"/>
            <a:r>
              <a:rPr dirty="0" err="1" smtClean="0">
                <a:solidFill>
                  <a:srgbClr val="000000"/>
                </a:solidFill>
              </a:rPr>
              <a:t>Computop</a:t>
            </a:r>
            <a:r>
              <a:rPr dirty="0" smtClean="0">
                <a:solidFill>
                  <a:srgbClr val="000000"/>
                </a:solidFill>
              </a:rPr>
              <a:t> ist eine eingetragene Marke der </a:t>
            </a:r>
            <a:r>
              <a:rPr dirty="0" err="1" smtClean="0">
                <a:solidFill>
                  <a:srgbClr val="000000"/>
                </a:solidFill>
              </a:rPr>
              <a:t>Computop</a:t>
            </a:r>
            <a:r>
              <a:rPr dirty="0" smtClean="0">
                <a:solidFill>
                  <a:srgbClr val="000000"/>
                </a:solidFill>
              </a:rPr>
              <a:t> Wirtschaftsinformatik GmbH.</a:t>
            </a:r>
          </a:p>
          <a:p>
            <a:pPr defTabSz="913164"/>
            <a:r>
              <a:rPr dirty="0" smtClean="0">
                <a:solidFill>
                  <a:srgbClr val="000000"/>
                </a:solidFill>
              </a:rPr>
              <a:t>SAP, R/3, SAP NetWeaver, </a:t>
            </a:r>
            <a:r>
              <a:rPr dirty="0" err="1" smtClean="0">
                <a:solidFill>
                  <a:srgbClr val="000000"/>
                </a:solidFill>
              </a:rPr>
              <a:t>Duet</a:t>
            </a:r>
            <a:r>
              <a:rPr dirty="0" smtClean="0">
                <a:solidFill>
                  <a:srgbClr val="000000"/>
                </a:solidFill>
              </a:rPr>
              <a:t>, </a:t>
            </a:r>
            <a:r>
              <a:rPr dirty="0" err="1" smtClean="0">
                <a:solidFill>
                  <a:srgbClr val="000000"/>
                </a:solidFill>
              </a:rPr>
              <a:t>PartnerEdge</a:t>
            </a:r>
            <a:r>
              <a:rPr dirty="0" smtClean="0">
                <a:solidFill>
                  <a:srgbClr val="000000"/>
                </a:solidFill>
              </a:rPr>
              <a:t>, </a:t>
            </a:r>
            <a:r>
              <a:rPr dirty="0" err="1" smtClean="0">
                <a:solidFill>
                  <a:srgbClr val="000000"/>
                </a:solidFill>
              </a:rPr>
              <a:t>ByDesign</a:t>
            </a:r>
            <a:r>
              <a:rPr dirty="0" smtClean="0">
                <a:solidFill>
                  <a:srgbClr val="000000"/>
                </a:solidFill>
              </a:rPr>
              <a:t>, SAP </a:t>
            </a:r>
            <a:r>
              <a:rPr dirty="0" err="1" smtClean="0">
                <a:solidFill>
                  <a:srgbClr val="000000"/>
                </a:solidFill>
              </a:rPr>
              <a:t>BusinessObjects</a:t>
            </a:r>
            <a:r>
              <a:rPr dirty="0" smtClean="0">
                <a:solidFill>
                  <a:srgbClr val="000000"/>
                </a:solidFill>
              </a:rPr>
              <a:t> Explorer, </a:t>
            </a:r>
            <a:r>
              <a:rPr dirty="0" err="1" smtClean="0">
                <a:solidFill>
                  <a:srgbClr val="000000"/>
                </a:solidFill>
              </a:rPr>
              <a:t>StreamWork</a:t>
            </a:r>
            <a:r>
              <a:rPr dirty="0" smtClean="0">
                <a:solidFill>
                  <a:srgbClr val="000000"/>
                </a:solidFill>
              </a:rPr>
              <a:t>, </a:t>
            </a:r>
            <a:br>
              <a:rPr dirty="0" smtClean="0">
                <a:solidFill>
                  <a:srgbClr val="000000"/>
                </a:solidFill>
              </a:rPr>
            </a:br>
            <a:r>
              <a:rPr dirty="0" smtClean="0">
                <a:solidFill>
                  <a:srgbClr val="000000"/>
                </a:solidFill>
              </a:rPr>
              <a:t>SAP HANA und weitere im Text erwähnte SAP-Produkte und -Dienst-leistungen sowie die entsprechenden Logos sind Marken oder eingetragene Marken der SAP AG in Deutschland und anderen Ländern.</a:t>
            </a:r>
          </a:p>
          <a:p>
            <a:pPr defTabSz="913164"/>
            <a:r>
              <a:rPr dirty="0" smtClean="0">
                <a:solidFill>
                  <a:srgbClr val="000000"/>
                </a:solidFill>
              </a:rPr>
              <a:t>Business Objects und das Business-Objects-Logo, </a:t>
            </a:r>
            <a:r>
              <a:rPr dirty="0" err="1" smtClean="0">
                <a:solidFill>
                  <a:srgbClr val="000000"/>
                </a:solidFill>
              </a:rPr>
              <a:t>BusinessObjects</a:t>
            </a:r>
            <a:r>
              <a:rPr dirty="0" smtClean="0">
                <a:solidFill>
                  <a:srgbClr val="000000"/>
                </a:solidFill>
              </a:rPr>
              <a:t>, Crystal Reports, Crystal </a:t>
            </a:r>
            <a:r>
              <a:rPr dirty="0" err="1" smtClean="0">
                <a:solidFill>
                  <a:srgbClr val="000000"/>
                </a:solidFill>
              </a:rPr>
              <a:t>Decisions</a:t>
            </a:r>
            <a:r>
              <a:rPr dirty="0" smtClean="0">
                <a:solidFill>
                  <a:srgbClr val="000000"/>
                </a:solidFill>
              </a:rPr>
              <a:t>, </a:t>
            </a:r>
            <a:br>
              <a:rPr dirty="0" smtClean="0">
                <a:solidFill>
                  <a:srgbClr val="000000"/>
                </a:solidFill>
              </a:rPr>
            </a:br>
            <a:r>
              <a:rPr dirty="0" smtClean="0">
                <a:solidFill>
                  <a:srgbClr val="000000"/>
                </a:solidFill>
              </a:rPr>
              <a:t>Web </a:t>
            </a:r>
            <a:r>
              <a:rPr dirty="0" err="1" smtClean="0">
                <a:solidFill>
                  <a:srgbClr val="000000"/>
                </a:solidFill>
              </a:rPr>
              <a:t>Intelligence</a:t>
            </a:r>
            <a:r>
              <a:rPr dirty="0" smtClean="0">
                <a:solidFill>
                  <a:srgbClr val="000000"/>
                </a:solidFill>
              </a:rPr>
              <a:t>, </a:t>
            </a:r>
            <a:r>
              <a:rPr dirty="0" err="1" smtClean="0">
                <a:solidFill>
                  <a:srgbClr val="000000"/>
                </a:solidFill>
              </a:rPr>
              <a:t>Xcelsius</a:t>
            </a:r>
            <a:r>
              <a:rPr dirty="0" smtClean="0">
                <a:solidFill>
                  <a:srgbClr val="000000"/>
                </a:solidFill>
              </a:rPr>
              <a:t> und andere im Text erwähnte Business-Objects-Produkte und ­Dienstleistungen sowie die entsprechenden Logos sind Marken oder eingetragene Marken der Business Objects Software Ltd. Business Objects ist ein Unternehmen der SAP AG.</a:t>
            </a:r>
          </a:p>
          <a:p>
            <a:pPr defTabSz="913164"/>
            <a:r>
              <a:rPr dirty="0" err="1" smtClean="0">
                <a:solidFill>
                  <a:srgbClr val="000000"/>
                </a:solidFill>
              </a:rPr>
              <a:t>Sybase</a:t>
            </a:r>
            <a:r>
              <a:rPr dirty="0" smtClean="0">
                <a:solidFill>
                  <a:srgbClr val="000000"/>
                </a:solidFill>
              </a:rPr>
              <a:t> und Adaptive Server, </a:t>
            </a:r>
            <a:r>
              <a:rPr dirty="0" err="1" smtClean="0">
                <a:solidFill>
                  <a:srgbClr val="000000"/>
                </a:solidFill>
              </a:rPr>
              <a:t>iAnywhere</a:t>
            </a:r>
            <a:r>
              <a:rPr dirty="0" smtClean="0">
                <a:solidFill>
                  <a:srgbClr val="000000"/>
                </a:solidFill>
              </a:rPr>
              <a:t>, </a:t>
            </a:r>
            <a:r>
              <a:rPr dirty="0" err="1" smtClean="0">
                <a:solidFill>
                  <a:srgbClr val="000000"/>
                </a:solidFill>
              </a:rPr>
              <a:t>Sybase</a:t>
            </a:r>
            <a:r>
              <a:rPr dirty="0" smtClean="0">
                <a:solidFill>
                  <a:srgbClr val="000000"/>
                </a:solidFill>
              </a:rPr>
              <a:t> 365, SQL Anywhere und weitere im Text erwähnte </a:t>
            </a:r>
            <a:r>
              <a:rPr dirty="0" err="1" smtClean="0">
                <a:solidFill>
                  <a:srgbClr val="000000"/>
                </a:solidFill>
              </a:rPr>
              <a:t>Sybase</a:t>
            </a:r>
            <a:r>
              <a:rPr dirty="0" smtClean="0">
                <a:solidFill>
                  <a:srgbClr val="000000"/>
                </a:solidFill>
              </a:rPr>
              <a:t>-Produkte und -Dienstleistungen sowie die entsprechenden Logos sind Marken oder eingetragene Marken der </a:t>
            </a:r>
            <a:r>
              <a:rPr dirty="0" err="1" smtClean="0">
                <a:solidFill>
                  <a:srgbClr val="000000"/>
                </a:solidFill>
              </a:rPr>
              <a:t>Sybase</a:t>
            </a:r>
            <a:r>
              <a:rPr dirty="0" smtClean="0">
                <a:solidFill>
                  <a:srgbClr val="000000"/>
                </a:solidFill>
              </a:rPr>
              <a:t> Inc. </a:t>
            </a:r>
            <a:r>
              <a:rPr dirty="0" err="1" smtClean="0">
                <a:solidFill>
                  <a:srgbClr val="000000"/>
                </a:solidFill>
              </a:rPr>
              <a:t>Sybase</a:t>
            </a:r>
            <a:r>
              <a:rPr dirty="0" smtClean="0">
                <a:solidFill>
                  <a:srgbClr val="000000"/>
                </a:solidFill>
              </a:rPr>
              <a:t> ist ein Unternehmen der SAP AG.</a:t>
            </a:r>
          </a:p>
          <a:p>
            <a:pPr defTabSz="913164"/>
            <a:r>
              <a:rPr dirty="0" err="1" smtClean="0">
                <a:solidFill>
                  <a:srgbClr val="000000"/>
                </a:solidFill>
              </a:rPr>
              <a:t>Crossgate</a:t>
            </a:r>
            <a:r>
              <a:rPr dirty="0" smtClean="0">
                <a:solidFill>
                  <a:srgbClr val="000000"/>
                </a:solidFill>
              </a:rPr>
              <a:t>, </a:t>
            </a:r>
            <a:r>
              <a:rPr dirty="0" err="1" smtClean="0">
                <a:solidFill>
                  <a:srgbClr val="000000"/>
                </a:solidFill>
              </a:rPr>
              <a:t>m@gic</a:t>
            </a:r>
            <a:r>
              <a:rPr dirty="0" smtClean="0">
                <a:solidFill>
                  <a:srgbClr val="000000"/>
                </a:solidFill>
              </a:rPr>
              <a:t> EDDY, B2B 360°, B2B 360° Services sind eingetragene Marken  der </a:t>
            </a:r>
            <a:r>
              <a:rPr dirty="0" err="1" smtClean="0">
                <a:solidFill>
                  <a:srgbClr val="000000"/>
                </a:solidFill>
              </a:rPr>
              <a:t>Crossgate</a:t>
            </a:r>
            <a:r>
              <a:rPr dirty="0" smtClean="0">
                <a:solidFill>
                  <a:srgbClr val="000000"/>
                </a:solidFill>
              </a:rPr>
              <a:t> AG in Deutschland und anderen Ländern. </a:t>
            </a:r>
            <a:r>
              <a:rPr dirty="0" err="1" smtClean="0">
                <a:solidFill>
                  <a:srgbClr val="000000"/>
                </a:solidFill>
              </a:rPr>
              <a:t>Crossgate</a:t>
            </a:r>
            <a:r>
              <a:rPr dirty="0" smtClean="0">
                <a:solidFill>
                  <a:srgbClr val="000000"/>
                </a:solidFill>
              </a:rPr>
              <a:t> ist ein Unternehmen der SAP AG.</a:t>
            </a:r>
          </a:p>
          <a:p>
            <a:pPr defTabSz="913164"/>
            <a:r>
              <a:rPr dirty="0" smtClean="0">
                <a:solidFill>
                  <a:srgbClr val="000000"/>
                </a:solidFill>
              </a:rPr>
              <a:t>Alle anderen Namen von Produkten und Dienstleistungen sind Marken der jeweiligen Firmen. Die Angaben im Text sind unverbindlich und dienen lediglich zu Informationszwecken. Produkte können länderspezifische Unterschiede aufweisen.</a:t>
            </a:r>
          </a:p>
          <a:p>
            <a:pPr defTabSz="913164"/>
            <a:r>
              <a:rPr dirty="0" smtClean="0">
                <a:solidFill>
                  <a:srgbClr val="000000"/>
                </a:solidFill>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endParaRPr dirty="0">
              <a:solidFill>
                <a:srgbClr val="000000"/>
              </a:solidFill>
            </a:endParaRPr>
          </a:p>
        </p:txBody>
      </p:sp>
    </p:spTree>
    <p:extLst>
      <p:ext uri="{BB962C8B-B14F-4D97-AF65-F5344CB8AC3E}">
        <p14:creationId xmlns:p14="http://schemas.microsoft.com/office/powerpoint/2010/main" val="8656780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98378246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extLst>
      <p:ext uri="{BB962C8B-B14F-4D97-AF65-F5344CB8AC3E}">
        <p14:creationId xmlns:p14="http://schemas.microsoft.com/office/powerpoint/2010/main" val="18472852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extLst>
      <p:ext uri="{BB962C8B-B14F-4D97-AF65-F5344CB8AC3E}">
        <p14:creationId xmlns:p14="http://schemas.microsoft.com/office/powerpoint/2010/main" val="2514640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665133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3"/>
            <a:ext cx="4165200" cy="4392000"/>
          </a:xfrm>
          <a:solidFill>
            <a:schemeClr val="bg1">
              <a:lumMod val="95000"/>
            </a:schemeClr>
          </a:solidFill>
        </p:spPr>
        <p:txBody>
          <a:bodyPr vert="horz" lIns="0" tIns="1295341" rIns="0" bIns="0" rtlCol="0" anchor="t" anchorCtr="0">
            <a:noAutofit/>
          </a:bodyPr>
          <a:lstStyle>
            <a:lvl1pPr marL="0" indent="0" algn="ctr" defTabSz="913936"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3"/>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15683161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4177593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6081713"/>
            <a:ext cx="916953" cy="454025"/>
          </a:xfrm>
          <a:prstGeom prst="rect">
            <a:avLst/>
          </a:prstGeom>
        </p:spPr>
      </p:pic>
    </p:spTree>
    <p:extLst>
      <p:ext uri="{BB962C8B-B14F-4D97-AF65-F5344CB8AC3E}">
        <p14:creationId xmlns:p14="http://schemas.microsoft.com/office/powerpoint/2010/main" val="29875475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hf sldNum="0"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4000" y="478631"/>
            <a:ext cx="1832305" cy="907257"/>
          </a:xfrm>
          <a:prstGeom prst="rect">
            <a:avLst/>
          </a:prstGeom>
        </p:spPr>
      </p:pic>
    </p:spTree>
    <p:extLst>
      <p:ext uri="{BB962C8B-B14F-4D97-AF65-F5344CB8AC3E}">
        <p14:creationId xmlns:p14="http://schemas.microsoft.com/office/powerpoint/2010/main" val="3720860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171450" indent="-17145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extLst>
      <p:ext uri="{BB962C8B-B14F-4D97-AF65-F5344CB8AC3E}">
        <p14:creationId xmlns:p14="http://schemas.microsoft.com/office/powerpoint/2010/main" val="672336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673765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097505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706462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056381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442261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3"/>
            <a:ext cx="5238000" cy="4392000"/>
          </a:xfrm>
          <a:solidFill>
            <a:schemeClr val="bg1">
              <a:lumMod val="95000"/>
            </a:schemeClr>
          </a:solidFill>
        </p:spPr>
        <p:txBody>
          <a:bodyPr vert="horz" lIns="0" tIns="1295341" rIns="0" bIns="0" rtlCol="0" anchor="t" anchorCtr="0">
            <a:noAutofit/>
          </a:bodyPr>
          <a:lstStyle>
            <a:lvl1pPr marL="0" indent="0" algn="ctr" defTabSz="913936"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3"/>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7024595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0519094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and Text with picture lef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582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874927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Text with picture lef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46548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0526224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and Text with picture lef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24000"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5742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841692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1797300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extLst>
      <p:ext uri="{BB962C8B-B14F-4D97-AF65-F5344CB8AC3E}">
        <p14:creationId xmlns:p14="http://schemas.microsoft.com/office/powerpoint/2010/main" val="36328593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42707802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828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Text with picture: 2 columns">
    <p:spTree>
      <p:nvGrpSpPr>
        <p:cNvPr id="1" name=""/>
        <p:cNvGrpSpPr/>
        <p:nvPr/>
      </p:nvGrpSpPr>
      <p:grpSpPr>
        <a:xfrm>
          <a:off x="0" y="0"/>
          <a:ext cx="0" cy="0"/>
          <a:chOff x="0" y="0"/>
          <a:chExt cx="0" cy="0"/>
        </a:xfrm>
      </p:grpSpPr>
      <p:sp>
        <p:nvSpPr>
          <p:cNvPr id="7" name="Rectangle 6"/>
          <p:cNvSpPr/>
          <p:nvPr userDrawn="1"/>
        </p:nvSpPr>
        <p:spPr bwMode="gray">
          <a:xfrm>
            <a:off x="0" y="0"/>
            <a:ext cx="4572000" cy="6858000"/>
          </a:xfrm>
          <a:prstGeom prst="rect">
            <a:avLst/>
          </a:prstGeom>
          <a:solidFill>
            <a:schemeClr val="tx1"/>
          </a:solidFill>
        </p:spPr>
        <p:txBody>
          <a:bodyPr wrap="square" rtlCol="0" anchor="ctr" anchorCtr="1">
            <a:noAutofit/>
          </a:bodyPr>
          <a:lstStyle/>
          <a:p>
            <a:pPr algn="ctr" defTabSz="914400"/>
            <a:endParaRPr lang="en-US" sz="1200" dirty="0" smtClean="0">
              <a:solidFill>
                <a:srgbClr val="FFFFFF"/>
              </a:solidFill>
              <a:cs typeface="Arial"/>
            </a:endParaRPr>
          </a:p>
        </p:txBody>
      </p:sp>
      <p:sp>
        <p:nvSpPr>
          <p:cNvPr id="8" name="Rectangle 7"/>
          <p:cNvSpPr/>
          <p:nvPr userDrawn="1"/>
        </p:nvSpPr>
        <p:spPr bwMode="gray">
          <a:xfrm>
            <a:off x="4572000" y="0"/>
            <a:ext cx="4572000" cy="6858000"/>
          </a:xfrm>
          <a:prstGeom prst="rect">
            <a:avLst/>
          </a:prstGeom>
          <a:solidFill>
            <a:schemeClr val="bg1"/>
          </a:solidFill>
        </p:spPr>
        <p:txBody>
          <a:bodyPr wrap="square" rtlCol="0" anchor="ctr" anchorCtr="1">
            <a:noAutofit/>
          </a:bodyPr>
          <a:lstStyle/>
          <a:p>
            <a:pPr algn="ctr" defTabSz="914400"/>
            <a:endParaRPr lang="en-US" sz="1200" dirty="0" smtClean="0">
              <a:solidFill>
                <a:srgbClr val="FFFFFF"/>
              </a:solidFill>
              <a:cs typeface="Arial"/>
            </a:endParaRPr>
          </a:p>
        </p:txBody>
      </p:sp>
      <p:sp>
        <p:nvSpPr>
          <p:cNvPr id="2" name="Title 1"/>
          <p:cNvSpPr>
            <a:spLocks noGrp="1"/>
          </p:cNvSpPr>
          <p:nvPr>
            <p:ph type="title" hasCustomPrompt="1"/>
          </p:nvPr>
        </p:nvSpPr>
        <p:spPr>
          <a:xfrm>
            <a:off x="324000" y="642977"/>
            <a:ext cx="3999907" cy="756000"/>
          </a:xfrm>
        </p:spPr>
        <p:txBody>
          <a:bodyPr/>
          <a:lstStyle>
            <a:lvl1pPr>
              <a:defRPr sz="3600">
                <a:solidFill>
                  <a:schemeClr val="accent1"/>
                </a:solidFill>
              </a:defRPr>
            </a:lvl1p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2009665"/>
            <a:ext cx="4021172" cy="1720800"/>
          </a:xfrm>
        </p:spPr>
        <p:txBody>
          <a:bodyPr/>
          <a:lstStyle>
            <a:lvl1pPr>
              <a:defRPr sz="2400">
                <a:solidFill>
                  <a:schemeClr val="bg1"/>
                </a:solidFill>
              </a:defRPr>
            </a:lvl1pPr>
            <a:lvl2pPr>
              <a:defRPr sz="2400">
                <a:solidFill>
                  <a:schemeClr val="bg1"/>
                </a:solidFill>
              </a:defRPr>
            </a:lvl2pPr>
          </a:lstStyle>
          <a:p>
            <a:pPr lvl="0"/>
            <a:r>
              <a:rPr lang="en-US" noProof="0" dirty="0" smtClean="0"/>
              <a:t>First level</a:t>
            </a:r>
          </a:p>
          <a:p>
            <a:pPr lvl="1"/>
            <a:r>
              <a:rPr lang="en-US" dirty="0" smtClean="0"/>
              <a:t>Second level</a:t>
            </a:r>
          </a:p>
        </p:txBody>
      </p:sp>
      <p:sp>
        <p:nvSpPr>
          <p:cNvPr id="11" name="Picture Placeholder 4"/>
          <p:cNvSpPr>
            <a:spLocks noGrp="1"/>
          </p:cNvSpPr>
          <p:nvPr>
            <p:ph type="pic" sz="quarter" idx="16"/>
          </p:nvPr>
        </p:nvSpPr>
        <p:spPr bwMode="gray">
          <a:xfrm>
            <a:off x="4572000" y="0"/>
            <a:ext cx="4572000" cy="6858000"/>
          </a:xfrm>
          <a:solidFill>
            <a:schemeClr val="bg1"/>
          </a:solidFill>
        </p:spPr>
        <p:txBody>
          <a:bodyPr tIns="504000"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1486824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3"/>
            <a:ext cx="4165200" cy="2508223"/>
          </a:xfrm>
          <a:solidFill>
            <a:schemeClr val="bg1">
              <a:lumMod val="95000"/>
            </a:schemeClr>
          </a:solidFill>
        </p:spPr>
        <p:txBody>
          <a:bodyPr tIns="503744"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3"/>
            <a:ext cx="4165200" cy="2508223"/>
          </a:xfrm>
          <a:solidFill>
            <a:schemeClr val="bg1">
              <a:lumMod val="95000"/>
            </a:schemeClr>
          </a:solidFill>
        </p:spPr>
        <p:txBody>
          <a:bodyPr tIns="503744" anchor="t" anchorCtr="0"/>
          <a:lstStyle>
            <a:lvl1pPr algn="ctr">
              <a:defRPr b="0"/>
            </a:lvl1pPr>
          </a:lstStyle>
          <a:p>
            <a:r>
              <a:rPr lang="en-US" smtClean="0"/>
              <a:t>Click icon to add picture</a:t>
            </a:r>
            <a:endParaRPr lang="de-DE" dirty="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2_Title and Text with picture right 3">
    <p:spTree>
      <p:nvGrpSpPr>
        <p:cNvPr id="1" name=""/>
        <p:cNvGrpSpPr/>
        <p:nvPr/>
      </p:nvGrpSpPr>
      <p:grpSpPr>
        <a:xfrm>
          <a:off x="0" y="0"/>
          <a:ext cx="0" cy="0"/>
          <a:chOff x="0" y="0"/>
          <a:chExt cx="0" cy="0"/>
        </a:xfrm>
      </p:grpSpPr>
      <p:sp>
        <p:nvSpPr>
          <p:cNvPr id="8" name="Rectangle 7"/>
          <p:cNvSpPr/>
          <p:nvPr userDrawn="1"/>
        </p:nvSpPr>
        <p:spPr bwMode="gray">
          <a:xfrm>
            <a:off x="0" y="0"/>
            <a:ext cx="6011323" cy="6858000"/>
          </a:xfrm>
          <a:prstGeom prst="rect">
            <a:avLst/>
          </a:prstGeom>
          <a:solidFill>
            <a:schemeClr val="tx1"/>
          </a:solidFill>
          <a:ln w="6350" algn="ctr">
            <a:noFill/>
            <a:miter lim="800000"/>
            <a:headEnd/>
            <a:tailEnd/>
          </a:ln>
        </p:spPr>
        <p:txBody>
          <a:bodyPr lIns="75573" tIns="60458" rIns="75573" bIns="60458" rtlCol="0" anchor="ctr"/>
          <a:lstStyle/>
          <a:p>
            <a:pPr algn="ctr" defTabSz="767822" fontAlgn="base">
              <a:spcBef>
                <a:spcPct val="50000"/>
              </a:spcBef>
              <a:spcAft>
                <a:spcPct val="0"/>
              </a:spcAft>
              <a:buClr>
                <a:srgbClr val="F0AB00"/>
              </a:buClr>
              <a:buSzPct val="80000"/>
            </a:pPr>
            <a:endParaRPr lang="en-US" sz="1700" kern="0" dirty="0" err="1" smtClean="0">
              <a:solidFill>
                <a:srgbClr val="000000"/>
              </a:solidFill>
              <a:ea typeface="Arial Unicode MS" pitchFamily="34" charset="-128"/>
              <a:cs typeface="Arial Unicode MS" pitchFamily="34" charset="-128"/>
            </a:endParaRPr>
          </a:p>
        </p:txBody>
      </p:sp>
      <p:sp>
        <p:nvSpPr>
          <p:cNvPr id="7" name="Text Placeholder 6"/>
          <p:cNvSpPr>
            <a:spLocks noGrp="1"/>
          </p:cNvSpPr>
          <p:nvPr>
            <p:ph type="body" sz="quarter" idx="11" hasCustomPrompt="1"/>
          </p:nvPr>
        </p:nvSpPr>
        <p:spPr bwMode="gray">
          <a:xfrm>
            <a:off x="324000" y="2007556"/>
            <a:ext cx="5464908" cy="4118064"/>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2000">
                <a:solidFill>
                  <a:schemeClr val="bg1"/>
                </a:solidFill>
              </a:defRPr>
            </a:lvl4pPr>
            <a:lvl5pPr>
              <a:defRPr sz="1700">
                <a:solidFill>
                  <a:schemeClr val="bg1"/>
                </a:solidFill>
              </a:defRPr>
            </a:lvl5pPr>
          </a:lstStyle>
          <a:p>
            <a:pPr lvl="0"/>
            <a:r>
              <a:rPr lang="en-US" noProof="0" dirty="0" smtClean="0"/>
              <a:t>First level</a:t>
            </a:r>
          </a:p>
          <a:p>
            <a:pPr lvl="1"/>
            <a:r>
              <a:rPr lang="en-US" dirty="0" smtClean="0"/>
              <a:t>Second level</a:t>
            </a:r>
          </a:p>
          <a:p>
            <a:pPr lvl="2"/>
            <a:r>
              <a:rPr lang="en-US" dirty="0" smtClean="0"/>
              <a:t>Third level</a:t>
            </a:r>
          </a:p>
        </p:txBody>
      </p:sp>
      <p:sp>
        <p:nvSpPr>
          <p:cNvPr id="6" name="Title 1"/>
          <p:cNvSpPr>
            <a:spLocks noGrp="1"/>
          </p:cNvSpPr>
          <p:nvPr>
            <p:ph type="title" hasCustomPrompt="1"/>
          </p:nvPr>
        </p:nvSpPr>
        <p:spPr>
          <a:xfrm>
            <a:off x="324000" y="642977"/>
            <a:ext cx="5464908" cy="756000"/>
          </a:xfrm>
        </p:spPr>
        <p:txBody>
          <a:bodyPr/>
          <a:lstStyle>
            <a:lvl1pPr>
              <a:defRPr sz="3600">
                <a:solidFill>
                  <a:schemeClr val="accent1"/>
                </a:solidFill>
              </a:defRPr>
            </a:lvl1pPr>
          </a:lstStyle>
          <a:p>
            <a:r>
              <a:rPr lang="en-US" noProof="0" dirty="0" smtClean="0"/>
              <a:t>Insert page title</a:t>
            </a:r>
            <a:endParaRPr lang="en-US" dirty="0"/>
          </a:p>
        </p:txBody>
      </p:sp>
    </p:spTree>
    <p:extLst>
      <p:ext uri="{BB962C8B-B14F-4D97-AF65-F5344CB8AC3E}">
        <p14:creationId xmlns:p14="http://schemas.microsoft.com/office/powerpoint/2010/main" val="1169608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defTabSz="914400">
              <a:spcBef>
                <a:spcPct val="0"/>
              </a:spcBef>
            </a:pPr>
            <a:r>
              <a:rPr lang="en-GB" sz="2400" b="1" dirty="0" smtClean="0">
                <a:solidFill>
                  <a:srgbClr val="666666"/>
                </a:solidFill>
              </a:rPr>
              <a:t>© </a:t>
            </a:r>
            <a:r>
              <a:rPr sz="2400" b="1" dirty="0" smtClean="0">
                <a:solidFill>
                  <a:srgbClr val="666666"/>
                </a:solidFill>
              </a:rPr>
              <a:t>2013 SAP AG. All rights reserved.</a:t>
            </a:r>
          </a:p>
        </p:txBody>
      </p:sp>
      <p:sp>
        <p:nvSpPr>
          <p:cNvPr id="5" name="TextBox 4"/>
          <p:cNvSpPr txBox="1"/>
          <p:nvPr userDrawn="1"/>
        </p:nvSpPr>
        <p:spPr bwMode="gray">
          <a:xfrm>
            <a:off x="324000" y="1692000"/>
            <a:ext cx="8404364" cy="2308324"/>
          </a:xfrm>
          <a:prstGeom prst="rect">
            <a:avLst/>
          </a:prstGeom>
          <a:noFill/>
        </p:spPr>
        <p:txBody>
          <a:bodyPr wrap="square" lIns="0" tIns="0" rIns="0" bIns="0" rtlCol="0">
            <a:spAutoFit/>
          </a:bodyPr>
          <a:lstStyle/>
          <a:p>
            <a:pPr defTabSz="914400">
              <a:spcBef>
                <a:spcPts val="1200"/>
              </a:spcBef>
            </a:pPr>
            <a:r>
              <a:rPr lang="en-US" sz="1000" noProof="1" smtClean="0">
                <a:solidFill>
                  <a:srgbClr val="000000"/>
                </a:solidFill>
                <a:ea typeface="MS PGothic" pitchFamily="34" charset="-128"/>
              </a:rPr>
              <a:t>No part of this publication may be reproduced or transmitted in any form or for any purpose without the express permission of SAP AG.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The information contained herein may be changed without prior notice.</a:t>
            </a:r>
          </a:p>
          <a:p>
            <a:pPr defTabSz="914400">
              <a:spcBef>
                <a:spcPts val="1200"/>
              </a:spcBef>
            </a:pPr>
            <a:r>
              <a:rPr lang="en-US" sz="1000" noProof="1" smtClean="0">
                <a:solidFill>
                  <a:srgbClr val="000000"/>
                </a:solidFill>
                <a:ea typeface="MS PGothic" pitchFamily="34" charset="-128"/>
              </a:rPr>
              <a:t>Some software products marketed by SAP AG and its distributors contain proprietary software components of other software vendors.</a:t>
            </a:r>
          </a:p>
          <a:p>
            <a:pPr defTabSz="914400">
              <a:spcBef>
                <a:spcPts val="1200"/>
              </a:spcBef>
            </a:pPr>
            <a:r>
              <a:rPr lang="en-US" sz="1000" noProof="1" smtClean="0">
                <a:solidFill>
                  <a:srgbClr val="000000"/>
                </a:solidFill>
                <a:ea typeface="MS PGothic" pitchFamily="34" charset="-128"/>
              </a:rPr>
              <a:t>National product specifications may vary.</a:t>
            </a:r>
          </a:p>
          <a:p>
            <a:pPr defTabSz="914400">
              <a:spcBef>
                <a:spcPts val="1200"/>
              </a:spcBef>
            </a:pPr>
            <a:r>
              <a:rPr lang="en-US" sz="1000" noProof="1" smtClean="0">
                <a:solidFill>
                  <a:srgbClr val="000000"/>
                </a:solidFill>
                <a:ea typeface="MS PGothic" pitchFamily="34" charset="-128"/>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defTabSz="914400">
              <a:spcBef>
                <a:spcPts val="1200"/>
              </a:spcBef>
            </a:pPr>
            <a:r>
              <a:rPr lang="en-US" sz="1000" noProof="1" smtClean="0">
                <a:solidFill>
                  <a:srgbClr val="000000"/>
                </a:solidFill>
                <a:ea typeface="MS PGothic" pitchFamily="34" charset="-128"/>
              </a:rPr>
              <a:t>SAP and other SAP products and services mentioned herein as well as their respective logos are trademarks or registered trademarks of SAP AG in Germany and other countries.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Please see </a:t>
            </a:r>
            <a:r>
              <a:rPr lang="en-US" sz="1000" noProof="1" smtClean="0">
                <a:solidFill>
                  <a:srgbClr val="000000"/>
                </a:solidFill>
                <a:ea typeface="MS PGothic" pitchFamily="34" charset="-128"/>
                <a:hlinkClick r:id="rId2"/>
              </a:rPr>
              <a:t>http://www.sap.com/corporate-en/legal/copyright/index.epx#trademark</a:t>
            </a:r>
            <a:r>
              <a:rPr lang="en-US" sz="1000" noProof="1" smtClean="0">
                <a:solidFill>
                  <a:srgbClr val="000000"/>
                </a:solidFill>
                <a:ea typeface="MS PGothic" pitchFamily="34" charset="-128"/>
              </a:rPr>
              <a:t> for additional trademark information and notices.</a:t>
            </a:r>
          </a:p>
        </p:txBody>
      </p:sp>
    </p:spTree>
    <p:extLst>
      <p:ext uri="{BB962C8B-B14F-4D97-AF65-F5344CB8AC3E}">
        <p14:creationId xmlns:p14="http://schemas.microsoft.com/office/powerpoint/2010/main" val="18045028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defTabSz="914400">
              <a:spcBef>
                <a:spcPct val="0"/>
              </a:spcBef>
              <a:defRPr/>
            </a:pPr>
            <a:r>
              <a:rPr lang="en-GB" sz="2400" b="1" dirty="0" smtClean="0">
                <a:solidFill>
                  <a:srgbClr val="666666"/>
                </a:solidFill>
              </a:rPr>
              <a:t>© </a:t>
            </a:r>
            <a:r>
              <a:rPr sz="2400" b="1" dirty="0" smtClean="0">
                <a:solidFill>
                  <a:srgbClr val="666666"/>
                </a:solidFill>
              </a:rPr>
              <a:t>2013 SAP AG. Alle Rechte vorbehalten.</a:t>
            </a:r>
          </a:p>
        </p:txBody>
      </p:sp>
      <p:sp>
        <p:nvSpPr>
          <p:cNvPr id="6" name="TextBox 5"/>
          <p:cNvSpPr txBox="1"/>
          <p:nvPr userDrawn="1"/>
        </p:nvSpPr>
        <p:spPr bwMode="gray">
          <a:xfrm>
            <a:off x="324000" y="1692000"/>
            <a:ext cx="8404364" cy="2616101"/>
          </a:xfrm>
          <a:prstGeom prst="rect">
            <a:avLst/>
          </a:prstGeom>
          <a:noFill/>
        </p:spPr>
        <p:txBody>
          <a:bodyPr wrap="square" lIns="0" tIns="0" rIns="0" bIns="0" rtlCol="0">
            <a:spAutoFit/>
          </a:bodyPr>
          <a:lstStyle/>
          <a:p>
            <a:pPr defTabSz="914400">
              <a:spcBef>
                <a:spcPts val="1200"/>
              </a:spcBef>
            </a:pPr>
            <a:r>
              <a:rPr sz="10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defTabSz="914400">
              <a:spcBef>
                <a:spcPts val="1200"/>
              </a:spcBef>
            </a:pPr>
            <a:r>
              <a:rPr sz="1000" noProof="1" smtClean="0">
                <a:solidFill>
                  <a:srgbClr val="000000"/>
                </a:solidFill>
                <a:ea typeface="MS PGothic" pitchFamily="34" charset="-128"/>
              </a:rPr>
              <a:t>Einige der von der SAP AG und ihren Distributoren vermarkteten Softwareprodukte enthalten proprietäre Softwarekomponenten anderer Softwareanbieter.</a:t>
            </a:r>
          </a:p>
          <a:p>
            <a:pPr defTabSz="914400">
              <a:spcBef>
                <a:spcPts val="1200"/>
              </a:spcBef>
            </a:pPr>
            <a:r>
              <a:rPr sz="1000" noProof="1" smtClean="0">
                <a:solidFill>
                  <a:srgbClr val="000000"/>
                </a:solidFill>
                <a:ea typeface="MS PGothic" pitchFamily="34" charset="-128"/>
              </a:rPr>
              <a:t>Produkte können länderspezifische Unterschiede aufweisen.</a:t>
            </a:r>
          </a:p>
          <a:p>
            <a:pPr defTabSz="914400">
              <a:spcBef>
                <a:spcPts val="1200"/>
              </a:spcBef>
            </a:pPr>
            <a:r>
              <a:rPr sz="1000" noProof="1" smtClean="0">
                <a:solidFill>
                  <a:srgbClr val="000000"/>
                </a:solidFill>
                <a:ea typeface="MS PGothic"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914400">
              <a:spcBef>
                <a:spcPts val="1200"/>
              </a:spcBef>
            </a:pPr>
            <a:r>
              <a:rPr sz="1000" noProof="1" smtClean="0">
                <a:solidFill>
                  <a:srgbClr val="000000"/>
                </a:solidFill>
                <a:ea typeface="MS PGothic"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sz="1000" noProof="1" smtClean="0">
                <a:solidFill>
                  <a:srgbClr val="000000"/>
                </a:solidFill>
                <a:ea typeface="MS PGothic" pitchFamily="34" charset="-128"/>
                <a:hlinkClick r:id="rId2"/>
              </a:rPr>
              <a:t>http://www.sap.com/corporate-en/legal/copyright/index.epx#trademark</a:t>
            </a:r>
            <a:r>
              <a:rPr sz="1000" noProof="1" smtClean="0">
                <a:solidFill>
                  <a:srgbClr val="000000"/>
                </a:solidFill>
                <a:ea typeface="MS PGothic" pitchFamily="34" charset="-128"/>
              </a:rPr>
              <a:t>.</a:t>
            </a:r>
          </a:p>
        </p:txBody>
      </p:sp>
    </p:spTree>
    <p:extLst>
      <p:ext uri="{BB962C8B-B14F-4D97-AF65-F5344CB8AC3E}">
        <p14:creationId xmlns:p14="http://schemas.microsoft.com/office/powerpoint/2010/main" val="26373011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3"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161448"/>
            <a:ext cx="8280000" cy="738664"/>
          </a:xfrm>
        </p:spPr>
        <p:txBody>
          <a:bodyPr anchor="t" anchorCtr="0">
            <a:noAutofit/>
          </a:bodyPr>
          <a:lstStyle>
            <a:lvl1pPr>
              <a:defRPr sz="4400">
                <a:solidFill>
                  <a:sysClr val="windowText" lastClr="000000"/>
                </a:solidFill>
                <a:latin typeface="+mj-lt"/>
              </a:defRPr>
            </a:lvl1pPr>
          </a:lstStyle>
          <a:p>
            <a:r>
              <a:rPr lang="en-US" noProof="0" dirty="0" smtClean="0"/>
              <a:t>Spotlight Title</a:t>
            </a:r>
            <a:endParaRPr lang="de-DE" dirty="0"/>
          </a:p>
        </p:txBody>
      </p:sp>
    </p:spTree>
    <p:extLst>
      <p:ext uri="{BB962C8B-B14F-4D97-AF65-F5344CB8AC3E}">
        <p14:creationId xmlns:p14="http://schemas.microsoft.com/office/powerpoint/2010/main" val="98891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etter 10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30075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30075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1330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239802"/>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186411"/>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239802"/>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a:off x="351744"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bwMode="gray">
          <a:xfrm>
            <a:off x="4781169" y="6079629"/>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1" hasCustomPrompt="1"/>
          </p:nvPr>
        </p:nvSpPr>
        <p:spPr bwMode="gray">
          <a:xfrm>
            <a:off x="352424" y="1614950"/>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2" hasCustomPrompt="1"/>
          </p:nvPr>
        </p:nvSpPr>
        <p:spPr bwMode="gray">
          <a:xfrm>
            <a:off x="1199849" y="2652915"/>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3" hasCustomPrompt="1"/>
          </p:nvPr>
        </p:nvSpPr>
        <p:spPr bwMode="gray">
          <a:xfrm>
            <a:off x="352424" y="2554002"/>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14" hasCustomPrompt="1"/>
          </p:nvPr>
        </p:nvSpPr>
        <p:spPr bwMode="gray">
          <a:xfrm>
            <a:off x="1199849" y="3607081"/>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15" hasCustomPrompt="1"/>
          </p:nvPr>
        </p:nvSpPr>
        <p:spPr bwMode="gray">
          <a:xfrm>
            <a:off x="352424" y="3508168"/>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16" hasCustomPrompt="1"/>
          </p:nvPr>
        </p:nvSpPr>
        <p:spPr bwMode="gray">
          <a:xfrm>
            <a:off x="1199849" y="4546133"/>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17" hasCustomPrompt="1"/>
          </p:nvPr>
        </p:nvSpPr>
        <p:spPr bwMode="gray">
          <a:xfrm>
            <a:off x="352424" y="4447220"/>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18" hasCustomPrompt="1"/>
          </p:nvPr>
        </p:nvSpPr>
        <p:spPr bwMode="gray">
          <a:xfrm>
            <a:off x="1199849" y="5492742"/>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19" hasCustomPrompt="1"/>
          </p:nvPr>
        </p:nvSpPr>
        <p:spPr bwMode="gray">
          <a:xfrm>
            <a:off x="352424" y="5393829"/>
            <a:ext cx="663732" cy="685800"/>
          </a:xfrm>
        </p:spPr>
        <p:txBody>
          <a:bodyPr/>
          <a:lstStyle>
            <a:lvl1pPr>
              <a:defRPr sz="1100"/>
            </a:lvl1pPr>
          </a:lstStyle>
          <a:p>
            <a:r>
              <a:rPr lang="en-US" dirty="0" smtClean="0"/>
              <a:t>Select box to add icon</a:t>
            </a:r>
            <a:endParaRPr lang="en-US" dirty="0"/>
          </a:p>
        </p:txBody>
      </p:sp>
      <p:sp>
        <p:nvSpPr>
          <p:cNvPr id="27" name="Text Placeholder 13"/>
          <p:cNvSpPr>
            <a:spLocks noGrp="1"/>
          </p:cNvSpPr>
          <p:nvPr>
            <p:ph type="body" sz="quarter" idx="20"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8" name="Picture Placeholder 15"/>
          <p:cNvSpPr>
            <a:spLocks noGrp="1"/>
          </p:cNvSpPr>
          <p:nvPr>
            <p:ph type="pic" sz="quarter" idx="21" hasCustomPrompt="1"/>
          </p:nvPr>
        </p:nvSpPr>
        <p:spPr bwMode="gray">
          <a:xfrm>
            <a:off x="4781169" y="1614950"/>
            <a:ext cx="663732" cy="685800"/>
          </a:xfrm>
        </p:spPr>
        <p:txBody>
          <a:bodyPr/>
          <a:lstStyle>
            <a:lvl1pPr>
              <a:defRPr sz="1100"/>
            </a:lvl1pPr>
          </a:lstStyle>
          <a:p>
            <a:r>
              <a:rPr lang="en-US" dirty="0" smtClean="0"/>
              <a:t>Select box to add icon</a:t>
            </a:r>
            <a:endParaRPr lang="en-US" dirty="0"/>
          </a:p>
        </p:txBody>
      </p:sp>
      <p:sp>
        <p:nvSpPr>
          <p:cNvPr id="29" name="Text Placeholder 13"/>
          <p:cNvSpPr>
            <a:spLocks noGrp="1"/>
          </p:cNvSpPr>
          <p:nvPr>
            <p:ph type="body" sz="quarter" idx="22" hasCustomPrompt="1"/>
          </p:nvPr>
        </p:nvSpPr>
        <p:spPr bwMode="gray">
          <a:xfrm>
            <a:off x="5628594" y="2652915"/>
            <a:ext cx="3175300" cy="576072"/>
          </a:xfrm>
        </p:spPr>
        <p:txBody>
          <a:bodyPr anchor="ctr" anchorCtr="0"/>
          <a:lstStyle>
            <a:lvl1pPr>
              <a:defRPr b="0" baseline="0"/>
            </a:lvl1pPr>
          </a:lstStyle>
          <a:p>
            <a:pPr lvl="0"/>
            <a:r>
              <a:rPr lang="en-US" dirty="0" smtClean="0"/>
              <a:t>Text goes here, sentence case</a:t>
            </a:r>
          </a:p>
        </p:txBody>
      </p:sp>
      <p:sp>
        <p:nvSpPr>
          <p:cNvPr id="30" name="Picture Placeholder 15"/>
          <p:cNvSpPr>
            <a:spLocks noGrp="1"/>
          </p:cNvSpPr>
          <p:nvPr>
            <p:ph type="pic" sz="quarter" idx="23" hasCustomPrompt="1"/>
          </p:nvPr>
        </p:nvSpPr>
        <p:spPr bwMode="gray">
          <a:xfrm>
            <a:off x="4781169" y="2554002"/>
            <a:ext cx="663732" cy="685800"/>
          </a:xfrm>
        </p:spPr>
        <p:txBody>
          <a:bodyPr/>
          <a:lstStyle>
            <a:lvl1pPr>
              <a:defRPr sz="1100"/>
            </a:lvl1pPr>
          </a:lstStyle>
          <a:p>
            <a:r>
              <a:rPr lang="en-US" dirty="0" smtClean="0"/>
              <a:t>Select box to add icon</a:t>
            </a:r>
            <a:endParaRPr lang="en-US" dirty="0"/>
          </a:p>
        </p:txBody>
      </p:sp>
      <p:sp>
        <p:nvSpPr>
          <p:cNvPr id="31" name="Text Placeholder 13"/>
          <p:cNvSpPr>
            <a:spLocks noGrp="1"/>
          </p:cNvSpPr>
          <p:nvPr>
            <p:ph type="body" sz="quarter" idx="24" hasCustomPrompt="1"/>
          </p:nvPr>
        </p:nvSpPr>
        <p:spPr bwMode="gray">
          <a:xfrm>
            <a:off x="5628594" y="3607081"/>
            <a:ext cx="3175300" cy="576072"/>
          </a:xfrm>
        </p:spPr>
        <p:txBody>
          <a:bodyPr anchor="ctr" anchorCtr="0"/>
          <a:lstStyle>
            <a:lvl1pPr>
              <a:defRPr b="0" baseline="0"/>
            </a:lvl1pPr>
          </a:lstStyle>
          <a:p>
            <a:pPr lvl="0"/>
            <a:r>
              <a:rPr lang="en-US" dirty="0" smtClean="0"/>
              <a:t>Text goes here, sentence case</a:t>
            </a:r>
          </a:p>
        </p:txBody>
      </p:sp>
      <p:sp>
        <p:nvSpPr>
          <p:cNvPr id="32" name="Picture Placeholder 15"/>
          <p:cNvSpPr>
            <a:spLocks noGrp="1"/>
          </p:cNvSpPr>
          <p:nvPr>
            <p:ph type="pic" sz="quarter" idx="25" hasCustomPrompt="1"/>
          </p:nvPr>
        </p:nvSpPr>
        <p:spPr bwMode="gray">
          <a:xfrm>
            <a:off x="4781169" y="3508168"/>
            <a:ext cx="663732" cy="685800"/>
          </a:xfrm>
        </p:spPr>
        <p:txBody>
          <a:bodyPr/>
          <a:lstStyle>
            <a:lvl1pPr>
              <a:defRPr sz="1100"/>
            </a:lvl1pPr>
          </a:lstStyle>
          <a:p>
            <a:r>
              <a:rPr lang="en-US" dirty="0" smtClean="0"/>
              <a:t>Select box to add icon</a:t>
            </a:r>
            <a:endParaRPr lang="en-US" dirty="0"/>
          </a:p>
        </p:txBody>
      </p:sp>
      <p:sp>
        <p:nvSpPr>
          <p:cNvPr id="33" name="Text Placeholder 13"/>
          <p:cNvSpPr>
            <a:spLocks noGrp="1"/>
          </p:cNvSpPr>
          <p:nvPr>
            <p:ph type="body" sz="quarter" idx="26" hasCustomPrompt="1"/>
          </p:nvPr>
        </p:nvSpPr>
        <p:spPr bwMode="gray">
          <a:xfrm>
            <a:off x="5628594" y="4546133"/>
            <a:ext cx="3175300" cy="576072"/>
          </a:xfrm>
        </p:spPr>
        <p:txBody>
          <a:bodyPr anchor="ctr" anchorCtr="0"/>
          <a:lstStyle>
            <a:lvl1pPr>
              <a:defRPr b="0" baseline="0"/>
            </a:lvl1pPr>
          </a:lstStyle>
          <a:p>
            <a:pPr lvl="0"/>
            <a:r>
              <a:rPr lang="en-US" dirty="0" smtClean="0"/>
              <a:t>Text goes here, sentence case</a:t>
            </a:r>
          </a:p>
        </p:txBody>
      </p:sp>
      <p:sp>
        <p:nvSpPr>
          <p:cNvPr id="34" name="Picture Placeholder 15"/>
          <p:cNvSpPr>
            <a:spLocks noGrp="1"/>
          </p:cNvSpPr>
          <p:nvPr>
            <p:ph type="pic" sz="quarter" idx="27" hasCustomPrompt="1"/>
          </p:nvPr>
        </p:nvSpPr>
        <p:spPr bwMode="gray">
          <a:xfrm>
            <a:off x="4781169" y="4447220"/>
            <a:ext cx="663732" cy="685800"/>
          </a:xfrm>
        </p:spPr>
        <p:txBody>
          <a:bodyPr/>
          <a:lstStyle>
            <a:lvl1pPr>
              <a:defRPr sz="1100"/>
            </a:lvl1pPr>
          </a:lstStyle>
          <a:p>
            <a:r>
              <a:rPr lang="en-US" dirty="0" smtClean="0"/>
              <a:t>Select box to add icon</a:t>
            </a:r>
            <a:endParaRPr lang="en-US" dirty="0"/>
          </a:p>
        </p:txBody>
      </p:sp>
      <p:sp>
        <p:nvSpPr>
          <p:cNvPr id="35" name="Text Placeholder 13"/>
          <p:cNvSpPr>
            <a:spLocks noGrp="1"/>
          </p:cNvSpPr>
          <p:nvPr>
            <p:ph type="body" sz="quarter" idx="28" hasCustomPrompt="1"/>
          </p:nvPr>
        </p:nvSpPr>
        <p:spPr bwMode="gray">
          <a:xfrm>
            <a:off x="5628594" y="5492742"/>
            <a:ext cx="3175300" cy="576072"/>
          </a:xfrm>
        </p:spPr>
        <p:txBody>
          <a:bodyPr anchor="ctr" anchorCtr="0"/>
          <a:lstStyle>
            <a:lvl1pPr>
              <a:defRPr b="0" baseline="0"/>
            </a:lvl1pPr>
          </a:lstStyle>
          <a:p>
            <a:pPr lvl="0"/>
            <a:r>
              <a:rPr lang="en-US" dirty="0" smtClean="0"/>
              <a:t>Text goes here, sentence case</a:t>
            </a:r>
          </a:p>
        </p:txBody>
      </p:sp>
      <p:sp>
        <p:nvSpPr>
          <p:cNvPr id="36" name="Picture Placeholder 15"/>
          <p:cNvSpPr>
            <a:spLocks noGrp="1"/>
          </p:cNvSpPr>
          <p:nvPr>
            <p:ph type="pic" sz="quarter" idx="29" hasCustomPrompt="1"/>
          </p:nvPr>
        </p:nvSpPr>
        <p:spPr bwMode="gray">
          <a:xfrm>
            <a:off x="4781169" y="5393829"/>
            <a:ext cx="663732" cy="685800"/>
          </a:xfrm>
        </p:spPr>
        <p:txBody>
          <a:bodyPr/>
          <a:lstStyle>
            <a:lvl1pPr>
              <a:defRPr sz="1100"/>
            </a:lvl1pPr>
          </a:lstStyle>
          <a:p>
            <a:r>
              <a:rPr lang="en-US" dirty="0" smtClean="0"/>
              <a:t>Select box to add icon</a:t>
            </a:r>
            <a:endParaRPr lang="en-US" dirty="0"/>
          </a:p>
        </p:txBody>
      </p:sp>
    </p:spTree>
    <p:extLst>
      <p:ext uri="{BB962C8B-B14F-4D97-AF65-F5344CB8AC3E}">
        <p14:creationId xmlns:p14="http://schemas.microsoft.com/office/powerpoint/2010/main" val="676645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etter 8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cxnSp>
        <p:nvCxnSpPr>
          <p:cNvPr id="3" name="Straight Connector 2"/>
          <p:cNvCxnSpPr/>
          <p:nvPr userDrawn="1"/>
        </p:nvCxnSpPr>
        <p:spPr bwMode="gray">
          <a:xfrm>
            <a:off x="351744"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bwMode="gray">
          <a:xfrm>
            <a:off x="351744"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gray">
          <a:xfrm>
            <a:off x="4781169" y="229319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4781169" y="588982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bwMode="gray">
          <a:xfrm>
            <a:off x="351744" y="349263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bwMode="gray">
          <a:xfrm>
            <a:off x="4782464" y="3492630"/>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0" hasCustomPrompt="1"/>
          </p:nvPr>
        </p:nvSpPr>
        <p:spPr bwMode="gray">
          <a:xfrm>
            <a:off x="1199849" y="1713863"/>
            <a:ext cx="3175300" cy="576072"/>
          </a:xfrm>
        </p:spPr>
        <p:txBody>
          <a:bodyPr anchor="ctr" anchorCtr="0"/>
          <a:lstStyle>
            <a:lvl1pPr>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1614950"/>
            <a:ext cx="663732" cy="685800"/>
          </a:xfrm>
        </p:spPr>
        <p:txBody>
          <a:bodyPr/>
          <a:lstStyle>
            <a:lvl1pPr>
              <a:defRPr sz="1100"/>
            </a:lvl1pPr>
          </a:lstStyle>
          <a:p>
            <a:r>
              <a:rPr lang="en-US" dirty="0" smtClean="0"/>
              <a:t>Select box to add icon</a:t>
            </a:r>
            <a:endParaRPr lang="en-US" dirty="0"/>
          </a:p>
        </p:txBody>
      </p:sp>
      <p:sp>
        <p:nvSpPr>
          <p:cNvPr id="13" name="Text Placeholder 13"/>
          <p:cNvSpPr>
            <a:spLocks noGrp="1"/>
          </p:cNvSpPr>
          <p:nvPr>
            <p:ph type="body" sz="quarter" idx="12" hasCustomPrompt="1"/>
          </p:nvPr>
        </p:nvSpPr>
        <p:spPr bwMode="gray">
          <a:xfrm>
            <a:off x="1199849" y="2916558"/>
            <a:ext cx="3175300" cy="576072"/>
          </a:xfrm>
        </p:spPr>
        <p:txBody>
          <a:bodyPr anchor="ctr" anchorCtr="0"/>
          <a:lstStyle>
            <a:lvl1pPr>
              <a:defRPr b="0" baseline="0"/>
            </a:lvl1pPr>
          </a:lstStyle>
          <a:p>
            <a:pPr lvl="0"/>
            <a:r>
              <a:rPr lang="en-US" dirty="0" smtClean="0"/>
              <a:t>Text goes here, sentence case</a:t>
            </a:r>
          </a:p>
        </p:txBody>
      </p:sp>
      <p:sp>
        <p:nvSpPr>
          <p:cNvPr id="14" name="Picture Placeholder 15"/>
          <p:cNvSpPr>
            <a:spLocks noGrp="1"/>
          </p:cNvSpPr>
          <p:nvPr>
            <p:ph type="pic" sz="quarter" idx="13" hasCustomPrompt="1"/>
          </p:nvPr>
        </p:nvSpPr>
        <p:spPr bwMode="gray">
          <a:xfrm>
            <a:off x="352424" y="2804489"/>
            <a:ext cx="663732" cy="685800"/>
          </a:xfrm>
        </p:spPr>
        <p:txBody>
          <a:bodyPr/>
          <a:lstStyle>
            <a:lvl1pPr>
              <a:defRPr sz="1100"/>
            </a:lvl1pPr>
          </a:lstStyle>
          <a:p>
            <a:r>
              <a:rPr lang="en-US" dirty="0" smtClean="0"/>
              <a:t>Select box to add icon</a:t>
            </a:r>
            <a:endParaRPr lang="en-US" dirty="0"/>
          </a:p>
        </p:txBody>
      </p:sp>
      <p:sp>
        <p:nvSpPr>
          <p:cNvPr id="15" name="Text Placeholder 13"/>
          <p:cNvSpPr>
            <a:spLocks noGrp="1"/>
          </p:cNvSpPr>
          <p:nvPr>
            <p:ph type="body" sz="quarter" idx="14" hasCustomPrompt="1"/>
          </p:nvPr>
        </p:nvSpPr>
        <p:spPr bwMode="gray">
          <a:xfrm>
            <a:off x="1199849" y="4100238"/>
            <a:ext cx="3175300" cy="576072"/>
          </a:xfrm>
        </p:spPr>
        <p:txBody>
          <a:bodyPr anchor="ctr" anchorCtr="0"/>
          <a:lstStyle>
            <a:lvl1pPr>
              <a:defRPr b="0" baseline="0"/>
            </a:lvl1pPr>
          </a:lstStyle>
          <a:p>
            <a:pPr lvl="0"/>
            <a:r>
              <a:rPr lang="en-US" dirty="0" smtClean="0"/>
              <a:t>Text goes here, sentence case</a:t>
            </a:r>
          </a:p>
        </p:txBody>
      </p:sp>
      <p:sp>
        <p:nvSpPr>
          <p:cNvPr id="16"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17" name="Text Placeholder 13"/>
          <p:cNvSpPr>
            <a:spLocks noGrp="1"/>
          </p:cNvSpPr>
          <p:nvPr>
            <p:ph type="body" sz="quarter" idx="16" hasCustomPrompt="1"/>
          </p:nvPr>
        </p:nvSpPr>
        <p:spPr bwMode="gray">
          <a:xfrm>
            <a:off x="1199849" y="5302933"/>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7" hasCustomPrompt="1"/>
          </p:nvPr>
        </p:nvSpPr>
        <p:spPr bwMode="gray">
          <a:xfrm>
            <a:off x="352424" y="5204020"/>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1713863"/>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1614950"/>
            <a:ext cx="663732" cy="685800"/>
          </a:xfrm>
        </p:spPr>
        <p:txBody>
          <a:bodyPr/>
          <a:lstStyle>
            <a:lvl1pPr>
              <a:defRPr sz="1100"/>
            </a:lvl1pPr>
          </a:lstStyle>
          <a:p>
            <a:r>
              <a:rPr lang="en-US" dirty="0" smtClean="0"/>
              <a:t>Select box to add icon</a:t>
            </a:r>
            <a:endParaRPr lang="en-US" dirty="0"/>
          </a:p>
        </p:txBody>
      </p:sp>
      <p:sp>
        <p:nvSpPr>
          <p:cNvPr id="21" name="Text Placeholder 13"/>
          <p:cNvSpPr>
            <a:spLocks noGrp="1"/>
          </p:cNvSpPr>
          <p:nvPr>
            <p:ph type="body" sz="quarter" idx="20" hasCustomPrompt="1"/>
          </p:nvPr>
        </p:nvSpPr>
        <p:spPr bwMode="gray">
          <a:xfrm>
            <a:off x="5628594" y="2916558"/>
            <a:ext cx="3175300" cy="576072"/>
          </a:xfrm>
        </p:spPr>
        <p:txBody>
          <a:bodyPr anchor="ctr" anchorCtr="0"/>
          <a:lstStyle>
            <a:lvl1pPr>
              <a:defRPr b="0" baseline="0"/>
            </a:lvl1pPr>
          </a:lstStyle>
          <a:p>
            <a:pPr lvl="0"/>
            <a:r>
              <a:rPr lang="en-US" dirty="0" smtClean="0"/>
              <a:t>Text goes here, sentence case</a:t>
            </a:r>
          </a:p>
        </p:txBody>
      </p:sp>
      <p:sp>
        <p:nvSpPr>
          <p:cNvPr id="22" name="Picture Placeholder 15"/>
          <p:cNvSpPr>
            <a:spLocks noGrp="1"/>
          </p:cNvSpPr>
          <p:nvPr>
            <p:ph type="pic" sz="quarter" idx="21" hasCustomPrompt="1"/>
          </p:nvPr>
        </p:nvSpPr>
        <p:spPr bwMode="gray">
          <a:xfrm>
            <a:off x="4781169" y="2804489"/>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8"/>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a:defRPr sz="1100"/>
            </a:lvl1pPr>
          </a:lstStyle>
          <a:p>
            <a:r>
              <a:rPr lang="en-US" dirty="0" smtClean="0"/>
              <a:t>Select box to add icon</a:t>
            </a:r>
            <a:endParaRPr lang="en-US" dirty="0"/>
          </a:p>
        </p:txBody>
      </p:sp>
      <p:sp>
        <p:nvSpPr>
          <p:cNvPr id="25" name="Text Placeholder 13"/>
          <p:cNvSpPr>
            <a:spLocks noGrp="1"/>
          </p:cNvSpPr>
          <p:nvPr>
            <p:ph type="body" sz="quarter" idx="24" hasCustomPrompt="1"/>
          </p:nvPr>
        </p:nvSpPr>
        <p:spPr bwMode="gray">
          <a:xfrm>
            <a:off x="5628594" y="5302933"/>
            <a:ext cx="3175300" cy="576072"/>
          </a:xfrm>
        </p:spPr>
        <p:txBody>
          <a:bodyPr anchor="ctr" anchorCtr="0"/>
          <a:lstStyle>
            <a:lvl1pPr>
              <a:defRPr b="0" baseline="0"/>
            </a:lvl1pPr>
          </a:lstStyle>
          <a:p>
            <a:pPr lvl="0"/>
            <a:r>
              <a:rPr lang="en-US" dirty="0" smtClean="0"/>
              <a:t>Text goes here, sentence case</a:t>
            </a:r>
          </a:p>
        </p:txBody>
      </p:sp>
      <p:sp>
        <p:nvSpPr>
          <p:cNvPr id="26" name="Picture Placeholder 15"/>
          <p:cNvSpPr>
            <a:spLocks noGrp="1"/>
          </p:cNvSpPr>
          <p:nvPr>
            <p:ph type="pic" sz="quarter" idx="25" hasCustomPrompt="1"/>
          </p:nvPr>
        </p:nvSpPr>
        <p:spPr bwMode="gray">
          <a:xfrm>
            <a:off x="4781169" y="5204020"/>
            <a:ext cx="663732" cy="685800"/>
          </a:xfrm>
        </p:spPr>
        <p:txBody>
          <a:bodyPr/>
          <a:lstStyle>
            <a:lvl1pPr>
              <a:defRPr sz="1100"/>
            </a:lvl1pPr>
          </a:lstStyle>
          <a:p>
            <a:r>
              <a:rPr lang="en-US" dirty="0" smtClean="0"/>
              <a:t>Select box to add icon</a:t>
            </a:r>
            <a:endParaRPr lang="en-US" dirty="0"/>
          </a:p>
        </p:txBody>
      </p:sp>
    </p:spTree>
    <p:extLst>
      <p:ext uri="{BB962C8B-B14F-4D97-AF65-F5344CB8AC3E}">
        <p14:creationId xmlns:p14="http://schemas.microsoft.com/office/powerpoint/2010/main" val="4274524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etter 4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11" name="Text Placeholder 13"/>
          <p:cNvSpPr>
            <a:spLocks noGrp="1"/>
          </p:cNvSpPr>
          <p:nvPr>
            <p:ph type="body" sz="quarter" idx="10" hasCustomPrompt="1"/>
          </p:nvPr>
        </p:nvSpPr>
        <p:spPr bwMode="gray">
          <a:xfrm>
            <a:off x="1199849" y="2328081"/>
            <a:ext cx="3175300" cy="576072"/>
          </a:xfrm>
        </p:spPr>
        <p:txBody>
          <a:bodyPr anchor="ctr" anchorCtr="0"/>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b="0" baseline="0"/>
            </a:lvl1pPr>
          </a:lstStyle>
          <a:p>
            <a:pPr lvl="0"/>
            <a:r>
              <a:rPr lang="en-US" dirty="0" smtClean="0"/>
              <a:t>Text goes here, sentence case</a:t>
            </a:r>
          </a:p>
        </p:txBody>
      </p:sp>
      <p:sp>
        <p:nvSpPr>
          <p:cNvPr id="12" name="Picture Placeholder 15"/>
          <p:cNvSpPr>
            <a:spLocks noGrp="1"/>
          </p:cNvSpPr>
          <p:nvPr>
            <p:ph type="pic" sz="quarter" idx="11" hasCustomPrompt="1"/>
          </p:nvPr>
        </p:nvSpPr>
        <p:spPr bwMode="gray">
          <a:xfrm>
            <a:off x="352424" y="2229168"/>
            <a:ext cx="663732" cy="685800"/>
          </a:xfrm>
        </p:spPr>
        <p:txBody>
          <a:bodyPr/>
          <a:lstStyle>
            <a:lvl1pPr>
              <a:defRPr sz="1100"/>
            </a:lvl1pPr>
          </a:lstStyle>
          <a:p>
            <a:r>
              <a:rPr lang="en-US" dirty="0" smtClean="0"/>
              <a:t>Select box to add icon</a:t>
            </a:r>
            <a:endParaRPr lang="en-US" dirty="0"/>
          </a:p>
        </p:txBody>
      </p:sp>
      <p:sp>
        <p:nvSpPr>
          <p:cNvPr id="19" name="Text Placeholder 13"/>
          <p:cNvSpPr>
            <a:spLocks noGrp="1"/>
          </p:cNvSpPr>
          <p:nvPr>
            <p:ph type="body" sz="quarter" idx="18" hasCustomPrompt="1"/>
          </p:nvPr>
        </p:nvSpPr>
        <p:spPr bwMode="gray">
          <a:xfrm>
            <a:off x="5628594" y="2328081"/>
            <a:ext cx="3175300" cy="576072"/>
          </a:xfrm>
        </p:spPr>
        <p:txBody>
          <a:bodyPr anchor="ctr" anchorCtr="0"/>
          <a:lstStyle>
            <a:lvl1pPr>
              <a:defRPr b="0" baseline="0"/>
            </a:lvl1pPr>
          </a:lstStyle>
          <a:p>
            <a:pPr lvl="0"/>
            <a:r>
              <a:rPr lang="en-US" dirty="0" smtClean="0"/>
              <a:t>Text goes here, sentence case</a:t>
            </a:r>
          </a:p>
        </p:txBody>
      </p:sp>
      <p:sp>
        <p:nvSpPr>
          <p:cNvPr id="20" name="Picture Placeholder 15"/>
          <p:cNvSpPr>
            <a:spLocks noGrp="1"/>
          </p:cNvSpPr>
          <p:nvPr>
            <p:ph type="pic" sz="quarter" idx="19" hasCustomPrompt="1"/>
          </p:nvPr>
        </p:nvSpPr>
        <p:spPr bwMode="gray">
          <a:xfrm>
            <a:off x="4781169" y="2229168"/>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cxnSp>
        <p:nvCxnSpPr>
          <p:cNvPr id="27" name="Straight Connector 26"/>
          <p:cNvCxnSpPr/>
          <p:nvPr userDrawn="1"/>
        </p:nvCxnSpPr>
        <p:spPr bwMode="gray">
          <a:xfrm>
            <a:off x="351744"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gray">
          <a:xfrm>
            <a:off x="4781169" y="2914968"/>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gray">
          <a:xfrm>
            <a:off x="4781169"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a:off x="351744" y="4687143"/>
            <a:ext cx="402336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Text Placeholder 13"/>
          <p:cNvSpPr>
            <a:spLocks noGrp="1"/>
          </p:cNvSpPr>
          <p:nvPr>
            <p:ph type="body" sz="quarter" idx="14" hasCustomPrompt="1"/>
          </p:nvPr>
        </p:nvSpPr>
        <p:spPr bwMode="gray">
          <a:xfrm>
            <a:off x="1199849" y="4100238"/>
            <a:ext cx="3175300" cy="576072"/>
          </a:xfrm>
        </p:spPr>
        <p:txBody>
          <a:bodyPr anchor="ctr" anchorCtr="0"/>
          <a:lstStyle>
            <a:lvl1pPr>
              <a:defRPr b="0" baseline="0"/>
            </a:lvl1pPr>
          </a:lstStyle>
          <a:p>
            <a:pPr lvl="0"/>
            <a:r>
              <a:rPr lang="en-US" dirty="0" smtClean="0"/>
              <a:t>Text goes here, sentence case</a:t>
            </a:r>
          </a:p>
        </p:txBody>
      </p:sp>
      <p:sp>
        <p:nvSpPr>
          <p:cNvPr id="18" name="Picture Placeholder 15"/>
          <p:cNvSpPr>
            <a:spLocks noGrp="1"/>
          </p:cNvSpPr>
          <p:nvPr>
            <p:ph type="pic" sz="quarter" idx="15" hasCustomPrompt="1"/>
          </p:nvPr>
        </p:nvSpPr>
        <p:spPr bwMode="gray">
          <a:xfrm>
            <a:off x="352424" y="4001325"/>
            <a:ext cx="663732" cy="685800"/>
          </a:xfrm>
        </p:spPr>
        <p:txBody>
          <a:bodyPr/>
          <a:lstStyle>
            <a:lvl1pPr>
              <a:defRPr sz="1100"/>
            </a:lvl1pPr>
          </a:lstStyle>
          <a:p>
            <a:r>
              <a:rPr lang="en-US" dirty="0" smtClean="0"/>
              <a:t>Select box to add icon</a:t>
            </a:r>
            <a:endParaRPr lang="en-US" dirty="0"/>
          </a:p>
        </p:txBody>
      </p:sp>
      <p:sp>
        <p:nvSpPr>
          <p:cNvPr id="23" name="Text Placeholder 13"/>
          <p:cNvSpPr>
            <a:spLocks noGrp="1"/>
          </p:cNvSpPr>
          <p:nvPr>
            <p:ph type="body" sz="quarter" idx="22" hasCustomPrompt="1"/>
          </p:nvPr>
        </p:nvSpPr>
        <p:spPr bwMode="gray">
          <a:xfrm>
            <a:off x="5628594" y="4100238"/>
            <a:ext cx="3175300" cy="576072"/>
          </a:xfrm>
        </p:spPr>
        <p:txBody>
          <a:bodyPr anchor="ctr" anchorCtr="0"/>
          <a:lstStyle>
            <a:lvl1pPr>
              <a:defRPr b="0" baseline="0"/>
            </a:lvl1pPr>
          </a:lstStyle>
          <a:p>
            <a:pPr lvl="0"/>
            <a:r>
              <a:rPr lang="en-US" dirty="0" smtClean="0"/>
              <a:t>Text goes here, sentence case</a:t>
            </a:r>
          </a:p>
        </p:txBody>
      </p:sp>
      <p:sp>
        <p:nvSpPr>
          <p:cNvPr id="24" name="Picture Placeholder 15"/>
          <p:cNvSpPr>
            <a:spLocks noGrp="1"/>
          </p:cNvSpPr>
          <p:nvPr>
            <p:ph type="pic" sz="quarter" idx="23" hasCustomPrompt="1"/>
          </p:nvPr>
        </p:nvSpPr>
        <p:spPr bwMode="gray">
          <a:xfrm>
            <a:off x="4781169" y="4001325"/>
            <a:ext cx="663732" cy="68580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1100"/>
            </a:lvl1pPr>
          </a:lstStyle>
          <a:p>
            <a:r>
              <a:rPr lang="en-US" dirty="0" smtClean="0"/>
              <a:t>Select box to add icon</a:t>
            </a:r>
          </a:p>
        </p:txBody>
      </p:sp>
    </p:spTree>
    <p:extLst>
      <p:ext uri="{BB962C8B-B14F-4D97-AF65-F5344CB8AC3E}">
        <p14:creationId xmlns:p14="http://schemas.microsoft.com/office/powerpoint/2010/main" val="18058943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3 Strategi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4" name="Text Placeholder 9"/>
          <p:cNvSpPr>
            <a:spLocks noGrp="1"/>
          </p:cNvSpPr>
          <p:nvPr>
            <p:ph type="body" sz="quarter" idx="12" hasCustomPrompt="1"/>
          </p:nvPr>
        </p:nvSpPr>
        <p:spPr bwMode="gray">
          <a:xfrm>
            <a:off x="3828395"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5" name="Text Placeholder 9"/>
          <p:cNvSpPr>
            <a:spLocks noGrp="1"/>
          </p:cNvSpPr>
          <p:nvPr>
            <p:ph type="body" sz="quarter" idx="13" hasCustomPrompt="1"/>
          </p:nvPr>
        </p:nvSpPr>
        <p:spPr bwMode="gray">
          <a:xfrm>
            <a:off x="3828395" y="4008987"/>
            <a:ext cx="2103120" cy="1388004"/>
          </a:xfrm>
        </p:spPr>
        <p:txBody>
          <a:bodyPr tIns="0" bIns="0" anchor="t" anchorCtr="0"/>
          <a:lstStyle>
            <a:lvl1pPr>
              <a:defRPr sz="2000" b="0"/>
            </a:lvl1pPr>
          </a:lstStyle>
          <a:p>
            <a:pPr lvl="0"/>
            <a:r>
              <a:rPr lang="en-US" dirty="0" smtClean="0"/>
              <a:t>text all lower case</a:t>
            </a:r>
          </a:p>
        </p:txBody>
      </p:sp>
      <p:sp>
        <p:nvSpPr>
          <p:cNvPr id="26" name="Text Placeholder 9"/>
          <p:cNvSpPr>
            <a:spLocks noGrp="1"/>
          </p:cNvSpPr>
          <p:nvPr>
            <p:ph type="body" sz="quarter" idx="14" hasCustomPrompt="1"/>
          </p:nvPr>
        </p:nvSpPr>
        <p:spPr bwMode="gray">
          <a:xfrm>
            <a:off x="6716880"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7" name="Text Placeholder 9"/>
          <p:cNvSpPr>
            <a:spLocks noGrp="1"/>
          </p:cNvSpPr>
          <p:nvPr>
            <p:ph type="body" sz="quarter" idx="15" hasCustomPrompt="1"/>
          </p:nvPr>
        </p:nvSpPr>
        <p:spPr bwMode="gray">
          <a:xfrm>
            <a:off x="6716880" y="4008987"/>
            <a:ext cx="2103120" cy="1388004"/>
          </a:xfrm>
        </p:spPr>
        <p:txBody>
          <a:bodyPr tIns="0" bIns="0" anchor="t" anchorCtr="0"/>
          <a:lstStyle>
            <a:lvl1pPr>
              <a:defRPr sz="2000" b="0"/>
            </a:lvl1pPr>
          </a:lstStyle>
          <a:p>
            <a:pPr lvl="0"/>
            <a:r>
              <a:rPr lang="en-US" dirty="0" smtClean="0"/>
              <a:t>text all lower case</a:t>
            </a:r>
          </a:p>
        </p:txBody>
      </p:sp>
      <p:sp>
        <p:nvSpPr>
          <p:cNvPr id="28" name="Text Placeholder 9"/>
          <p:cNvSpPr>
            <a:spLocks noGrp="1"/>
          </p:cNvSpPr>
          <p:nvPr>
            <p:ph type="body" sz="quarter" idx="11" hasCustomPrompt="1"/>
          </p:nvPr>
        </p:nvSpPr>
        <p:spPr bwMode="gray">
          <a:xfrm>
            <a:off x="946488" y="3126294"/>
            <a:ext cx="2103120" cy="873861"/>
          </a:xfrm>
        </p:spPr>
        <p:txBody>
          <a:bodyPr tIns="0" bIns="0" anchor="b" anchorCtr="0"/>
          <a:lstStyle>
            <a:lvl1pPr>
              <a:defRPr sz="6000" b="1">
                <a:solidFill>
                  <a:schemeClr val="accent1"/>
                </a:solidFill>
              </a:defRPr>
            </a:lvl1pPr>
          </a:lstStyle>
          <a:p>
            <a:pPr lvl="0"/>
            <a:r>
              <a:rPr lang="en-US" dirty="0" smtClean="0"/>
              <a:t>%</a:t>
            </a:r>
          </a:p>
        </p:txBody>
      </p:sp>
      <p:sp>
        <p:nvSpPr>
          <p:cNvPr id="29" name="Text Placeholder 9"/>
          <p:cNvSpPr>
            <a:spLocks noGrp="1"/>
          </p:cNvSpPr>
          <p:nvPr>
            <p:ph type="body" sz="quarter" idx="10" hasCustomPrompt="1"/>
          </p:nvPr>
        </p:nvSpPr>
        <p:spPr bwMode="gray">
          <a:xfrm>
            <a:off x="946488" y="4008987"/>
            <a:ext cx="2103120" cy="1388004"/>
          </a:xfrm>
        </p:spPr>
        <p:txBody>
          <a:bodyPr tIns="0" bIns="0" anchor="t" anchorCtr="0"/>
          <a:lstStyle>
            <a:lvl1pPr>
              <a:defRPr sz="2000" b="0" baseline="0"/>
            </a:lvl1pPr>
          </a:lstStyle>
          <a:p>
            <a:pPr lvl="0"/>
            <a:r>
              <a:rPr lang="en-US" dirty="0" smtClean="0"/>
              <a:t>text all lower case</a:t>
            </a:r>
          </a:p>
        </p:txBody>
      </p:sp>
      <p:sp>
        <p:nvSpPr>
          <p:cNvPr id="30" name="Picture Placeholder 15"/>
          <p:cNvSpPr>
            <a:spLocks noGrp="1"/>
          </p:cNvSpPr>
          <p:nvPr>
            <p:ph type="pic" sz="quarter" idx="16" hasCustomPrompt="1"/>
          </p:nvPr>
        </p:nvSpPr>
        <p:spPr bwMode="gray">
          <a:xfrm>
            <a:off x="317421" y="4008507"/>
            <a:ext cx="548640" cy="548640"/>
          </a:xfrm>
        </p:spPr>
        <p:txBody>
          <a:bodyPr/>
          <a:lstStyle>
            <a:lvl1pPr>
              <a:defRPr sz="900" baseline="0"/>
            </a:lvl1pPr>
          </a:lstStyle>
          <a:p>
            <a:r>
              <a:rPr lang="en-US" dirty="0" smtClean="0"/>
              <a:t>Select box to add icon</a:t>
            </a:r>
            <a:endParaRPr lang="en-US" dirty="0"/>
          </a:p>
        </p:txBody>
      </p:sp>
      <p:sp>
        <p:nvSpPr>
          <p:cNvPr id="31" name="Picture Placeholder 15"/>
          <p:cNvSpPr>
            <a:spLocks noGrp="1"/>
          </p:cNvSpPr>
          <p:nvPr>
            <p:ph type="pic" sz="quarter" idx="17" hasCustomPrompt="1"/>
          </p:nvPr>
        </p:nvSpPr>
        <p:spPr bwMode="gray">
          <a:xfrm>
            <a:off x="3200380" y="4008507"/>
            <a:ext cx="548640" cy="548640"/>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900"/>
            </a:lvl1pPr>
          </a:lstStyle>
          <a:p>
            <a:r>
              <a:rPr lang="en-US" dirty="0" smtClean="0"/>
              <a:t>Select box to add icon</a:t>
            </a:r>
          </a:p>
        </p:txBody>
      </p:sp>
      <p:sp>
        <p:nvSpPr>
          <p:cNvPr id="32" name="Picture Placeholder 15"/>
          <p:cNvSpPr>
            <a:spLocks noGrp="1"/>
          </p:cNvSpPr>
          <p:nvPr>
            <p:ph type="pic" sz="quarter" idx="18" hasCustomPrompt="1"/>
          </p:nvPr>
        </p:nvSpPr>
        <p:spPr bwMode="gray">
          <a:xfrm>
            <a:off x="6085153" y="4008507"/>
            <a:ext cx="548640" cy="548640"/>
          </a:xfrm>
        </p:spPr>
        <p:txBody>
          <a:bodyPr/>
          <a:lstStyle>
            <a:lvl1pPr>
              <a:defRPr sz="900"/>
            </a:lvl1pPr>
          </a:lstStyle>
          <a:p>
            <a:r>
              <a:rPr lang="en-US" dirty="0" smtClean="0"/>
              <a:t>Select box to add icon</a:t>
            </a:r>
            <a:endParaRPr lang="en-US" dirty="0"/>
          </a:p>
        </p:txBody>
      </p:sp>
    </p:spTree>
    <p:extLst>
      <p:ext uri="{BB962C8B-B14F-4D97-AF65-F5344CB8AC3E}">
        <p14:creationId xmlns:p14="http://schemas.microsoft.com/office/powerpoint/2010/main" val="3407187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Case Study">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a:lstStyle/>
          <a:p>
            <a:r>
              <a:rPr lang="en-US" dirty="0" smtClean="0"/>
              <a:t>Click icon to add picture</a:t>
            </a:r>
            <a:endParaRPr lang="en-US"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 name="Rectangle 8"/>
          <p:cNvSpPr/>
          <p:nvPr userDrawn="1"/>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userDrawn="1"/>
        </p:nvSpPr>
        <p:spPr bwMode="gray">
          <a:xfrm>
            <a:off x="324000" y="6636183"/>
            <a:ext cx="1762268" cy="123111"/>
          </a:xfrm>
          <a:prstGeom prst="rect">
            <a:avLst/>
          </a:prstGeom>
          <a:noFill/>
        </p:spPr>
        <p:txBody>
          <a:bodyPr wrap="none" lIns="72000" tIns="0" rIns="0" bIns="0" rtlCol="0">
            <a:spAutoFit/>
          </a:bodyPr>
          <a:lstStyle/>
          <a:p>
            <a:pPr marL="133350" indent="-133350" defTabSz="914400">
              <a:buClr>
                <a:srgbClr val="FFFFFF"/>
              </a:buClr>
              <a:buFont typeface="Arial" pitchFamily="34" charset="0"/>
              <a:buChar char="©"/>
            </a:pPr>
            <a:r>
              <a:rPr lang="en-US" sz="800" dirty="0" smtClean="0">
                <a:solidFill>
                  <a:srgbClr val="FFFFFF"/>
                </a:solidFill>
              </a:rPr>
              <a:t>2012 SAP AG. All rights reserved.</a:t>
            </a:r>
          </a:p>
        </p:txBody>
      </p:sp>
      <p:sp>
        <p:nvSpPr>
          <p:cNvPr id="11" name="TextBox 10"/>
          <p:cNvSpPr txBox="1"/>
          <p:nvPr userDrawn="1"/>
        </p:nvSpPr>
        <p:spPr bwMode="gray">
          <a:xfrm>
            <a:off x="8625588" y="6636183"/>
            <a:ext cx="197737" cy="123111"/>
          </a:xfrm>
          <a:prstGeom prst="rect">
            <a:avLst/>
          </a:prstGeom>
          <a:noFill/>
        </p:spPr>
        <p:txBody>
          <a:bodyPr wrap="none" lIns="0" tIns="0" rIns="72000" bIns="0" rtlCol="0">
            <a:spAutoFit/>
          </a:bodyPr>
          <a:lstStyle/>
          <a:p>
            <a:pPr marL="93663" indent="-93663" algn="r" defTabSz="914400">
              <a:buClr>
                <a:srgbClr val="666666"/>
              </a:buClr>
              <a:buFont typeface="Arial" pitchFamily="34" charset="0"/>
              <a:buNone/>
            </a:pPr>
            <a:fld id="{0BDC132A-5C91-4078-9777-31DA19A62E0A}" type="slidenum">
              <a:rPr lang="en-US" sz="800" smtClean="0">
                <a:solidFill>
                  <a:srgbClr val="FFFFFF"/>
                </a:solidFill>
              </a:rPr>
              <a:pPr marL="93663" indent="-93663" algn="r" defTabSz="914400">
                <a:buClr>
                  <a:srgbClr val="666666"/>
                </a:buClr>
                <a:buFont typeface="Arial" pitchFamily="34" charset="0"/>
                <a:buNone/>
              </a:pPr>
              <a:t>‹#›</a:t>
            </a:fld>
            <a:endParaRPr lang="en-US" sz="800" dirty="0" smtClean="0">
              <a:solidFill>
                <a:srgbClr val="FFFFFF"/>
              </a:solidFill>
            </a:endParaRPr>
          </a:p>
        </p:txBody>
      </p:sp>
      <p:sp>
        <p:nvSpPr>
          <p:cNvPr id="22" name="Text Placeholder 21"/>
          <p:cNvSpPr>
            <a:spLocks noGrp="1"/>
          </p:cNvSpPr>
          <p:nvPr>
            <p:ph type="body" sz="quarter" idx="18" hasCustomPrompt="1"/>
          </p:nvPr>
        </p:nvSpPr>
        <p:spPr>
          <a:xfrm>
            <a:off x="411784" y="3186185"/>
            <a:ext cx="2094349" cy="2927614"/>
          </a:xfrm>
        </p:spPr>
        <p:txBody>
          <a:bodyPr/>
          <a:lstStyle>
            <a:lvl1pPr>
              <a:spcBef>
                <a:spcPts val="900"/>
              </a:spcBef>
              <a:defRPr sz="1400">
                <a:solidFill>
                  <a:schemeClr val="accent2"/>
                </a:solidFill>
              </a:defRPr>
            </a:lvl1pPr>
          </a:lstStyle>
          <a:p>
            <a:pPr lvl="0"/>
            <a:r>
              <a:rPr lang="en-US" dirty="0" smtClean="0"/>
              <a:t>Text sentence case</a:t>
            </a:r>
          </a:p>
        </p:txBody>
      </p:sp>
      <p:sp>
        <p:nvSpPr>
          <p:cNvPr id="25" name="Text Placeholder 24"/>
          <p:cNvSpPr>
            <a:spLocks noGrp="1"/>
          </p:cNvSpPr>
          <p:nvPr>
            <p:ph type="body" sz="quarter" idx="19" hasCustomPrompt="1"/>
          </p:nvPr>
        </p:nvSpPr>
        <p:spPr>
          <a:xfrm>
            <a:off x="3424237" y="4348480"/>
            <a:ext cx="5395761" cy="1764983"/>
          </a:xfrm>
        </p:spPr>
        <p:txBody>
          <a:bodyPr/>
          <a:lstStyle>
            <a:lvl1pPr>
              <a:spcBef>
                <a:spcPts val="900"/>
              </a:spcBef>
              <a:defRPr sz="1400"/>
            </a:lvl1pPr>
          </a:lstStyle>
          <a:p>
            <a:pPr lvl="0"/>
            <a:r>
              <a:rPr lang="en-US" dirty="0" smtClean="0"/>
              <a:t>Text sentence case</a:t>
            </a:r>
          </a:p>
        </p:txBody>
      </p:sp>
      <p:sp>
        <p:nvSpPr>
          <p:cNvPr id="27" name="Text Placeholder 26"/>
          <p:cNvSpPr>
            <a:spLocks noGrp="1"/>
          </p:cNvSpPr>
          <p:nvPr>
            <p:ph type="body" sz="quarter" idx="20" hasCustomPrompt="1"/>
          </p:nvPr>
        </p:nvSpPr>
        <p:spPr>
          <a:xfrm>
            <a:off x="3427566" y="2653677"/>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18" name="Text Placeholder 26"/>
          <p:cNvSpPr>
            <a:spLocks noGrp="1"/>
          </p:cNvSpPr>
          <p:nvPr>
            <p:ph type="body" sz="quarter" idx="21" hasCustomPrompt="1"/>
          </p:nvPr>
        </p:nvSpPr>
        <p:spPr>
          <a:xfrm>
            <a:off x="4104640" y="2653677"/>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9" name="Text Placeholder 26"/>
          <p:cNvSpPr>
            <a:spLocks noGrp="1"/>
          </p:cNvSpPr>
          <p:nvPr>
            <p:ph type="body" sz="quarter" idx="22" hasCustomPrompt="1"/>
          </p:nvPr>
        </p:nvSpPr>
        <p:spPr>
          <a:xfrm>
            <a:off x="3427566" y="3348666"/>
            <a:ext cx="677073" cy="356339"/>
          </a:xfrm>
        </p:spPr>
        <p:txBody>
          <a:bodyPr anchor="ctr" anchorCtr="0"/>
          <a:lstStyle>
            <a:lvl1pPr>
              <a:spcBef>
                <a:spcPts val="1800"/>
              </a:spcBef>
              <a:defRPr sz="2400" b="1" baseline="0">
                <a:solidFill>
                  <a:schemeClr val="tx1"/>
                </a:solidFill>
              </a:defRPr>
            </a:lvl1pPr>
          </a:lstStyle>
          <a:p>
            <a:pPr lvl="0"/>
            <a:r>
              <a:rPr lang="en-US" dirty="0" smtClean="0"/>
              <a:t>#%</a:t>
            </a:r>
          </a:p>
        </p:txBody>
      </p:sp>
      <p:sp>
        <p:nvSpPr>
          <p:cNvPr id="20" name="Text Placeholder 26"/>
          <p:cNvSpPr>
            <a:spLocks noGrp="1"/>
          </p:cNvSpPr>
          <p:nvPr>
            <p:ph type="body" sz="quarter" idx="23" hasCustomPrompt="1"/>
          </p:nvPr>
        </p:nvSpPr>
        <p:spPr>
          <a:xfrm>
            <a:off x="4104640" y="3348666"/>
            <a:ext cx="4715357" cy="356339"/>
          </a:xfrm>
        </p:spPr>
        <p:txBody>
          <a:bodyPr anchor="ctr" anchorCtr="0"/>
          <a:lstStyle>
            <a:lvl1pPr>
              <a:spcBef>
                <a:spcPts val="1800"/>
              </a:spcBef>
              <a:defRPr sz="1400" b="0" baseline="0">
                <a:solidFill>
                  <a:schemeClr val="tx1"/>
                </a:solidFill>
              </a:defRPr>
            </a:lvl1pPr>
          </a:lstStyle>
          <a:p>
            <a:pPr lvl="0"/>
            <a:r>
              <a:rPr lang="en-US" dirty="0" smtClean="0"/>
              <a:t>text all lower case</a:t>
            </a:r>
          </a:p>
        </p:txBody>
      </p:sp>
      <p:sp>
        <p:nvSpPr>
          <p:cNvPr id="16" name="Picture Placeholder 15"/>
          <p:cNvSpPr>
            <a:spLocks noGrp="1"/>
          </p:cNvSpPr>
          <p:nvPr>
            <p:ph type="pic" sz="quarter" idx="26" hasCustomPrompt="1"/>
          </p:nvPr>
        </p:nvSpPr>
        <p:spPr bwMode="gray">
          <a:xfrm>
            <a:off x="2850441" y="2620545"/>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
        <p:nvSpPr>
          <p:cNvPr id="17" name="Picture Placeholder 15"/>
          <p:cNvSpPr>
            <a:spLocks noGrp="1"/>
          </p:cNvSpPr>
          <p:nvPr>
            <p:ph type="pic" sz="quarter" idx="27" hasCustomPrompt="1"/>
          </p:nvPr>
        </p:nvSpPr>
        <p:spPr bwMode="gray">
          <a:xfrm>
            <a:off x="2850441" y="3314801"/>
            <a:ext cx="427855" cy="424069"/>
          </a:xfrm>
        </p:spPr>
        <p:txBody>
          <a:bodyPr/>
          <a:lstStyle>
            <a:lvl1pPr marL="0" marR="0" indent="0" algn="l" defTabSz="914400" rtl="0" eaLnBrk="1" fontAlgn="auto" latinLnBrk="0" hangingPunct="1">
              <a:lnSpc>
                <a:spcPct val="100000"/>
              </a:lnSpc>
              <a:spcBef>
                <a:spcPts val="1620"/>
              </a:spcBef>
              <a:spcAft>
                <a:spcPts val="0"/>
              </a:spcAft>
              <a:buClr>
                <a:schemeClr val="accent1"/>
              </a:buClr>
              <a:buSzPct val="80000"/>
              <a:buFontTx/>
              <a:buNone/>
              <a:tabLst/>
              <a:defRPr sz="800"/>
            </a:lvl1pPr>
          </a:lstStyle>
          <a:p>
            <a:r>
              <a:rPr lang="en-US" dirty="0" smtClean="0"/>
              <a:t>Select box to add icon</a:t>
            </a:r>
          </a:p>
        </p:txBody>
      </p:sp>
    </p:spTree>
    <p:extLst>
      <p:ext uri="{BB962C8B-B14F-4D97-AF65-F5344CB8AC3E}">
        <p14:creationId xmlns:p14="http://schemas.microsoft.com/office/powerpoint/2010/main" val="3484594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 Strategies">
    <p:spTree>
      <p:nvGrpSpPr>
        <p:cNvPr id="1" name=""/>
        <p:cNvGrpSpPr/>
        <p:nvPr/>
      </p:nvGrpSpPr>
      <p:grpSpPr>
        <a:xfrm>
          <a:off x="0" y="0"/>
          <a:ext cx="0" cy="0"/>
          <a:chOff x="0" y="0"/>
          <a:chExt cx="0" cy="0"/>
        </a:xfrm>
      </p:grpSpPr>
      <p:sp>
        <p:nvSpPr>
          <p:cNvPr id="28" name="Picture Placeholder 27"/>
          <p:cNvSpPr>
            <a:spLocks noGrp="1"/>
          </p:cNvSpPr>
          <p:nvPr>
            <p:ph type="pic" sz="quarter" idx="15" hasCustomPrompt="1"/>
          </p:nvPr>
        </p:nvSpPr>
        <p:spPr>
          <a:xfrm>
            <a:off x="323850" y="1970088"/>
            <a:ext cx="2392363" cy="1420812"/>
          </a:xfrm>
          <a:noFill/>
        </p:spPr>
        <p:txBody>
          <a:bodyPr/>
          <a:lstStyle/>
          <a:p>
            <a:r>
              <a:rPr lang="en-US" dirty="0" smtClean="0"/>
              <a:t>Illustration</a:t>
            </a:r>
            <a:endParaRPr lang="en-US" dirty="0"/>
          </a:p>
        </p:txBody>
      </p:sp>
      <p:sp>
        <p:nvSpPr>
          <p:cNvPr id="12" name="Text Placeholder 9"/>
          <p:cNvSpPr>
            <a:spLocks noGrp="1"/>
          </p:cNvSpPr>
          <p:nvPr>
            <p:ph type="body" sz="quarter" idx="12" hasCustomPrompt="1"/>
          </p:nvPr>
        </p:nvSpPr>
        <p:spPr bwMode="gray">
          <a:xfrm>
            <a:off x="6428227" y="3706213"/>
            <a:ext cx="2391774" cy="2186587"/>
          </a:xfrm>
        </p:spPr>
        <p:txBody>
          <a:bodyPr anchor="t" anchorCtr="0"/>
          <a:lstStyle>
            <a:lvl1pPr>
              <a:defRPr sz="1800"/>
            </a:lvl1pPr>
          </a:lstStyle>
          <a:p>
            <a:pPr lvl="0"/>
            <a:r>
              <a:rPr lang="en-US" dirty="0" smtClean="0"/>
              <a:t>Text sentence case</a:t>
            </a:r>
          </a:p>
        </p:txBody>
      </p:sp>
      <p:sp>
        <p:nvSpPr>
          <p:cNvPr id="25" name="Text Placeholder 9"/>
          <p:cNvSpPr>
            <a:spLocks noGrp="1"/>
          </p:cNvSpPr>
          <p:nvPr>
            <p:ph type="body" sz="quarter" idx="13" hasCustomPrompt="1"/>
          </p:nvPr>
        </p:nvSpPr>
        <p:spPr bwMode="gray">
          <a:xfrm>
            <a:off x="3373895" y="3706213"/>
            <a:ext cx="2391774" cy="2186587"/>
          </a:xfrm>
        </p:spPr>
        <p:txBody>
          <a:bodyPr anchor="t" anchorCtr="0"/>
          <a:lstStyle>
            <a:lvl1pPr>
              <a:defRPr sz="1800"/>
            </a:lvl1pPr>
          </a:lstStyle>
          <a:p>
            <a:pPr lvl="0"/>
            <a:r>
              <a:rPr lang="en-US" dirty="0" smtClean="0"/>
              <a:t>Text sentence case</a:t>
            </a:r>
          </a:p>
        </p:txBody>
      </p:sp>
      <p:sp>
        <p:nvSpPr>
          <p:cNvPr id="26" name="Text Placeholder 9"/>
          <p:cNvSpPr>
            <a:spLocks noGrp="1"/>
          </p:cNvSpPr>
          <p:nvPr>
            <p:ph type="body" sz="quarter" idx="14" hasCustomPrompt="1"/>
          </p:nvPr>
        </p:nvSpPr>
        <p:spPr bwMode="gray">
          <a:xfrm>
            <a:off x="324003" y="3706213"/>
            <a:ext cx="2391774" cy="2186587"/>
          </a:xfrm>
        </p:spPr>
        <p:txBody>
          <a:bodyPr anchor="t" anchorCtr="0"/>
          <a:lstStyle>
            <a:lvl1pPr>
              <a:defRPr sz="1800"/>
            </a:lvl1pPr>
          </a:lstStyle>
          <a:p>
            <a:pPr lvl="0"/>
            <a:r>
              <a:rPr lang="en-US" dirty="0" smtClean="0"/>
              <a:t>Text sentence case</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29" name="Picture Placeholder 27"/>
          <p:cNvSpPr>
            <a:spLocks noGrp="1"/>
          </p:cNvSpPr>
          <p:nvPr>
            <p:ph type="pic" sz="quarter" idx="16" hasCustomPrompt="1"/>
          </p:nvPr>
        </p:nvSpPr>
        <p:spPr>
          <a:xfrm>
            <a:off x="3373306" y="1970088"/>
            <a:ext cx="2392363" cy="1420812"/>
          </a:xfrm>
          <a:noFill/>
        </p:spPr>
        <p:txBody>
          <a:bodyPr/>
          <a:lstStyle/>
          <a:p>
            <a:r>
              <a:rPr lang="en-US" dirty="0" smtClean="0"/>
              <a:t>Illustration</a:t>
            </a:r>
            <a:endParaRPr lang="en-US" dirty="0"/>
          </a:p>
        </p:txBody>
      </p:sp>
      <p:sp>
        <p:nvSpPr>
          <p:cNvPr id="30" name="Picture Placeholder 27"/>
          <p:cNvSpPr>
            <a:spLocks noGrp="1"/>
          </p:cNvSpPr>
          <p:nvPr>
            <p:ph type="pic" sz="quarter" idx="17" hasCustomPrompt="1"/>
          </p:nvPr>
        </p:nvSpPr>
        <p:spPr>
          <a:xfrm>
            <a:off x="6428227" y="1970088"/>
            <a:ext cx="2392363" cy="1420812"/>
          </a:xfrm>
          <a:noFill/>
        </p:spPr>
        <p:txBody>
          <a:bodyPr/>
          <a:lstStyle>
            <a:lvl1pPr>
              <a:defRPr/>
            </a:lvl1pPr>
          </a:lstStyle>
          <a:p>
            <a:r>
              <a:rPr lang="en-US" dirty="0" smtClean="0"/>
              <a:t>Illustration</a:t>
            </a:r>
            <a:endParaRPr lang="en-US" dirty="0"/>
          </a:p>
        </p:txBody>
      </p:sp>
    </p:spTree>
    <p:extLst>
      <p:ext uri="{BB962C8B-B14F-4D97-AF65-F5344CB8AC3E}">
        <p14:creationId xmlns:p14="http://schemas.microsoft.com/office/powerpoint/2010/main" val="2065223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91"/>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bg0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7746"/>
          </a:xfrm>
          <a:prstGeom prst="rect">
            <a:avLst/>
          </a:prstGeom>
        </p:spPr>
      </p:pic>
      <p:sp>
        <p:nvSpPr>
          <p:cNvPr id="2" name="TextBox 1"/>
          <p:cNvSpPr txBox="1"/>
          <p:nvPr userDrawn="1"/>
        </p:nvSpPr>
        <p:spPr>
          <a:xfrm>
            <a:off x="455613" y="6571178"/>
            <a:ext cx="1890261" cy="215444"/>
          </a:xfrm>
          <a:prstGeom prst="rect">
            <a:avLst/>
          </a:prstGeom>
          <a:noFill/>
        </p:spPr>
        <p:txBody>
          <a:bodyPr wrap="none" rtlCol="0">
            <a:spAutoFit/>
          </a:bodyPr>
          <a:lstStyle/>
          <a:p>
            <a:pPr defTabSz="914400"/>
            <a:r>
              <a:rPr lang="en-US" sz="800" dirty="0" smtClean="0">
                <a:solidFill>
                  <a:srgbClr val="000000"/>
                </a:solidFill>
              </a:rPr>
              <a:t>© 2013 SAP Labs All rights reserved.</a:t>
            </a:r>
            <a:endParaRPr lang="en-US" sz="800" dirty="0">
              <a:solidFill>
                <a:srgbClr val="000000"/>
              </a:solidFill>
            </a:endParaRPr>
          </a:p>
        </p:txBody>
      </p:sp>
      <p:sp>
        <p:nvSpPr>
          <p:cNvPr id="4" name="TextBox 3"/>
          <p:cNvSpPr txBox="1"/>
          <p:nvPr userDrawn="1"/>
        </p:nvSpPr>
        <p:spPr>
          <a:xfrm>
            <a:off x="8249204" y="6570753"/>
            <a:ext cx="946093" cy="215444"/>
          </a:xfrm>
          <a:prstGeom prst="rect">
            <a:avLst/>
          </a:prstGeom>
          <a:noFill/>
        </p:spPr>
        <p:txBody>
          <a:bodyPr wrap="none" rtlCol="0">
            <a:spAutoFit/>
          </a:bodyPr>
          <a:lstStyle/>
          <a:p>
            <a:pPr defTabSz="914400"/>
            <a:r>
              <a:rPr lang="en-US" sz="800" dirty="0" smtClean="0">
                <a:solidFill>
                  <a:srgbClr val="000000"/>
                </a:solidFill>
              </a:rPr>
              <a:t>Confidential - </a:t>
            </a:r>
            <a:fld id="{BB24E075-7711-4EC9-B13B-074F5084F8AD}" type="slidenum">
              <a:rPr lang="en-US" sz="800" smtClean="0">
                <a:solidFill>
                  <a:srgbClr val="000000"/>
                </a:solidFill>
              </a:rPr>
              <a:pPr defTabSz="914400"/>
              <a:t>‹#›</a:t>
            </a:fld>
            <a:endParaRPr lang="en-US" sz="800" dirty="0">
              <a:solidFill>
                <a:srgbClr val="000000"/>
              </a:solidFill>
            </a:endParaRPr>
          </a:p>
        </p:txBody>
      </p:sp>
    </p:spTree>
    <p:extLst>
      <p:ext uri="{BB962C8B-B14F-4D97-AF65-F5344CB8AC3E}">
        <p14:creationId xmlns:p14="http://schemas.microsoft.com/office/powerpoint/2010/main" val="3948234320"/>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a:xfrm>
            <a:off x="457200" y="6356350"/>
            <a:ext cx="2133600" cy="365125"/>
          </a:xfrm>
          <a:prstGeom prst="rect">
            <a:avLst/>
          </a:prstGeom>
        </p:spPr>
        <p:txBody>
          <a:bodyPr/>
          <a:lstStyle/>
          <a:p>
            <a:pPr defTabSz="914400"/>
            <a:fld id="{1BA50D42-C9CD-4801-B293-61D1F53EC57E}" type="datetimeFigureOut">
              <a:rPr smtClean="0">
                <a:solidFill>
                  <a:srgbClr val="000000"/>
                </a:solidFill>
              </a:rPr>
              <a:pPr defTabSz="914400"/>
              <a:t>05.05.2013</a:t>
            </a:fld>
            <a:endParaRPr>
              <a:solidFill>
                <a:srgbClr val="000000"/>
              </a:solidFill>
            </a:endParaRPr>
          </a:p>
        </p:txBody>
      </p:sp>
      <p:sp>
        <p:nvSpPr>
          <p:cNvPr id="5" name="Fußzeilenplatzhalter 4"/>
          <p:cNvSpPr>
            <a:spLocks noGrp="1"/>
          </p:cNvSpPr>
          <p:nvPr>
            <p:ph type="ftr" sz="quarter" idx="11"/>
          </p:nvPr>
        </p:nvSpPr>
        <p:spPr>
          <a:xfrm>
            <a:off x="3124200" y="6356350"/>
            <a:ext cx="2895600" cy="365125"/>
          </a:xfrm>
          <a:prstGeom prst="rect">
            <a:avLst/>
          </a:prstGeom>
        </p:spPr>
        <p:txBody>
          <a:bodyPr/>
          <a:lstStyle/>
          <a:p>
            <a:pPr defTabSz="914400"/>
            <a:endParaRPr>
              <a:solidFill>
                <a:srgbClr val="000000"/>
              </a:solidFill>
            </a:endParaRPr>
          </a:p>
        </p:txBody>
      </p:sp>
      <p:sp>
        <p:nvSpPr>
          <p:cNvPr id="6" name="Foliennummernplatzhalter 5"/>
          <p:cNvSpPr>
            <a:spLocks noGrp="1"/>
          </p:cNvSpPr>
          <p:nvPr>
            <p:ph type="sldNum" sz="quarter" idx="12"/>
          </p:nvPr>
        </p:nvSpPr>
        <p:spPr>
          <a:xfrm>
            <a:off x="6553200" y="6356350"/>
            <a:ext cx="2133600" cy="365125"/>
          </a:xfrm>
          <a:prstGeom prst="rect">
            <a:avLst/>
          </a:prstGeom>
        </p:spPr>
        <p:txBody>
          <a:bodyPr/>
          <a:lstStyle/>
          <a:p>
            <a:pPr defTabSz="914400"/>
            <a:fld id="{6C6AE60A-B69C-4790-82F7-3882EDF23186}" type="slidenum">
              <a:rPr smtClean="0">
                <a:solidFill>
                  <a:srgbClr val="000000"/>
                </a:solidFill>
              </a:rPr>
              <a:pPr defTabSz="914400"/>
              <a:t>‹#›</a:t>
            </a:fld>
            <a:endParaRPr>
              <a:solidFill>
                <a:srgbClr val="000000"/>
              </a:solidFill>
            </a:endParaRPr>
          </a:p>
        </p:txBody>
      </p:sp>
    </p:spTree>
    <p:extLst>
      <p:ext uri="{BB962C8B-B14F-4D97-AF65-F5344CB8AC3E}">
        <p14:creationId xmlns:p14="http://schemas.microsoft.com/office/powerpoint/2010/main" val="378554658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0" name="Picture 9" descr="bg4.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7746"/>
          </a:xfrm>
          <a:prstGeom prst="rect">
            <a:avLst/>
          </a:prstGeom>
        </p:spPr>
      </p:pic>
    </p:spTree>
    <p:extLst>
      <p:ext uri="{BB962C8B-B14F-4D97-AF65-F5344CB8AC3E}">
        <p14:creationId xmlns:p14="http://schemas.microsoft.com/office/powerpoint/2010/main" val="115695757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7" name="Picture 6" descr="main.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7746"/>
          </a:xfrm>
          <a:prstGeom prst="rect">
            <a:avLst/>
          </a:prstGeom>
        </p:spPr>
      </p:pic>
    </p:spTree>
    <p:extLst>
      <p:ext uri="{BB962C8B-B14F-4D97-AF65-F5344CB8AC3E}">
        <p14:creationId xmlns:p14="http://schemas.microsoft.com/office/powerpoint/2010/main" val="320633464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pic>
        <p:nvPicPr>
          <p:cNvPr id="2" name="Picture 1" descr="bg11.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7746"/>
          </a:xfrm>
          <a:prstGeom prst="rect">
            <a:avLst/>
          </a:prstGeom>
        </p:spPr>
      </p:pic>
    </p:spTree>
    <p:extLst>
      <p:ext uri="{BB962C8B-B14F-4D97-AF65-F5344CB8AC3E}">
        <p14:creationId xmlns:p14="http://schemas.microsoft.com/office/powerpoint/2010/main" val="111826260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324001"/>
            <a:ext cx="5311198" cy="756000"/>
          </a:xfrm>
          <a:prstGeom prst="rect">
            <a:avLst/>
          </a:prstGeom>
        </p:spPr>
        <p:txBody>
          <a:bodyPr vert="horz" lIns="0" tIns="0" rIns="0" bIns="0" rtlCol="0" anchor="ctr" anchorCtr="0">
            <a:noAutofit/>
          </a:bodyPr>
          <a:lstStyle/>
          <a:p>
            <a:pPr defTabSz="816582">
              <a:spcBef>
                <a:spcPct val="0"/>
              </a:spcBef>
            </a:pPr>
            <a:r>
              <a:rPr lang="en-GB" sz="2200" b="1" dirty="0" smtClean="0">
                <a:solidFill>
                  <a:srgbClr val="666666"/>
                </a:solidFill>
              </a:rPr>
              <a:t>© </a:t>
            </a:r>
            <a:r>
              <a:rPr sz="2200" b="1" dirty="0" smtClean="0">
                <a:solidFill>
                  <a:srgbClr val="666666"/>
                </a:solidFill>
              </a:rPr>
              <a:t>2013 SAP AG. All rights reserved.</a:t>
            </a:r>
          </a:p>
        </p:txBody>
      </p:sp>
      <p:sp>
        <p:nvSpPr>
          <p:cNvPr id="5" name="TextBox 4"/>
          <p:cNvSpPr txBox="1"/>
          <p:nvPr userDrawn="1"/>
        </p:nvSpPr>
        <p:spPr bwMode="gray">
          <a:xfrm>
            <a:off x="242937" y="1691608"/>
            <a:ext cx="8658239" cy="1846659"/>
          </a:xfrm>
          <a:prstGeom prst="rect">
            <a:avLst/>
          </a:prstGeom>
          <a:noFill/>
        </p:spPr>
        <p:txBody>
          <a:bodyPr wrap="square" lIns="0" tIns="0" rIns="0" bIns="0" rtlCol="0">
            <a:spAutoFit/>
          </a:bodyPr>
          <a:lstStyle/>
          <a:p>
            <a:pPr defTabSz="685800">
              <a:spcBef>
                <a:spcPts val="900"/>
              </a:spcBef>
            </a:pPr>
            <a:r>
              <a:rPr lang="en-US" sz="900" noProof="1" smtClean="0">
                <a:solidFill>
                  <a:srgbClr val="000000"/>
                </a:solidFill>
                <a:ea typeface="MS PGothic" pitchFamily="34" charset="-128"/>
              </a:rPr>
              <a:t>No part of this publication may be reproduced or transmitted in any form or for any purpose without the express permission of SAP AG. </a:t>
            </a:r>
            <a:br>
              <a:rPr lang="en-US" sz="900" noProof="1" smtClean="0">
                <a:solidFill>
                  <a:srgbClr val="000000"/>
                </a:solidFill>
                <a:ea typeface="MS PGothic" pitchFamily="34" charset="-128"/>
              </a:rPr>
            </a:br>
            <a:r>
              <a:rPr lang="en-US" sz="900" noProof="1" smtClean="0">
                <a:solidFill>
                  <a:srgbClr val="000000"/>
                </a:solidFill>
                <a:ea typeface="MS PGothic" pitchFamily="34" charset="-128"/>
              </a:rPr>
              <a:t>The information contained herein may be changed without prior notice.</a:t>
            </a:r>
          </a:p>
          <a:p>
            <a:pPr defTabSz="685800">
              <a:spcBef>
                <a:spcPts val="900"/>
              </a:spcBef>
            </a:pPr>
            <a:r>
              <a:rPr lang="en-US" sz="900" noProof="1" smtClean="0">
                <a:solidFill>
                  <a:srgbClr val="000000"/>
                </a:solidFill>
                <a:ea typeface="MS PGothic" pitchFamily="34" charset="-128"/>
              </a:rPr>
              <a:t>Some software products marketed by SAP AG and its distributors contain proprietary software components of other software vendors.</a:t>
            </a:r>
          </a:p>
          <a:p>
            <a:pPr defTabSz="685800">
              <a:spcBef>
                <a:spcPts val="900"/>
              </a:spcBef>
            </a:pPr>
            <a:r>
              <a:rPr lang="en-US" sz="900" noProof="1" smtClean="0">
                <a:solidFill>
                  <a:srgbClr val="000000"/>
                </a:solidFill>
                <a:ea typeface="MS PGothic" pitchFamily="34" charset="-128"/>
              </a:rPr>
              <a:t>National product specifications may vary.</a:t>
            </a:r>
          </a:p>
          <a:p>
            <a:pPr defTabSz="685800">
              <a:spcBef>
                <a:spcPts val="900"/>
              </a:spcBef>
            </a:pPr>
            <a:r>
              <a:rPr lang="en-US" sz="900" noProof="1" smtClean="0">
                <a:solidFill>
                  <a:srgbClr val="000000"/>
                </a:solidFill>
                <a:ea typeface="MS PGothic" pitchFamily="34" charset="-128"/>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defTabSz="685800">
              <a:spcBef>
                <a:spcPts val="900"/>
              </a:spcBef>
            </a:pPr>
            <a:r>
              <a:rPr lang="en-US" sz="900" noProof="1" smtClean="0">
                <a:solidFill>
                  <a:srgbClr val="000000"/>
                </a:solidFill>
                <a:ea typeface="MS PGothic" pitchFamily="34" charset="-128"/>
              </a:rPr>
              <a:t>SAP and other SAP products and services mentioned herein as well as their respective logos are trademarks or registered trademarks of SAP AG in Germany and other countries.  </a:t>
            </a:r>
            <a:br>
              <a:rPr lang="en-US" sz="900" noProof="1" smtClean="0">
                <a:solidFill>
                  <a:srgbClr val="000000"/>
                </a:solidFill>
                <a:ea typeface="MS PGothic" pitchFamily="34" charset="-128"/>
              </a:rPr>
            </a:br>
            <a:r>
              <a:rPr lang="en-US" sz="900" noProof="1" smtClean="0">
                <a:solidFill>
                  <a:srgbClr val="000000"/>
                </a:solidFill>
                <a:ea typeface="MS PGothic" pitchFamily="34" charset="-128"/>
              </a:rPr>
              <a:t>Please see </a:t>
            </a:r>
            <a:r>
              <a:rPr lang="en-US" sz="900" noProof="1" smtClean="0">
                <a:solidFill>
                  <a:srgbClr val="000000"/>
                </a:solidFill>
                <a:ea typeface="MS PGothic" pitchFamily="34" charset="-128"/>
                <a:hlinkClick r:id="rId2"/>
              </a:rPr>
              <a:t>http://www.sap.com/corporate-en/legal/copyright/index.epx#trademark</a:t>
            </a:r>
            <a:r>
              <a:rPr lang="en-US" sz="900" noProof="1" smtClean="0">
                <a:solidFill>
                  <a:srgbClr val="000000"/>
                </a:solidFill>
                <a:ea typeface="MS PGothic" pitchFamily="34" charset="-128"/>
              </a:rPr>
              <a:t> for additional trademark information and notices.</a:t>
            </a:r>
          </a:p>
        </p:txBody>
      </p:sp>
    </p:spTree>
    <p:extLst>
      <p:ext uri="{BB962C8B-B14F-4D97-AF65-F5344CB8AC3E}">
        <p14:creationId xmlns:p14="http://schemas.microsoft.com/office/powerpoint/2010/main" val="340257066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324001"/>
            <a:ext cx="7359500" cy="756000"/>
          </a:xfrm>
          <a:prstGeom prst="rect">
            <a:avLst/>
          </a:prstGeom>
        </p:spPr>
        <p:txBody>
          <a:bodyPr vert="horz" lIns="0" tIns="0" rIns="0" bIns="0" rtlCol="0" anchor="ctr" anchorCtr="0">
            <a:noAutofit/>
          </a:bodyPr>
          <a:lstStyle/>
          <a:p>
            <a:pPr defTabSz="816582">
              <a:spcBef>
                <a:spcPct val="0"/>
              </a:spcBef>
              <a:defRPr/>
            </a:pPr>
            <a:r>
              <a:rPr lang="en-GB" sz="2200" b="1" dirty="0" smtClean="0">
                <a:solidFill>
                  <a:srgbClr val="666666"/>
                </a:solidFill>
              </a:rPr>
              <a:t>© </a:t>
            </a:r>
            <a:r>
              <a:rPr sz="2200" b="1" dirty="0" smtClean="0">
                <a:solidFill>
                  <a:srgbClr val="666666"/>
                </a:solidFill>
              </a:rPr>
              <a:t>2013 SAP AG. Alle Rechte vorbehalten.</a:t>
            </a:r>
          </a:p>
        </p:txBody>
      </p:sp>
      <p:sp>
        <p:nvSpPr>
          <p:cNvPr id="8" name="TextBox 7"/>
          <p:cNvSpPr txBox="1"/>
          <p:nvPr userDrawn="1"/>
        </p:nvSpPr>
        <p:spPr bwMode="gray">
          <a:xfrm>
            <a:off x="242937" y="1691609"/>
            <a:ext cx="8658239" cy="1985159"/>
          </a:xfrm>
          <a:prstGeom prst="rect">
            <a:avLst/>
          </a:prstGeom>
          <a:noFill/>
        </p:spPr>
        <p:txBody>
          <a:bodyPr wrap="square" lIns="0" tIns="0" rIns="0" bIns="0" rtlCol="0">
            <a:spAutoFit/>
          </a:bodyPr>
          <a:lstStyle/>
          <a:p>
            <a:pPr defTabSz="685800">
              <a:spcBef>
                <a:spcPts val="900"/>
              </a:spcBef>
            </a:pPr>
            <a:r>
              <a:rPr sz="9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defTabSz="685800">
              <a:spcBef>
                <a:spcPts val="900"/>
              </a:spcBef>
            </a:pPr>
            <a:r>
              <a:rPr sz="900" noProof="1" smtClean="0">
                <a:solidFill>
                  <a:srgbClr val="000000"/>
                </a:solidFill>
                <a:ea typeface="MS PGothic" pitchFamily="34" charset="-128"/>
              </a:rPr>
              <a:t>Einige der von der SAP AG und ihren Distributoren vermarkteten Softwareprodukte enthalten proprietäre Softwarekomponenten anderer Softwareanbieter.</a:t>
            </a:r>
          </a:p>
          <a:p>
            <a:pPr defTabSz="685800">
              <a:spcBef>
                <a:spcPts val="900"/>
              </a:spcBef>
            </a:pPr>
            <a:r>
              <a:rPr sz="900" noProof="1" smtClean="0">
                <a:solidFill>
                  <a:srgbClr val="000000"/>
                </a:solidFill>
                <a:ea typeface="MS PGothic" pitchFamily="34" charset="-128"/>
              </a:rPr>
              <a:t>Produkte können länderspezifische Unterschiede aufweisen.</a:t>
            </a:r>
          </a:p>
          <a:p>
            <a:pPr defTabSz="685800">
              <a:spcBef>
                <a:spcPts val="900"/>
              </a:spcBef>
            </a:pPr>
            <a:r>
              <a:rPr sz="900" noProof="1" smtClean="0">
                <a:solidFill>
                  <a:srgbClr val="000000"/>
                </a:solidFill>
                <a:ea typeface="MS PGothic"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685800">
              <a:spcBef>
                <a:spcPts val="900"/>
              </a:spcBef>
            </a:pPr>
            <a:r>
              <a:rPr sz="900" noProof="1" smtClean="0">
                <a:solidFill>
                  <a:srgbClr val="000000"/>
                </a:solidFill>
                <a:ea typeface="MS PGothic"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sz="900" noProof="1" smtClean="0">
                <a:solidFill>
                  <a:srgbClr val="000000"/>
                </a:solidFill>
                <a:ea typeface="MS PGothic" pitchFamily="34" charset="-128"/>
                <a:hlinkClick r:id="rId2"/>
              </a:rPr>
              <a:t>http://www.sap.com/corporate-en/legal/copyright/index.epx#trademark</a:t>
            </a:r>
            <a:r>
              <a:rPr sz="900" noProof="1" smtClean="0">
                <a:solidFill>
                  <a:srgbClr val="000000"/>
                </a:solidFill>
                <a:ea typeface="MS PGothic" pitchFamily="34" charset="-128"/>
              </a:rPr>
              <a:t>.</a:t>
            </a:r>
          </a:p>
        </p:txBody>
      </p:sp>
    </p:spTree>
    <p:extLst>
      <p:ext uri="{BB962C8B-B14F-4D97-AF65-F5344CB8AC3E}">
        <p14:creationId xmlns:p14="http://schemas.microsoft.com/office/powerpoint/2010/main" val="14421502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1" y="1692000"/>
            <a:ext cx="8494713" cy="2816156"/>
          </a:xfrm>
        </p:spPr>
        <p:txBody>
          <a:bodyPr>
            <a:noAutofit/>
          </a:bodyPr>
          <a:lstStyle>
            <a:lvl1pPr>
              <a:spcBef>
                <a:spcPts val="1799"/>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bwMode="black">
          <a:xfrm>
            <a:off x="324000" y="6636186"/>
            <a:ext cx="1689565" cy="123111"/>
          </a:xfrm>
          <a:prstGeom prst="rect">
            <a:avLst/>
          </a:prstGeom>
          <a:noFill/>
        </p:spPr>
        <p:txBody>
          <a:bodyPr wrap="none" lIns="0" tIns="0" rIns="0" bIns="0" rtlCol="0">
            <a:spAutoFit/>
          </a:bodyPr>
          <a:lstStyle/>
          <a:p>
            <a:pPr marL="133283" indent="-133283" algn="l">
              <a:buClr>
                <a:schemeClr val="tx1"/>
              </a:buClr>
              <a:buFont typeface="Arial" pitchFamily="34" charset="0"/>
              <a:buChar char="©"/>
              <a:tabLst/>
            </a:pPr>
            <a:r>
              <a:rPr lang="en-US" sz="800" noProof="0" dirty="0" smtClean="0">
                <a:solidFill>
                  <a:sysClr val="windowText" lastClr="000000"/>
                </a:solidFill>
              </a:rPr>
              <a:t>2013 SAP AG. All rights reserved.</a:t>
            </a:r>
          </a:p>
        </p:txBody>
      </p:sp>
      <p:sp>
        <p:nvSpPr>
          <p:cNvPr id="3" name="TextBox 2"/>
          <p:cNvSpPr txBox="1"/>
          <p:nvPr userDrawn="1"/>
        </p:nvSpPr>
        <p:spPr bwMode="black">
          <a:xfrm>
            <a:off x="8698291" y="6636186"/>
            <a:ext cx="125034" cy="123111"/>
          </a:xfrm>
          <a:prstGeom prst="rect">
            <a:avLst/>
          </a:prstGeom>
          <a:noFill/>
        </p:spPr>
        <p:txBody>
          <a:bodyPr wrap="none" lIns="0" tIns="0" rIns="0" bIns="0" rtlCol="0">
            <a:spAutoFit/>
          </a:bodyPr>
          <a:lstStyle/>
          <a:p>
            <a:pPr marL="93616" indent="-93616" algn="r">
              <a:buClr>
                <a:schemeClr val="accent2"/>
              </a:buClr>
              <a:buFont typeface="Arial" pitchFamily="34" charset="0"/>
              <a:buNone/>
            </a:pPr>
            <a:fld id="{0BDC132A-5C91-4078-9777-31DA19A62E0A}" type="slidenum">
              <a:rPr lang="en-US" sz="800" baseline="0" noProof="0" smtClean="0">
                <a:solidFill>
                  <a:schemeClr val="tx1"/>
                </a:solidFill>
              </a:rPr>
              <a:pPr marL="93616" indent="-93616" algn="r">
                <a:buClr>
                  <a:schemeClr val="accent2"/>
                </a:buClr>
                <a:buFont typeface="Arial" pitchFamily="34" charset="0"/>
                <a:buNone/>
              </a:pPr>
              <a:t>‹#›</a:t>
            </a:fld>
            <a:endParaRPr lang="en-US" sz="800" noProof="0" dirty="0" smtClean="0">
              <a:solidFill>
                <a:schemeClr val="tx1"/>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1"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1" y="324000"/>
            <a:ext cx="5311198" cy="756000"/>
          </a:xfrm>
          <a:prstGeom prst="rect">
            <a:avLst/>
          </a:prstGeom>
        </p:spPr>
        <p:txBody>
          <a:bodyPr vert="horz" lIns="0" tIns="0" rIns="0" bIns="0" rtlCol="0" anchor="ctr" anchorCtr="0">
            <a:noAutofit/>
          </a:bodyPr>
          <a:lstStyle/>
          <a:p>
            <a:pPr algn="l" defTabSz="913936"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3 SAP AG. All rights reserved.</a:t>
            </a:r>
          </a:p>
        </p:txBody>
      </p:sp>
      <p:sp>
        <p:nvSpPr>
          <p:cNvPr id="5" name="TextBox 4"/>
          <p:cNvSpPr txBox="1"/>
          <p:nvPr userDrawn="1"/>
        </p:nvSpPr>
        <p:spPr bwMode="gray">
          <a:xfrm>
            <a:off x="324000" y="1692003"/>
            <a:ext cx="8404364" cy="2308324"/>
          </a:xfrm>
          <a:prstGeom prst="rect">
            <a:avLst/>
          </a:prstGeom>
          <a:noFill/>
        </p:spPr>
        <p:txBody>
          <a:bodyPr wrap="square" lIns="0" tIns="0" rIns="0" bIns="0" rtlCol="0">
            <a:spAutoFit/>
          </a:bodyPr>
          <a:lstStyle/>
          <a:p>
            <a:pPr marL="0" indent="0" algn="l" defTabSz="913936"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The information contained herein may be changed without prior notice.</a:t>
            </a:r>
          </a:p>
          <a:p>
            <a:pPr marL="0" indent="0" algn="l" defTabSz="913936"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3936"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National product specifications may vary.</a:t>
            </a:r>
          </a:p>
          <a:p>
            <a:pPr marL="0" indent="0" algn="l" defTabSz="913936"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marL="0" indent="0" algn="l" defTabSz="913936" rtl="0" eaLnBrk="1" latinLnBrk="0" hangingPunct="1">
              <a:lnSpc>
                <a:spcPct val="100000"/>
              </a:lnSpc>
              <a:spcBef>
                <a:spcPts val="1200"/>
              </a:spcBef>
            </a:pPr>
            <a:r>
              <a:rPr lang="en-US" sz="1000" kern="1200" noProof="1" smtClean="0">
                <a:solidFill>
                  <a:schemeClr val="tx1"/>
                </a:solidFill>
                <a:latin typeface="Arial"/>
                <a:ea typeface="MS PGothic" pitchFamily="34" charset="-128"/>
                <a:cs typeface="+mn-cs"/>
              </a:rPr>
              <a:t>SAP and other SAP products and services mentioned herein as well as their respective logos are trademarks or registered trademarks of SAP AG in Germany and other countries.  </a:t>
            </a:r>
            <a:br>
              <a:rPr lang="en-US" sz="1000" kern="1200" noProof="1" smtClean="0">
                <a:solidFill>
                  <a:schemeClr val="tx1"/>
                </a:solidFill>
                <a:latin typeface="Arial"/>
                <a:ea typeface="MS PGothic" pitchFamily="34" charset="-128"/>
                <a:cs typeface="+mn-cs"/>
              </a:rPr>
            </a:br>
            <a:r>
              <a:rPr lang="en-US" sz="1000" kern="1200" noProof="1" smtClean="0">
                <a:solidFill>
                  <a:schemeClr val="tx1"/>
                </a:solidFill>
                <a:latin typeface="Arial"/>
                <a:ea typeface="MS PGothic" pitchFamily="34" charset="-128"/>
                <a:cs typeface="+mn-cs"/>
              </a:rPr>
              <a:t>Please see </a:t>
            </a:r>
            <a:r>
              <a:rPr lang="en-US" sz="1000" kern="1200" noProof="1" smtClean="0">
                <a:solidFill>
                  <a:schemeClr val="tx1"/>
                </a:solidFill>
                <a:latin typeface="Arial"/>
                <a:ea typeface="MS PGothic" pitchFamily="34" charset="-128"/>
                <a:cs typeface="+mn-cs"/>
                <a:hlinkClick r:id="rId2"/>
              </a:rPr>
              <a:t>http://www.sap.com/corporate-en/legal/copyright/index.epx#trademark</a:t>
            </a:r>
            <a:r>
              <a:rPr lang="en-US" sz="1000" kern="1200" noProof="1" smtClean="0">
                <a:solidFill>
                  <a:schemeClr val="tx1"/>
                </a:solidFill>
                <a:latin typeface="Arial"/>
                <a:ea typeface="MS PGothic" pitchFamily="34" charset="-128"/>
                <a:cs typeface="+mn-cs"/>
              </a:rPr>
              <a:t> for additional trademark information and notices.</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3936"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3 SAP AG. Alle Rechte vorbehalten.</a:t>
            </a:r>
          </a:p>
        </p:txBody>
      </p:sp>
      <p:sp>
        <p:nvSpPr>
          <p:cNvPr id="6" name="TextBox 5"/>
          <p:cNvSpPr txBox="1"/>
          <p:nvPr userDrawn="1"/>
        </p:nvSpPr>
        <p:spPr bwMode="gray">
          <a:xfrm>
            <a:off x="324000" y="1692003"/>
            <a:ext cx="8404364" cy="2616101"/>
          </a:xfrm>
          <a:prstGeom prst="rect">
            <a:avLst/>
          </a:prstGeom>
          <a:noFill/>
        </p:spPr>
        <p:txBody>
          <a:bodyPr wrap="square" lIns="0" tIns="0" rIns="0" bIns="0" rtlCol="0">
            <a:spAutoFit/>
          </a:bodyPr>
          <a:lstStyle/>
          <a:p>
            <a:pPr marL="0" indent="0" algn="l" defTabSz="913936"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3936"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Einige der von der SAP AG und ihren Distributoren vermarkteten Softwareprodukte enthalten proprietäre Softwarekomponenten anderer Softwareanbieter.</a:t>
            </a:r>
          </a:p>
          <a:p>
            <a:pPr marL="0" indent="0" algn="l" defTabSz="913936"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Produkte können länderspezifische Unterschiede aufweisen.</a:t>
            </a:r>
          </a:p>
          <a:p>
            <a:pPr marL="0" indent="0" algn="l" defTabSz="913936"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marL="0" indent="0" algn="l" defTabSz="913936" rtl="0" eaLnBrk="1" latinLnBrk="0" hangingPunct="1">
              <a:lnSpc>
                <a:spcPct val="100000"/>
              </a:lnSpc>
              <a:spcBef>
                <a:spcPts val="1200"/>
              </a:spcBef>
            </a:pPr>
            <a:r>
              <a:rPr lang="de-DE" sz="1000" kern="1200" noProof="1" smtClean="0">
                <a:solidFill>
                  <a:schemeClr val="tx1"/>
                </a:solidFill>
                <a:latin typeface="Arial"/>
                <a:ea typeface="MS PGothic" pitchFamily="34" charset="-128"/>
                <a:cs typeface="+mn-cs"/>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lang="de-DE" sz="1000" kern="1200" noProof="1" smtClean="0">
                <a:solidFill>
                  <a:schemeClr val="tx1"/>
                </a:solidFill>
                <a:latin typeface="Arial"/>
                <a:ea typeface="MS PGothic" pitchFamily="34" charset="-128"/>
                <a:cs typeface="+mn-cs"/>
                <a:hlinkClick r:id="rId2"/>
              </a:rPr>
              <a:t>http://www.sap.com/corporate-en/legal/copyright/index.epx#trademark</a:t>
            </a:r>
            <a:r>
              <a:rPr lang="de-DE" sz="1000" kern="1200" noProof="1" smtClean="0">
                <a:solidFill>
                  <a:schemeClr val="tx1"/>
                </a:solidFill>
                <a:latin typeface="Arial"/>
                <a:ea typeface="MS PGothic" pitchFamily="34" charset="-128"/>
                <a:cs typeface="+mn-cs"/>
              </a:rPr>
              <a:t>.</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1" y="324003"/>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extLst>
      <p:ext uri="{BB962C8B-B14F-4D97-AF65-F5344CB8AC3E}">
        <p14:creationId xmlns:p14="http://schemas.microsoft.com/office/powerpoint/2010/main" val="407511141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1"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extLst>
      <p:ext uri="{BB962C8B-B14F-4D97-AF65-F5344CB8AC3E}">
        <p14:creationId xmlns:p14="http://schemas.microsoft.com/office/powerpoint/2010/main" val="265979753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1" y="324003"/>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extLst>
      <p:ext uri="{BB962C8B-B14F-4D97-AF65-F5344CB8AC3E}">
        <p14:creationId xmlns:p14="http://schemas.microsoft.com/office/powerpoint/2010/main" val="141663177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1"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extLst>
      <p:ext uri="{BB962C8B-B14F-4D97-AF65-F5344CB8AC3E}">
        <p14:creationId xmlns:p14="http://schemas.microsoft.com/office/powerpoint/2010/main" val="18562939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3"/>
            <a:ext cx="8496000" cy="2295525"/>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3"/>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6"/>
            <a:ext cx="916953" cy="454025"/>
          </a:xfrm>
          <a:prstGeom prst="rect">
            <a:avLst/>
          </a:prstGeom>
        </p:spPr>
      </p:pic>
    </p:spTree>
    <p:extLst>
      <p:ext uri="{BB962C8B-B14F-4D97-AF65-F5344CB8AC3E}">
        <p14:creationId xmlns:p14="http://schemas.microsoft.com/office/powerpoint/2010/main" val="6644960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3744"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3"/>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6"/>
            <a:ext cx="916953" cy="454025"/>
          </a:xfrm>
          <a:prstGeom prst="rect">
            <a:avLst/>
          </a:prstGeom>
        </p:spPr>
      </p:pic>
    </p:spTree>
    <p:extLst>
      <p:ext uri="{BB962C8B-B14F-4D97-AF65-F5344CB8AC3E}">
        <p14:creationId xmlns:p14="http://schemas.microsoft.com/office/powerpoint/2010/main" val="23353434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1" y="478634"/>
            <a:ext cx="1832305" cy="907257"/>
          </a:xfrm>
          <a:prstGeom prst="rect">
            <a:avLst/>
          </a:prstGeom>
        </p:spPr>
      </p:pic>
    </p:spTree>
    <p:extLst>
      <p:ext uri="{BB962C8B-B14F-4D97-AF65-F5344CB8AC3E}">
        <p14:creationId xmlns:p14="http://schemas.microsoft.com/office/powerpoint/2010/main" val="14830826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1" y="1692003"/>
            <a:ext cx="8494713" cy="3831818"/>
          </a:xfrm>
        </p:spPr>
        <p:txBody>
          <a:bodyPr>
            <a:noAutofit/>
          </a:bodyPr>
          <a:lstStyle>
            <a:lvl1pPr marL="0" marR="0" indent="0" algn="l" defTabSz="913936" rtl="0" eaLnBrk="1" fontAlgn="auto" latinLnBrk="0" hangingPunct="1">
              <a:lnSpc>
                <a:spcPct val="100000"/>
              </a:lnSpc>
              <a:spcBef>
                <a:spcPts val="1200"/>
              </a:spcBef>
              <a:spcAft>
                <a:spcPts val="0"/>
              </a:spcAft>
              <a:buClr>
                <a:schemeClr val="accent1"/>
              </a:buClr>
              <a:buSzPct val="80000"/>
              <a:buFontTx/>
              <a:buNone/>
              <a:tabLst/>
              <a:defRPr b="0"/>
            </a:lvl1pPr>
            <a:lvl2pPr marL="269862" marR="0" indent="-179908" algn="l" defTabSz="913936"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49772" marR="0" indent="-180882" algn="l" defTabSz="913936"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129" marR="0" indent="-177710" algn="l" defTabSz="913936"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62968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extLst>
      <p:ext uri="{BB962C8B-B14F-4D97-AF65-F5344CB8AC3E}">
        <p14:creationId xmlns:p14="http://schemas.microsoft.com/office/powerpoint/2010/main" val="418823719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1" y="324003"/>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184059495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8601917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002"/>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2"/>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0564109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1"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2002"/>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653948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90"/>
            <a:ext cx="3078000" cy="4391025"/>
          </a:xfrm>
          <a:solidFill>
            <a:schemeClr val="bg1">
              <a:lumMod val="95000"/>
            </a:schemeClr>
          </a:solidFill>
        </p:spPr>
        <p:txBody>
          <a:bodyPr tIns="1295341"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90"/>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6969171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3"/>
            <a:ext cx="4165200" cy="4392000"/>
          </a:xfrm>
          <a:solidFill>
            <a:schemeClr val="bg1">
              <a:lumMod val="95000"/>
            </a:schemeClr>
          </a:solidFill>
        </p:spPr>
        <p:txBody>
          <a:bodyPr vert="horz" lIns="0" tIns="1295341" rIns="0" bIns="0" rtlCol="0" anchor="t" anchorCtr="0">
            <a:noAutofit/>
          </a:bodyPr>
          <a:lstStyle>
            <a:lvl1pPr marL="0" indent="0" algn="ctr" defTabSz="913936"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3"/>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46347287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3"/>
            <a:ext cx="5238000" cy="4392000"/>
          </a:xfrm>
          <a:solidFill>
            <a:schemeClr val="bg1">
              <a:lumMod val="95000"/>
            </a:schemeClr>
          </a:solidFill>
        </p:spPr>
        <p:txBody>
          <a:bodyPr vert="horz" lIns="0" tIns="1295341" rIns="0" bIns="0" rtlCol="0" anchor="t" anchorCtr="0">
            <a:noAutofit/>
          </a:bodyPr>
          <a:lstStyle>
            <a:lvl1pPr marL="0" indent="0" algn="ctr" defTabSz="913936"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3"/>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78831241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3"/>
            <a:ext cx="4165200" cy="2508223"/>
          </a:xfrm>
          <a:solidFill>
            <a:schemeClr val="bg1">
              <a:lumMod val="95000"/>
            </a:schemeClr>
          </a:solidFill>
        </p:spPr>
        <p:txBody>
          <a:bodyPr tIns="503744"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3"/>
            <a:ext cx="4165200" cy="2508223"/>
          </a:xfrm>
          <a:solidFill>
            <a:schemeClr val="bg1">
              <a:lumMod val="95000"/>
            </a:schemeClr>
          </a:solidFill>
        </p:spPr>
        <p:txBody>
          <a:bodyPr tIns="503744" anchor="t" anchorCtr="0"/>
          <a:lstStyle>
            <a:lvl1pPr algn="ctr">
              <a:defRPr b="0"/>
            </a:lvl1pPr>
          </a:lstStyle>
          <a:p>
            <a:r>
              <a:rPr lang="en-US" smtClean="0"/>
              <a:t>Click icon to add picture</a:t>
            </a:r>
            <a:endParaRPr lang="de-DE" dirty="0"/>
          </a:p>
        </p:txBody>
      </p:sp>
    </p:spTree>
    <p:extLst>
      <p:ext uri="{BB962C8B-B14F-4D97-AF65-F5344CB8AC3E}">
        <p14:creationId xmlns:p14="http://schemas.microsoft.com/office/powerpoint/2010/main" val="292015941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91"/>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extLst>
      <p:ext uri="{BB962C8B-B14F-4D97-AF65-F5344CB8AC3E}">
        <p14:creationId xmlns:p14="http://schemas.microsoft.com/office/powerpoint/2010/main" val="4756573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1" y="1692000"/>
            <a:ext cx="8494713" cy="2816156"/>
          </a:xfrm>
        </p:spPr>
        <p:txBody>
          <a:bodyPr>
            <a:noAutofit/>
          </a:bodyPr>
          <a:lstStyle>
            <a:lvl1pPr>
              <a:spcBef>
                <a:spcPts val="1799"/>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250238005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
        <p:nvSpPr>
          <p:cNvPr id="6" name="Subtitle 2"/>
          <p:cNvSpPr>
            <a:spLocks noGrp="1"/>
          </p:cNvSpPr>
          <p:nvPr>
            <p:ph type="subTitle" idx="1" hasCustomPrompt="1"/>
          </p:nvPr>
        </p:nvSpPr>
        <p:spPr bwMode="gray">
          <a:xfrm>
            <a:off x="414001" y="1499873"/>
            <a:ext cx="6840000" cy="492443"/>
          </a:xfrm>
        </p:spPr>
        <p:txBody>
          <a:bodyPr anchor="t" anchorCtr="0">
            <a:noAutofit/>
          </a:bodyPr>
          <a:lstStyle>
            <a:lvl1pPr marL="0" marR="0" indent="0" algn="l" defTabSz="913936"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967" indent="0" algn="ctr">
              <a:buNone/>
              <a:defRPr>
                <a:solidFill>
                  <a:schemeClr val="tx1">
                    <a:tint val="75000"/>
                  </a:schemeClr>
                </a:solidFill>
              </a:defRPr>
            </a:lvl2pPr>
            <a:lvl3pPr marL="913936" indent="0" algn="ctr">
              <a:buNone/>
              <a:defRPr>
                <a:solidFill>
                  <a:schemeClr val="tx1">
                    <a:tint val="75000"/>
                  </a:schemeClr>
                </a:solidFill>
              </a:defRPr>
            </a:lvl3pPr>
            <a:lvl4pPr marL="1370904" indent="0" algn="ctr">
              <a:buNone/>
              <a:defRPr>
                <a:solidFill>
                  <a:schemeClr val="tx1">
                    <a:tint val="75000"/>
                  </a:schemeClr>
                </a:solidFill>
              </a:defRPr>
            </a:lvl4pPr>
            <a:lvl5pPr marL="1827872" indent="0" algn="ctr">
              <a:buNone/>
              <a:defRPr>
                <a:solidFill>
                  <a:schemeClr val="tx1">
                    <a:tint val="75000"/>
                  </a:schemeClr>
                </a:solidFill>
              </a:defRPr>
            </a:lvl5pPr>
            <a:lvl6pPr marL="2284840" indent="0" algn="ctr">
              <a:buNone/>
              <a:defRPr>
                <a:solidFill>
                  <a:schemeClr val="tx1">
                    <a:tint val="75000"/>
                  </a:schemeClr>
                </a:solidFill>
              </a:defRPr>
            </a:lvl6pPr>
            <a:lvl7pPr marL="2741808" indent="0" algn="ctr">
              <a:buNone/>
              <a:defRPr>
                <a:solidFill>
                  <a:schemeClr val="tx1">
                    <a:tint val="75000"/>
                  </a:schemeClr>
                </a:solidFill>
              </a:defRPr>
            </a:lvl7pPr>
            <a:lvl8pPr marL="3198776" indent="0" algn="ctr">
              <a:buNone/>
              <a:defRPr>
                <a:solidFill>
                  <a:schemeClr val="tx1">
                    <a:tint val="75000"/>
                  </a:schemeClr>
                </a:solidFill>
              </a:defRPr>
            </a:lvl8pPr>
            <a:lvl9pPr marL="3655743"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414001"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26676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3"/>
            <a:ext cx="4165200" cy="4201150"/>
          </a:xfrm>
          <a:prstGeom prst="rect">
            <a:avLst/>
          </a:prstGeom>
          <a:noFill/>
        </p:spPr>
        <p:txBody>
          <a:bodyPr wrap="square" lIns="0" tIns="0" rIns="0" bIns="0" rtlCol="0">
            <a:spAutoFit/>
          </a:bodyPr>
          <a:lstStyle/>
          <a:p>
            <a:pPr>
              <a:spcBef>
                <a:spcPts val="400"/>
              </a:spcBef>
            </a:pPr>
            <a:r>
              <a:rPr lang="en-GB" sz="9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Some software products marketed by SAP AG and its distributors contain proprietary software components of other software vendor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Microsoft, Windows, Excel, Outlook, and PowerPoint are registered trademarks of Microsoft Corporation. </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Linux is the registered trademark of Linus Torvalds in the U.S. and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Oracle and Java are registered trademarks of Oracle and/or its affiliates.</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UNIX, X/Open, OSF/1, and Motif are registered trademarks of the Open Group.</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Citrix, ICA, Program Neighborhood, MetaFrame, WinFrame, VideoFrame, and MultiWin are trademarks or registered trademarks of Citrix Systems, Inc.</a:t>
            </a:r>
            <a:endParaRPr sz="900" noProof="1" smtClean="0">
              <a:solidFill>
                <a:srgbClr val="000000"/>
              </a:solidFill>
              <a:ea typeface="MS PGothic" pitchFamily="34" charset="-128"/>
            </a:endParaRPr>
          </a:p>
          <a:p>
            <a:pPr>
              <a:spcBef>
                <a:spcPts val="400"/>
              </a:spcBef>
            </a:pPr>
            <a:r>
              <a:rPr lang="en-GB" sz="900" noProof="1" smtClean="0">
                <a:solidFill>
                  <a:srgbClr val="000000"/>
                </a:solidFill>
                <a:ea typeface="MS PGothic" pitchFamily="34" charset="-128"/>
              </a:rPr>
              <a:t>HTML, XML, XHTML and W3C are trademarks or registered trademarks of W3C</a:t>
            </a:r>
            <a:r>
              <a:rPr lang="en-GB" sz="900" baseline="30000" noProof="1" smtClean="0">
                <a:solidFill>
                  <a:srgbClr val="000000"/>
                </a:solidFill>
                <a:ea typeface="MS PGothic" pitchFamily="34" charset="-128"/>
              </a:rPr>
              <a:t>®</a:t>
            </a:r>
            <a:r>
              <a:rPr lang="en-GB" sz="900" noProof="1" smtClean="0">
                <a:solidFill>
                  <a:srgbClr val="000000"/>
                </a:solidFill>
                <a:ea typeface="MS PGothic" pitchFamily="34" charset="-128"/>
              </a:rPr>
              <a:t>, World Wide Web Consortium, Massachusetts Institute of Technology. </a:t>
            </a:r>
            <a:endParaRPr sz="900" noProof="1" smtClean="0">
              <a:solidFill>
                <a:srgbClr val="000000"/>
              </a:solidFill>
              <a:ea typeface="MS PGothic" pitchFamily="34" charset="-128"/>
            </a:endParaRPr>
          </a:p>
        </p:txBody>
      </p:sp>
      <p:sp>
        <p:nvSpPr>
          <p:cNvPr id="11" name="TextBox 10"/>
          <p:cNvSpPr txBox="1"/>
          <p:nvPr userDrawn="1"/>
        </p:nvSpPr>
        <p:spPr bwMode="gray">
          <a:xfrm>
            <a:off x="324001"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1 SAP AG. All rights reserved.</a:t>
            </a:r>
          </a:p>
        </p:txBody>
      </p:sp>
      <p:sp>
        <p:nvSpPr>
          <p:cNvPr id="6" name="TextBox 5"/>
          <p:cNvSpPr txBox="1"/>
          <p:nvPr userDrawn="1"/>
        </p:nvSpPr>
        <p:spPr bwMode="gray">
          <a:xfrm>
            <a:off x="4654800" y="1692003"/>
            <a:ext cx="4165200" cy="3077766"/>
          </a:xfrm>
          <a:prstGeom prst="rect">
            <a:avLst/>
          </a:prstGeom>
          <a:noFill/>
        </p:spPr>
        <p:txBody>
          <a:bodyPr wrap="square" lIns="0" tIns="0" rIns="0" bIns="0" rtlCol="0">
            <a:spAutoFit/>
          </a:bodyPr>
          <a:lstStyle/>
          <a:p>
            <a:pPr fontAlgn="t">
              <a:spcBef>
                <a:spcPts val="600"/>
              </a:spcBef>
              <a:defRPr/>
            </a:pPr>
            <a:r>
              <a:rPr lang="en-US" sz="9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p>
          <a:p>
            <a:pPr fontAlgn="t">
              <a:spcBef>
                <a:spcPts val="600"/>
              </a:spcBef>
            </a:pPr>
            <a:r>
              <a:rPr lang="en-US" sz="9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a:t>
            </a:r>
            <a:br>
              <a:rPr lang="en-US" sz="900" noProof="1" smtClean="0">
                <a:solidFill>
                  <a:srgbClr val="000000"/>
                </a:solidFill>
                <a:ea typeface="MS PGothic" pitchFamily="34" charset="-128"/>
              </a:rPr>
            </a:br>
            <a:r>
              <a:rPr lang="en-US" sz="900" noProof="1" smtClean="0">
                <a:solidFill>
                  <a:srgbClr val="000000"/>
                </a:solidFill>
                <a:ea typeface="MS PGothic" pitchFamily="34" charset="-128"/>
              </a:rPr>
              <a:t>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900" noProof="1" smtClean="0">
              <a:solidFill>
                <a:srgbClr val="000000"/>
              </a:solidFill>
              <a:ea typeface="MS PGothic" pitchFamily="34" charset="-128"/>
            </a:endParaRPr>
          </a:p>
          <a:p>
            <a:pPr>
              <a:spcBef>
                <a:spcPts val="600"/>
              </a:spcBef>
            </a:pPr>
            <a:r>
              <a:rPr lang="en-GB" sz="9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900" noProof="1" smtClean="0">
              <a:solidFill>
                <a:srgbClr val="000000"/>
              </a:solidFill>
              <a:ea typeface="MS PGothic" pitchFamily="34" charset="-128"/>
            </a:endParaRPr>
          </a:p>
          <a:p>
            <a:pPr>
              <a:spcBef>
                <a:spcPts val="600"/>
              </a:spcBef>
            </a:pPr>
            <a:r>
              <a:rPr lang="en-US" sz="9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900" noProof="1">
              <a:solidFill>
                <a:srgbClr val="000000"/>
              </a:solidFill>
              <a:ea typeface="MS PGothic" pitchFamily="34" charset="-128"/>
            </a:endParaRPr>
          </a:p>
        </p:txBody>
      </p:sp>
    </p:spTree>
    <p:extLst>
      <p:ext uri="{BB962C8B-B14F-4D97-AF65-F5344CB8AC3E}">
        <p14:creationId xmlns:p14="http://schemas.microsoft.com/office/powerpoint/2010/main" val="146392951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1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a:spcBef>
                <a:spcPts val="400"/>
              </a:spcBef>
            </a:pPr>
            <a:r>
              <a:rPr sz="9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400"/>
              </a:spcBef>
            </a:pPr>
            <a:r>
              <a:rPr sz="900" noProof="1" smtClean="0">
                <a:solidFill>
                  <a:srgbClr val="000000"/>
                </a:solidFill>
                <a:ea typeface="MS PGothic" pitchFamily="34" charset="-128"/>
              </a:rPr>
              <a:t>Die von SAP AG oder deren Vertriebsfirmen angebotenen Softwareprodukte können Softwarekomponenten auch anderer Softwarehersteller enthalten.</a:t>
            </a:r>
          </a:p>
          <a:p>
            <a:pPr>
              <a:spcBef>
                <a:spcPts val="400"/>
              </a:spcBef>
            </a:pPr>
            <a:r>
              <a:rPr lang="en-US" sz="900" noProof="1" smtClean="0">
                <a:solidFill>
                  <a:srgbClr val="000000"/>
                </a:solidFill>
                <a:ea typeface="MS PGothic" pitchFamily="34" charset="-128"/>
              </a:rPr>
              <a:t>Microsoft, Windows, Excel, Outlook, und PowerPoint sind eingetragene Marken der Microsoft Corporation. </a:t>
            </a:r>
            <a:endParaRPr sz="900" noProof="1" smtClean="0">
              <a:solidFill>
                <a:srgbClr val="000000"/>
              </a:solidFill>
              <a:ea typeface="MS PGothic" pitchFamily="34" charset="-128"/>
            </a:endParaRPr>
          </a:p>
          <a:p>
            <a:pPr>
              <a:spcBef>
                <a:spcPts val="400"/>
              </a:spcBef>
            </a:pPr>
            <a:r>
              <a:rPr lang="en-US" sz="9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sz="900" noProof="1" smtClean="0">
              <a:solidFill>
                <a:srgbClr val="000000"/>
              </a:solidFill>
              <a:ea typeface="MS PGothic" pitchFamily="34" charset="-128"/>
            </a:endParaRPr>
          </a:p>
          <a:p>
            <a:pPr>
              <a:spcBef>
                <a:spcPts val="400"/>
              </a:spcBef>
            </a:pPr>
            <a:r>
              <a:rPr sz="900" noProof="1" smtClean="0">
                <a:solidFill>
                  <a:srgbClr val="000000"/>
                </a:solidFill>
                <a:ea typeface="MS PGothic" pitchFamily="34" charset="-128"/>
              </a:rPr>
              <a:t>Linux ist eine eingetragene Marke von Linus Torvalds in den USA und anderen Ländern.</a:t>
            </a:r>
          </a:p>
          <a:p>
            <a:pPr>
              <a:spcBef>
                <a:spcPts val="400"/>
              </a:spcBef>
            </a:pPr>
            <a:r>
              <a:rPr sz="900" noProof="1" smtClean="0">
                <a:solidFill>
                  <a:srgbClr val="000000"/>
                </a:solidFill>
                <a:ea typeface="MS PGothic" pitchFamily="34" charset="-128"/>
              </a:rPr>
              <a:t>Adobe, das Adobe-Logo, Acrobat, PostScript und Reader sind Marken oder eingetragene Marken von Adobe Systems Incorporated in den USA und/oder anderen Ländern.</a:t>
            </a:r>
          </a:p>
          <a:p>
            <a:pPr>
              <a:spcBef>
                <a:spcPts val="400"/>
              </a:spcBef>
            </a:pPr>
            <a:r>
              <a:rPr sz="900" noProof="1" smtClean="0">
                <a:solidFill>
                  <a:srgbClr val="000000"/>
                </a:solidFill>
                <a:ea typeface="MS PGothic" pitchFamily="34" charset="-128"/>
              </a:rPr>
              <a:t>Oracle und Java sind eingetragene Marken von Oracle und/oder ihrer Tochtergesellschaften.</a:t>
            </a:r>
          </a:p>
          <a:p>
            <a:pPr>
              <a:spcBef>
                <a:spcPts val="400"/>
              </a:spcBef>
            </a:pPr>
            <a:r>
              <a:rPr sz="900" noProof="1" smtClean="0">
                <a:solidFill>
                  <a:srgbClr val="000000"/>
                </a:solidFill>
                <a:ea typeface="MS PGothic" pitchFamily="34" charset="-128"/>
              </a:rPr>
              <a:t>UNIX, X/Open, OSF/1 und Motif sind eingetragene Marken der Open Group.</a:t>
            </a:r>
          </a:p>
          <a:p>
            <a:pPr>
              <a:spcBef>
                <a:spcPts val="400"/>
              </a:spcBef>
            </a:pPr>
            <a:r>
              <a:rPr sz="900" noProof="1" smtClean="0">
                <a:solidFill>
                  <a:srgbClr val="000000"/>
                </a:solidFill>
                <a:ea typeface="MS PGothic" pitchFamily="34" charset="-128"/>
              </a:rPr>
              <a:t>Citrix, ICA, Program Neighborhood, MetaFrame, WinFrame, VideoFrame und MultiWin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a:spcBef>
                <a:spcPts val="400"/>
              </a:spcBef>
              <a:defRPr/>
            </a:pPr>
            <a:r>
              <a:rPr sz="900" noProof="1" smtClean="0">
                <a:solidFill>
                  <a:srgbClr val="000000"/>
                </a:solidFill>
                <a:ea typeface="MS PGothic" pitchFamily="34" charset="-128"/>
              </a:rPr>
              <a:t>HTML, XML, XHTML und W3C sind Marken oder eingetragene Marken des W3C</a:t>
            </a:r>
            <a:r>
              <a:rPr sz="900" baseline="30000" noProof="1" smtClean="0">
                <a:solidFill>
                  <a:srgbClr val="000000"/>
                </a:solidFill>
                <a:ea typeface="MS PGothic" pitchFamily="34" charset="-128"/>
              </a:rPr>
              <a:t>®</a:t>
            </a:r>
            <a:r>
              <a:rPr sz="900" noProof="1" smtClean="0">
                <a:solidFill>
                  <a:srgbClr val="000000"/>
                </a:solidFill>
                <a:ea typeface="MS PGothic" pitchFamily="34" charset="-128"/>
              </a:rPr>
              <a:t>, World Wide Web Consortium, Massachusetts Institute of Technology.</a:t>
            </a:r>
          </a:p>
          <a:p>
            <a:pPr>
              <a:spcBef>
                <a:spcPts val="400"/>
              </a:spcBef>
            </a:pPr>
            <a:r>
              <a:rPr sz="900" noProof="1" smtClean="0">
                <a:solidFill>
                  <a:srgbClr val="000000"/>
                </a:solidFill>
                <a:ea typeface="MS PGothic" pitchFamily="34" charset="-128"/>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fontAlgn="t">
              <a:spcBef>
                <a:spcPts val="400"/>
              </a:spcBef>
            </a:pPr>
            <a:r>
              <a:rPr sz="9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a:spcBef>
                <a:spcPts val="400"/>
              </a:spcBef>
            </a:pPr>
            <a:r>
              <a:rPr sz="9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SAP AG.</a:t>
            </a:r>
          </a:p>
          <a:p>
            <a:pPr>
              <a:spcBef>
                <a:spcPts val="400"/>
              </a:spcBef>
            </a:pPr>
            <a:r>
              <a:rPr sz="9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a:spcBef>
                <a:spcPts val="400"/>
              </a:spcBef>
            </a:pPr>
            <a:r>
              <a:rPr sz="9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a:spcBef>
                <a:spcPts val="400"/>
              </a:spcBef>
            </a:pPr>
            <a:endParaRPr sz="900" noProof="1">
              <a:solidFill>
                <a:srgbClr val="000000"/>
              </a:solidFill>
              <a:ea typeface="MS PGothic" pitchFamily="34" charset="-128"/>
            </a:endParaRPr>
          </a:p>
        </p:txBody>
      </p:sp>
    </p:spTree>
    <p:extLst>
      <p:ext uri="{BB962C8B-B14F-4D97-AF65-F5344CB8AC3E}">
        <p14:creationId xmlns:p14="http://schemas.microsoft.com/office/powerpoint/2010/main" val="184920416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48400" y="201600"/>
            <a:ext cx="7160400" cy="716400"/>
          </a:xfrm>
          <a:prstGeom prst="rect">
            <a:avLst/>
          </a:prstGeom>
        </p:spPr>
        <p:txBody>
          <a:bodyPr/>
          <a:lstStyle>
            <a:lvl1pPr>
              <a:defRPr/>
            </a:lvl1pPr>
          </a:lstStyle>
          <a:p>
            <a:r>
              <a:rPr lang="de-DE" noProof="0" smtClean="0"/>
              <a:t>Titelmasterformat durch Klicken bearbeiten</a:t>
            </a:r>
            <a:endParaRPr lang="de-DE" dirty="0"/>
          </a:p>
        </p:txBody>
      </p:sp>
    </p:spTree>
    <p:extLst>
      <p:ext uri="{BB962C8B-B14F-4D97-AF65-F5344CB8AC3E}">
        <p14:creationId xmlns:p14="http://schemas.microsoft.com/office/powerpoint/2010/main" val="73838611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48400" y="201603"/>
            <a:ext cx="7160400" cy="392760"/>
          </a:xfrm>
          <a:prstGeom prst="rect">
            <a:avLst/>
          </a:prstGeom>
        </p:spPr>
        <p:txBody>
          <a:bodyPr lIns="0"/>
          <a:lstStyle>
            <a:lvl1pPr>
              <a:defRPr>
                <a:solidFill>
                  <a:schemeClr val="accent1"/>
                </a:solidFill>
              </a:defRPr>
            </a:lvl1pPr>
          </a:lstStyle>
          <a:p>
            <a:r>
              <a:rPr lang="en-US" noProof="0" dirty="0" smtClean="0"/>
              <a:t>Click to Add Title (Title Case)</a:t>
            </a:r>
            <a:endParaRPr lang="de-DE" dirty="0"/>
          </a:p>
        </p:txBody>
      </p:sp>
      <p:sp>
        <p:nvSpPr>
          <p:cNvPr id="4" name="Text Placeholder 6"/>
          <p:cNvSpPr>
            <a:spLocks noGrp="1"/>
          </p:cNvSpPr>
          <p:nvPr>
            <p:ph type="body" sz="quarter" idx="12" hasCustomPrompt="1"/>
          </p:nvPr>
        </p:nvSpPr>
        <p:spPr>
          <a:xfrm>
            <a:off x="248400" y="648001"/>
            <a:ext cx="7160400" cy="312120"/>
          </a:xfrm>
        </p:spPr>
        <p:txBody>
          <a:bodyPr/>
          <a:lstStyle>
            <a:lvl1pPr>
              <a:defRPr>
                <a:solidFill>
                  <a:schemeClr val="bg1">
                    <a:lumMod val="50000"/>
                  </a:schemeClr>
                </a:solidFill>
              </a:defRPr>
            </a:lvl1pPr>
          </a:lstStyle>
          <a:p>
            <a:pPr lvl="0"/>
            <a:r>
              <a:rPr lang="en-US" dirty="0" smtClean="0"/>
              <a:t>Click to Add Subtitle</a:t>
            </a:r>
          </a:p>
        </p:txBody>
      </p:sp>
    </p:spTree>
    <p:extLst>
      <p:ext uri="{BB962C8B-B14F-4D97-AF65-F5344CB8AC3E}">
        <p14:creationId xmlns:p14="http://schemas.microsoft.com/office/powerpoint/2010/main" val="43911566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242937" y="0"/>
            <a:ext cx="8656646" cy="2143126"/>
          </a:xfrm>
          <a:prstGeom prst="rect">
            <a:avLst/>
          </a:prstGeom>
          <a:solidFill>
            <a:schemeClr val="bg1">
              <a:alpha val="75000"/>
            </a:schemeClr>
          </a:solidFill>
          <a:ln w="6350"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350908" y="324000"/>
            <a:ext cx="8440702" cy="923116"/>
          </a:xfrm>
        </p:spPr>
        <p:txBody>
          <a:bodyPr anchor="t" anchorCtr="0">
            <a:noAutofit/>
          </a:bodyPr>
          <a:lstStyle>
            <a:lvl1pPr>
              <a:defRPr sz="50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
        <p:nvSpPr>
          <p:cNvPr id="5" name="Rectangle 4"/>
          <p:cNvSpPr/>
          <p:nvPr userDrawn="1"/>
        </p:nvSpPr>
        <p:spPr bwMode="gray">
          <a:xfrm>
            <a:off x="242937" y="0"/>
            <a:ext cx="8656646" cy="162000"/>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782"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890" indent="0" algn="ctr">
              <a:buNone/>
              <a:defRPr>
                <a:solidFill>
                  <a:schemeClr val="tx1">
                    <a:tint val="75000"/>
                  </a:schemeClr>
                </a:solidFill>
              </a:defRPr>
            </a:lvl2pPr>
            <a:lvl3pPr marL="913782" indent="0" algn="ctr">
              <a:buNone/>
              <a:defRPr>
                <a:solidFill>
                  <a:schemeClr val="tx1">
                    <a:tint val="75000"/>
                  </a:schemeClr>
                </a:solidFill>
              </a:defRPr>
            </a:lvl3pPr>
            <a:lvl4pPr marL="1370672" indent="0" algn="ctr">
              <a:buNone/>
              <a:defRPr>
                <a:solidFill>
                  <a:schemeClr val="tx1">
                    <a:tint val="75000"/>
                  </a:schemeClr>
                </a:solidFill>
              </a:defRPr>
            </a:lvl4pPr>
            <a:lvl5pPr marL="1827563" indent="0" algn="ctr">
              <a:buNone/>
              <a:defRPr>
                <a:solidFill>
                  <a:schemeClr val="tx1">
                    <a:tint val="75000"/>
                  </a:schemeClr>
                </a:solidFill>
              </a:defRPr>
            </a:lvl5pPr>
            <a:lvl6pPr marL="2284453" indent="0" algn="ctr">
              <a:buNone/>
              <a:defRPr>
                <a:solidFill>
                  <a:schemeClr val="tx1">
                    <a:tint val="75000"/>
                  </a:schemeClr>
                </a:solidFill>
              </a:defRPr>
            </a:lvl6pPr>
            <a:lvl7pPr marL="2741344" indent="0" algn="ctr">
              <a:buNone/>
              <a:defRPr>
                <a:solidFill>
                  <a:schemeClr val="tx1">
                    <a:tint val="75000"/>
                  </a:schemeClr>
                </a:solidFill>
              </a:defRPr>
            </a:lvl7pPr>
            <a:lvl8pPr marL="3198235" indent="0" algn="ctr">
              <a:buNone/>
              <a:defRPr>
                <a:solidFill>
                  <a:schemeClr val="tx1">
                    <a:tint val="75000"/>
                  </a:schemeClr>
                </a:solidFill>
              </a:defRPr>
            </a:lvl8pPr>
            <a:lvl9pPr marL="365512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Tree>
    <p:extLst>
      <p:ext uri="{BB962C8B-B14F-4D97-AF65-F5344CB8AC3E}">
        <p14:creationId xmlns:p14="http://schemas.microsoft.com/office/powerpoint/2010/main" val="399779381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7" name="Rectangle 6"/>
          <p:cNvSpPr/>
          <p:nvPr userDrawn="1"/>
        </p:nvSpPr>
        <p:spPr bwMode="gray">
          <a:xfrm>
            <a:off x="242937" y="0"/>
            <a:ext cx="8656646" cy="2143126"/>
          </a:xfrm>
          <a:prstGeom prst="rect">
            <a:avLst/>
          </a:prstGeom>
          <a:solidFill>
            <a:schemeClr val="bg1">
              <a:alpha val="75000"/>
            </a:schemeClr>
          </a:solidFill>
          <a:ln w="6350"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0" name="Rectangle 9"/>
          <p:cNvSpPr/>
          <p:nvPr userDrawn="1"/>
        </p:nvSpPr>
        <p:spPr bwMode="gray">
          <a:xfrm>
            <a:off x="242937" y="0"/>
            <a:ext cx="8656646" cy="162000"/>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782"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890" indent="0" algn="ctr">
              <a:buNone/>
              <a:defRPr>
                <a:solidFill>
                  <a:schemeClr val="tx1">
                    <a:tint val="75000"/>
                  </a:schemeClr>
                </a:solidFill>
              </a:defRPr>
            </a:lvl2pPr>
            <a:lvl3pPr marL="913782" indent="0" algn="ctr">
              <a:buNone/>
              <a:defRPr>
                <a:solidFill>
                  <a:schemeClr val="tx1">
                    <a:tint val="75000"/>
                  </a:schemeClr>
                </a:solidFill>
              </a:defRPr>
            </a:lvl3pPr>
            <a:lvl4pPr marL="1370672" indent="0" algn="ctr">
              <a:buNone/>
              <a:defRPr>
                <a:solidFill>
                  <a:schemeClr val="tx1">
                    <a:tint val="75000"/>
                  </a:schemeClr>
                </a:solidFill>
              </a:defRPr>
            </a:lvl4pPr>
            <a:lvl5pPr marL="1827563" indent="0" algn="ctr">
              <a:buNone/>
              <a:defRPr>
                <a:solidFill>
                  <a:schemeClr val="tx1">
                    <a:tint val="75000"/>
                  </a:schemeClr>
                </a:solidFill>
              </a:defRPr>
            </a:lvl5pPr>
            <a:lvl6pPr marL="2284453" indent="0" algn="ctr">
              <a:buNone/>
              <a:defRPr>
                <a:solidFill>
                  <a:schemeClr val="tx1">
                    <a:tint val="75000"/>
                  </a:schemeClr>
                </a:solidFill>
              </a:defRPr>
            </a:lvl6pPr>
            <a:lvl7pPr marL="2741344" indent="0" algn="ctr">
              <a:buNone/>
              <a:defRPr>
                <a:solidFill>
                  <a:schemeClr val="tx1">
                    <a:tint val="75000"/>
                  </a:schemeClr>
                </a:solidFill>
              </a:defRPr>
            </a:lvl7pPr>
            <a:lvl8pPr marL="3198235" indent="0" algn="ctr">
              <a:buNone/>
              <a:defRPr>
                <a:solidFill>
                  <a:schemeClr val="tx1">
                    <a:tint val="75000"/>
                  </a:schemeClr>
                </a:solidFill>
              </a:defRPr>
            </a:lvl8pPr>
            <a:lvl9pPr marL="365512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350908" y="324000"/>
            <a:ext cx="8440702" cy="1107739"/>
          </a:xfrm>
        </p:spPr>
        <p:txBody>
          <a:bodyPr anchor="t" anchorCtr="0">
            <a:noAutofit/>
          </a:bodyPr>
          <a:lstStyle>
            <a:lvl1pPr>
              <a:defRPr sz="3000">
                <a:solidFill>
                  <a:sysClr val="windowText" lastClr="000000"/>
                </a:solidFill>
                <a:latin typeface="+mj-lt"/>
              </a:defRPr>
            </a:lvl1pPr>
          </a:lstStyle>
          <a:p>
            <a:r>
              <a:rPr lang="en-US" sz="3000" smtClean="0"/>
              <a:t>Alternate Presentation Title</a:t>
            </a:r>
            <a:br>
              <a:rPr lang="en-US" sz="3000" smtClean="0"/>
            </a:br>
            <a:r>
              <a:rPr lang="en-US" sz="3000" smtClean="0"/>
              <a:t>Breaks to Two Lines</a:t>
            </a:r>
            <a:endParaRPr lang="en-US" dirty="0"/>
          </a:p>
        </p:txBody>
      </p:sp>
      <p:pic>
        <p:nvPicPr>
          <p:cNvPr id="11" name="Picture 10"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Tree>
    <p:extLst>
      <p:ext uri="{BB962C8B-B14F-4D97-AF65-F5344CB8AC3E}">
        <p14:creationId xmlns:p14="http://schemas.microsoft.com/office/powerpoint/2010/main" val="168737238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0908" y="324000"/>
            <a:ext cx="8440702" cy="923116"/>
          </a:xfrm>
        </p:spPr>
        <p:txBody>
          <a:bodyPr anchor="t" anchorCtr="0">
            <a:noAutofit/>
          </a:bodyPr>
          <a:lstStyle>
            <a:lvl1pPr>
              <a:defRPr sz="5000">
                <a:solidFill>
                  <a:schemeClr val="tx1"/>
                </a:solidFill>
              </a:defRPr>
            </a:lvl1pPr>
          </a:lstStyle>
          <a:p>
            <a:r>
              <a:rPr lang="en-US" dirty="0" smtClean="0"/>
              <a:t>Short Presentation Title</a:t>
            </a:r>
            <a:endParaRPr lang="en-US" dirty="0"/>
          </a:p>
        </p:txBody>
      </p:sp>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782"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890" indent="0" algn="ctr">
              <a:buNone/>
              <a:defRPr>
                <a:solidFill>
                  <a:schemeClr val="tx1">
                    <a:tint val="75000"/>
                  </a:schemeClr>
                </a:solidFill>
              </a:defRPr>
            </a:lvl2pPr>
            <a:lvl3pPr marL="913782" indent="0" algn="ctr">
              <a:buNone/>
              <a:defRPr>
                <a:solidFill>
                  <a:schemeClr val="tx1">
                    <a:tint val="75000"/>
                  </a:schemeClr>
                </a:solidFill>
              </a:defRPr>
            </a:lvl3pPr>
            <a:lvl4pPr marL="1370672" indent="0" algn="ctr">
              <a:buNone/>
              <a:defRPr>
                <a:solidFill>
                  <a:schemeClr val="tx1">
                    <a:tint val="75000"/>
                  </a:schemeClr>
                </a:solidFill>
              </a:defRPr>
            </a:lvl4pPr>
            <a:lvl5pPr marL="1827563" indent="0" algn="ctr">
              <a:buNone/>
              <a:defRPr>
                <a:solidFill>
                  <a:schemeClr val="tx1">
                    <a:tint val="75000"/>
                  </a:schemeClr>
                </a:solidFill>
              </a:defRPr>
            </a:lvl5pPr>
            <a:lvl6pPr marL="2284453" indent="0" algn="ctr">
              <a:buNone/>
              <a:defRPr>
                <a:solidFill>
                  <a:schemeClr val="tx1">
                    <a:tint val="75000"/>
                  </a:schemeClr>
                </a:solidFill>
              </a:defRPr>
            </a:lvl6pPr>
            <a:lvl7pPr marL="2741344" indent="0" algn="ctr">
              <a:buNone/>
              <a:defRPr>
                <a:solidFill>
                  <a:schemeClr val="tx1">
                    <a:tint val="75000"/>
                  </a:schemeClr>
                </a:solidFill>
              </a:defRPr>
            </a:lvl7pPr>
            <a:lvl8pPr marL="3198235" indent="0" algn="ctr">
              <a:buNone/>
              <a:defRPr>
                <a:solidFill>
                  <a:schemeClr val="tx1">
                    <a:tint val="75000"/>
                  </a:schemeClr>
                </a:solidFill>
              </a:defRPr>
            </a:lvl8pPr>
            <a:lvl9pPr marL="365512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Tree>
    <p:extLst>
      <p:ext uri="{BB962C8B-B14F-4D97-AF65-F5344CB8AC3E}">
        <p14:creationId xmlns:p14="http://schemas.microsoft.com/office/powerpoint/2010/main" val="242561541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bwMode="gray">
          <a:xfrm>
            <a:off x="350908" y="1499871"/>
            <a:ext cx="8440702" cy="584640"/>
          </a:xfrm>
        </p:spPr>
        <p:txBody>
          <a:bodyPr anchor="t" anchorCtr="0">
            <a:noAutofit/>
          </a:bodyPr>
          <a:lstStyle>
            <a:lvl1pPr marL="0" marR="0" indent="0" algn="l" defTabSz="913782" rtl="0" eaLnBrk="1" fontAlgn="auto" latinLnBrk="0" hangingPunct="1">
              <a:lnSpc>
                <a:spcPct val="100000"/>
              </a:lnSpc>
              <a:spcBef>
                <a:spcPts val="0"/>
              </a:spcBef>
              <a:spcAft>
                <a:spcPts val="0"/>
              </a:spcAft>
              <a:buClr>
                <a:schemeClr val="accent1"/>
              </a:buClr>
              <a:buSzPct val="80000"/>
              <a:buFontTx/>
              <a:buNone/>
              <a:tabLst/>
              <a:defRPr sz="1700" b="0">
                <a:solidFill>
                  <a:sysClr val="windowText" lastClr="000000"/>
                </a:solidFill>
              </a:defRPr>
            </a:lvl1pPr>
            <a:lvl2pPr marL="456890" indent="0" algn="ctr">
              <a:buNone/>
              <a:defRPr>
                <a:solidFill>
                  <a:schemeClr val="tx1">
                    <a:tint val="75000"/>
                  </a:schemeClr>
                </a:solidFill>
              </a:defRPr>
            </a:lvl2pPr>
            <a:lvl3pPr marL="913782" indent="0" algn="ctr">
              <a:buNone/>
              <a:defRPr>
                <a:solidFill>
                  <a:schemeClr val="tx1">
                    <a:tint val="75000"/>
                  </a:schemeClr>
                </a:solidFill>
              </a:defRPr>
            </a:lvl3pPr>
            <a:lvl4pPr marL="1370672" indent="0" algn="ctr">
              <a:buNone/>
              <a:defRPr>
                <a:solidFill>
                  <a:schemeClr val="tx1">
                    <a:tint val="75000"/>
                  </a:schemeClr>
                </a:solidFill>
              </a:defRPr>
            </a:lvl4pPr>
            <a:lvl5pPr marL="1827563" indent="0" algn="ctr">
              <a:buNone/>
              <a:defRPr>
                <a:solidFill>
                  <a:schemeClr val="tx1">
                    <a:tint val="75000"/>
                  </a:schemeClr>
                </a:solidFill>
              </a:defRPr>
            </a:lvl5pPr>
            <a:lvl6pPr marL="2284453" indent="0" algn="ctr">
              <a:buNone/>
              <a:defRPr>
                <a:solidFill>
                  <a:schemeClr val="tx1">
                    <a:tint val="75000"/>
                  </a:schemeClr>
                </a:solidFill>
              </a:defRPr>
            </a:lvl6pPr>
            <a:lvl7pPr marL="2741344" indent="0" algn="ctr">
              <a:buNone/>
              <a:defRPr>
                <a:solidFill>
                  <a:schemeClr val="tx1">
                    <a:tint val="75000"/>
                  </a:schemeClr>
                </a:solidFill>
              </a:defRPr>
            </a:lvl7pPr>
            <a:lvl8pPr marL="3198235" indent="0" algn="ctr">
              <a:buNone/>
              <a:defRPr>
                <a:solidFill>
                  <a:schemeClr val="tx1">
                    <a:tint val="75000"/>
                  </a:schemeClr>
                </a:solidFill>
              </a:defRPr>
            </a:lvl8pPr>
            <a:lvl9pPr marL="365512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3</a:t>
            </a:r>
          </a:p>
        </p:txBody>
      </p:sp>
      <p:sp>
        <p:nvSpPr>
          <p:cNvPr id="9" name="Title 1"/>
          <p:cNvSpPr>
            <a:spLocks noGrp="1"/>
          </p:cNvSpPr>
          <p:nvPr>
            <p:ph type="ctrTitle" hasCustomPrompt="1"/>
          </p:nvPr>
        </p:nvSpPr>
        <p:spPr bwMode="gray">
          <a:xfrm>
            <a:off x="350908" y="324000"/>
            <a:ext cx="8440702" cy="1107739"/>
          </a:xfrm>
        </p:spPr>
        <p:txBody>
          <a:bodyPr anchor="t" anchorCtr="0">
            <a:noAutofit/>
          </a:bodyPr>
          <a:lstStyle>
            <a:lvl1pPr>
              <a:defRPr sz="3000">
                <a:solidFill>
                  <a:sysClr val="windowText" lastClr="000000"/>
                </a:solidFill>
                <a:latin typeface="+mj-lt"/>
              </a:defRPr>
            </a:lvl1pPr>
          </a:lstStyle>
          <a:p>
            <a:r>
              <a:rPr lang="en-US" sz="3000" smtClean="0"/>
              <a:t>Alternate Presentation Title</a:t>
            </a:r>
            <a:br>
              <a:rPr lang="en-US" sz="3000" smtClean="0"/>
            </a:br>
            <a:r>
              <a:rPr lang="en-US" sz="3000" smtClean="0"/>
              <a:t>Breaks to Two Lines</a:t>
            </a:r>
            <a:endParaRPr lang="en-US" dirty="0"/>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Tree>
    <p:extLst>
      <p:ext uri="{BB962C8B-B14F-4D97-AF65-F5344CB8AC3E}">
        <p14:creationId xmlns:p14="http://schemas.microsoft.com/office/powerpoint/2010/main" val="126515407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242937" y="4"/>
            <a:ext cx="8656646" cy="2295525"/>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smtClean="0"/>
              <a:t>Divider page</a:t>
            </a:r>
            <a:endParaRPr lang="en-US" dirty="0"/>
          </a:p>
        </p:txBody>
      </p:sp>
      <p:sp>
        <p:nvSpPr>
          <p:cNvPr id="93" name="Text Placeholder 92"/>
          <p:cNvSpPr>
            <a:spLocks noGrp="1"/>
          </p:cNvSpPr>
          <p:nvPr>
            <p:ph type="body" sz="quarter" idx="10" hasCustomPrompt="1"/>
          </p:nvPr>
        </p:nvSpPr>
        <p:spPr>
          <a:xfrm>
            <a:off x="242937" y="3506404"/>
            <a:ext cx="8656646" cy="620713"/>
          </a:xfrm>
        </p:spPr>
        <p:txBody>
          <a:bodyPr/>
          <a:lstStyle>
            <a:lvl1pPr>
              <a:spcBef>
                <a:spcPts val="1200"/>
              </a:spcBef>
              <a:defRPr sz="1600" b="0"/>
            </a:lvl1pPr>
          </a:lstStyle>
          <a:p>
            <a:r>
              <a:rPr lang="en-US" dirty="0" smtClean="0"/>
              <a:t>Subtitle if needed</a:t>
            </a:r>
          </a:p>
        </p:txBody>
      </p:sp>
      <p:pic>
        <p:nvPicPr>
          <p:cNvPr id="6" name="Picture 5"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Tree>
    <p:extLst>
      <p:ext uri="{BB962C8B-B14F-4D97-AF65-F5344CB8AC3E}">
        <p14:creationId xmlns:p14="http://schemas.microsoft.com/office/powerpoint/2010/main" val="38177143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3"/>
            <a:ext cx="8496000" cy="2295525"/>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3"/>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6"/>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242937" y="162000"/>
            <a:ext cx="8656646" cy="2134800"/>
          </a:xfrm>
          <a:solidFill>
            <a:schemeClr val="bg1">
              <a:lumMod val="95000"/>
            </a:schemeClr>
          </a:solidFill>
        </p:spPr>
        <p:txBody>
          <a:bodyPr tIns="503659"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smtClean="0"/>
              <a:t>Divider page</a:t>
            </a:r>
            <a:endParaRPr lang="en-US" dirty="0"/>
          </a:p>
        </p:txBody>
      </p:sp>
      <p:sp>
        <p:nvSpPr>
          <p:cNvPr id="12" name="Rectangle 11"/>
          <p:cNvSpPr/>
          <p:nvPr userDrawn="1"/>
        </p:nvSpPr>
        <p:spPr bwMode="gray">
          <a:xfrm>
            <a:off x="242937" y="0"/>
            <a:ext cx="8656646" cy="162000"/>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242937" y="3506404"/>
            <a:ext cx="8656646" cy="620713"/>
          </a:xfrm>
        </p:spPr>
        <p:txBody>
          <a:bodyPr/>
          <a:lstStyle>
            <a:lvl1pPr>
              <a:spcBef>
                <a:spcPts val="1200"/>
              </a:spcBef>
              <a:defRPr sz="1600" b="0"/>
            </a:lvl1pPr>
          </a:lstStyle>
          <a:p>
            <a:r>
              <a:rPr lang="en-US" dirty="0" smtClean="0"/>
              <a:t>Subtitle if needed</a:t>
            </a:r>
          </a:p>
        </p:txBody>
      </p:sp>
      <p:pic>
        <p:nvPicPr>
          <p:cNvPr id="7" name="Picture 6"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4018" y="6082320"/>
            <a:ext cx="684757" cy="453495"/>
          </a:xfrm>
          <a:prstGeom prst="rect">
            <a:avLst/>
          </a:prstGeom>
          <a:noFill/>
          <a:ln>
            <a:noFill/>
          </a:ln>
        </p:spPr>
      </p:pic>
    </p:spTree>
    <p:extLst>
      <p:ext uri="{BB962C8B-B14F-4D97-AF65-F5344CB8AC3E}">
        <p14:creationId xmlns:p14="http://schemas.microsoft.com/office/powerpoint/2010/main" val="37202701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42937" y="2444400"/>
            <a:ext cx="8656646" cy="923116"/>
          </a:xfrm>
        </p:spPr>
        <p:txBody>
          <a:bodyPr anchor="t" anchorCtr="0">
            <a:noAutofit/>
          </a:bodyPr>
          <a:lstStyle>
            <a:lvl1pPr>
              <a:defRPr sz="5000">
                <a:solidFill>
                  <a:schemeClr val="tx1"/>
                </a:solidFill>
                <a:latin typeface="+mj-lt"/>
              </a:defRPr>
            </a:lvl1pPr>
          </a:lstStyle>
          <a:p>
            <a:r>
              <a:rPr lang="en-US" smtClean="0"/>
              <a:t>Thank you</a:t>
            </a:r>
            <a:endParaRPr lang="en-US" dirty="0"/>
          </a:p>
        </p:txBody>
      </p:sp>
      <p:sp>
        <p:nvSpPr>
          <p:cNvPr id="12" name="Rectangle 11"/>
          <p:cNvSpPr/>
          <p:nvPr userDrawn="1"/>
        </p:nvSpPr>
        <p:spPr bwMode="gray">
          <a:xfrm>
            <a:off x="242937" y="0"/>
            <a:ext cx="8656646" cy="162000"/>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242937" y="4235485"/>
            <a:ext cx="8656646" cy="1846231"/>
          </a:xfrm>
        </p:spPr>
        <p:txBody>
          <a:bodyPr anchor="b" anchorCtr="0">
            <a:noAutofit/>
          </a:bodyPr>
          <a:lstStyle>
            <a:lvl1pPr>
              <a:spcBef>
                <a:spcPts val="0"/>
              </a:spcBef>
              <a:defRPr sz="17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937" y="478630"/>
            <a:ext cx="1369514" cy="906990"/>
          </a:xfrm>
          <a:prstGeom prst="rect">
            <a:avLst/>
          </a:prstGeom>
          <a:noFill/>
          <a:ln>
            <a:noFill/>
          </a:ln>
        </p:spPr>
      </p:pic>
    </p:spTree>
    <p:extLst>
      <p:ext uri="{BB962C8B-B14F-4D97-AF65-F5344CB8AC3E}">
        <p14:creationId xmlns:p14="http://schemas.microsoft.com/office/powerpoint/2010/main" val="16425739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242937" y="1692004"/>
            <a:ext cx="8656646" cy="3831818"/>
          </a:xfrm>
        </p:spPr>
        <p:txBody>
          <a:bodyPr>
            <a:noAutofit/>
          </a:bodyPr>
          <a:lstStyle>
            <a:lvl1pPr marL="0" marR="0" indent="0" algn="l" defTabSz="913782" rtl="0" eaLnBrk="1" fontAlgn="auto" latinLnBrk="0" hangingPunct="1">
              <a:lnSpc>
                <a:spcPct val="100000"/>
              </a:lnSpc>
              <a:spcBef>
                <a:spcPts val="1008"/>
              </a:spcBef>
              <a:spcAft>
                <a:spcPts val="0"/>
              </a:spcAft>
              <a:buClr>
                <a:schemeClr val="accent1"/>
              </a:buClr>
              <a:buSzPct val="80000"/>
              <a:buFontTx/>
              <a:buNone/>
              <a:tabLst/>
              <a:defRPr sz="1700" b="0"/>
            </a:lvl1pPr>
            <a:lvl2pPr marL="151070" marR="0" indent="-151070" algn="l" defTabSz="913782" rtl="0" eaLnBrk="1" fontAlgn="auto" latinLnBrk="0" hangingPunct="1">
              <a:lnSpc>
                <a:spcPct val="100000"/>
              </a:lnSpc>
              <a:spcBef>
                <a:spcPts val="504"/>
              </a:spcBef>
              <a:spcAft>
                <a:spcPts val="0"/>
              </a:spcAft>
              <a:buClr>
                <a:schemeClr val="accent1"/>
              </a:buClr>
              <a:buSzPct val="100000"/>
              <a:buFont typeface="Wingdings" pitchFamily="2" charset="2"/>
              <a:buChar char=""/>
              <a:tabLst/>
              <a:defRPr sz="1500"/>
            </a:lvl2pPr>
            <a:lvl3pPr marL="302139" marR="0" indent="-150557" algn="l" defTabSz="913782" rtl="0" eaLnBrk="1" fontAlgn="auto" latinLnBrk="0" hangingPunct="1">
              <a:lnSpc>
                <a:spcPct val="100000"/>
              </a:lnSpc>
              <a:spcBef>
                <a:spcPts val="336"/>
              </a:spcBef>
              <a:spcAft>
                <a:spcPts val="0"/>
              </a:spcAft>
              <a:buClr>
                <a:schemeClr val="accent2"/>
              </a:buClr>
              <a:buSzPct val="100000"/>
              <a:buFont typeface="Arial" pitchFamily="34" charset="0"/>
              <a:buChar char="–"/>
              <a:tabLst/>
              <a:defRPr sz="1500" baseline="0"/>
            </a:lvl3pPr>
            <a:lvl4pPr marL="453208" marR="0" indent="-151070" algn="l" defTabSz="913782" rtl="0" eaLnBrk="1" fontAlgn="auto" latinLnBrk="0" hangingPunct="1">
              <a:lnSpc>
                <a:spcPct val="100000"/>
              </a:lnSpc>
              <a:spcBef>
                <a:spcPts val="210"/>
              </a:spcBef>
              <a:spcAft>
                <a:spcPts val="0"/>
              </a:spcAft>
              <a:buClr>
                <a:schemeClr val="accent2"/>
              </a:buClr>
              <a:buSzPct val="100000"/>
              <a:buFont typeface="Courier New" pitchFamily="49" charset="0"/>
              <a:buChar char="o"/>
              <a:tabLst/>
              <a:defRPr sz="1300"/>
            </a:lvl4pPr>
            <a:lvl5pPr>
              <a:buClr>
                <a:schemeClr val="accent2"/>
              </a:buClr>
              <a:buFont typeface="Arial" pitchFamily="34" charset="0"/>
              <a:buChar char="–"/>
              <a:defRPr/>
            </a:lvl5pPr>
          </a:lstStyle>
          <a:p>
            <a:pPr lvl="0"/>
            <a:r>
              <a:rPr lang="en-US" dirty="0" smtClean="0"/>
              <a:t>Agenda Item/Divider Headline</a:t>
            </a:r>
          </a:p>
          <a:p>
            <a:pPr lvl="1"/>
            <a:r>
              <a:rPr lang="en-US" dirty="0" smtClean="0"/>
              <a:t>Details</a:t>
            </a:r>
          </a:p>
          <a:p>
            <a:pPr lvl="2"/>
            <a:r>
              <a:rPr lang="en-US" dirty="0" smtClean="0"/>
              <a:t>Third Level</a:t>
            </a:r>
          </a:p>
          <a:p>
            <a:pPr lvl="3"/>
            <a:r>
              <a:rPr lang="en-US" dirty="0" smtClean="0"/>
              <a:t>Fourth Level</a:t>
            </a:r>
          </a:p>
          <a:p>
            <a:endParaRPr lang="en-US" dirty="0" smtClean="0"/>
          </a:p>
        </p:txBody>
      </p:sp>
    </p:spTree>
    <p:extLst>
      <p:ext uri="{BB962C8B-B14F-4D97-AF65-F5344CB8AC3E}">
        <p14:creationId xmlns:p14="http://schemas.microsoft.com/office/powerpoint/2010/main" val="156653238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Tree>
    <p:extLst>
      <p:ext uri="{BB962C8B-B14F-4D97-AF65-F5344CB8AC3E}">
        <p14:creationId xmlns:p14="http://schemas.microsoft.com/office/powerpoint/2010/main" val="358848726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0687"/>
            <a:ext cx="8656646"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351322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2003"/>
            <a:ext cx="4245994"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3"/>
            <a:ext cx="4245994"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598775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2937" y="324000"/>
            <a:ext cx="8656646"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2003"/>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399" y="1692003"/>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170668" y="1692003"/>
            <a:ext cx="280457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94267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5727796" y="1690691"/>
            <a:ext cx="3173380" cy="4391025"/>
          </a:xfrm>
          <a:solidFill>
            <a:schemeClr val="bg1">
              <a:lumMod val="95000"/>
            </a:schemeClr>
          </a:solidFill>
        </p:spPr>
        <p:txBody>
          <a:bodyPr tIns="1295122" anchor="t" anchorCtr="0"/>
          <a:lstStyle>
            <a:lvl1pPr algn="ctr">
              <a:defRPr b="0"/>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8" y="1690691"/>
            <a:ext cx="5361066" cy="4391025"/>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848801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4654800" y="1692004"/>
            <a:ext cx="4245994" cy="4392000"/>
          </a:xfrm>
          <a:solidFill>
            <a:schemeClr val="bg1">
              <a:lumMod val="95000"/>
            </a:schemeClr>
          </a:solidFill>
        </p:spPr>
        <p:txBody>
          <a:bodyPr vert="horz" lIns="0" tIns="1295122" rIns="0" bIns="0" rtlCol="0" anchor="t" anchorCtr="0">
            <a:noAutofit/>
          </a:bodyPr>
          <a:lstStyle>
            <a:lvl1pPr marL="0" indent="0" algn="ctr" defTabSz="913782"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7" y="1692004"/>
            <a:ext cx="4245994" cy="4392000"/>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528762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Picture Placeholder 4"/>
          <p:cNvSpPr>
            <a:spLocks noGrp="1"/>
          </p:cNvSpPr>
          <p:nvPr>
            <p:ph type="pic" sz="quarter" idx="10"/>
          </p:nvPr>
        </p:nvSpPr>
        <p:spPr bwMode="gray">
          <a:xfrm>
            <a:off x="3529288" y="1692004"/>
            <a:ext cx="5371891" cy="4392000"/>
          </a:xfrm>
          <a:solidFill>
            <a:schemeClr val="bg1">
              <a:lumMod val="95000"/>
            </a:schemeClr>
          </a:solidFill>
        </p:spPr>
        <p:txBody>
          <a:bodyPr vert="horz" lIns="0" tIns="1295122" rIns="0" bIns="0" rtlCol="0" anchor="t" anchorCtr="0">
            <a:noAutofit/>
          </a:bodyPr>
          <a:lstStyle>
            <a:lvl1pPr marL="0" indent="0" algn="ctr" defTabSz="913782"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en-US" dirty="0"/>
          </a:p>
        </p:txBody>
      </p:sp>
      <p:sp>
        <p:nvSpPr>
          <p:cNvPr id="7" name="Text Placeholder 6"/>
          <p:cNvSpPr>
            <a:spLocks noGrp="1"/>
          </p:cNvSpPr>
          <p:nvPr>
            <p:ph type="body" sz="quarter" idx="11" hasCustomPrompt="1"/>
          </p:nvPr>
        </p:nvSpPr>
        <p:spPr bwMode="gray">
          <a:xfrm>
            <a:off x="242937" y="1692004"/>
            <a:ext cx="3167316" cy="4392000"/>
          </a:xfrm>
        </p:spPr>
        <p:txBody>
          <a:bodyPr/>
          <a:lstStyle>
            <a:lvl1pPr>
              <a:defRPr/>
            </a:lvl1pPr>
          </a:lstStyle>
          <a:p>
            <a:pPr lvl="0"/>
            <a:r>
              <a:rPr lang="en-US" noProof="0" smtClean="0"/>
              <a:t>First level</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22814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3"/>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4000" y="6081716"/>
            <a:ext cx="916953" cy="454025"/>
          </a:xfrm>
          <a:prstGeom prst="rect">
            <a:avLst/>
          </a:prstGeom>
        </p:spPr>
      </p:pic>
      <p:pic>
        <p:nvPicPr>
          <p:cNvPr id="7" name="Picture 6"/>
          <p:cNvPicPr>
            <a:picLocks noChangeAspect="1"/>
          </p:cNvPicPr>
          <p:nvPr userDrawn="1">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324000" y="162003"/>
            <a:ext cx="8496000" cy="211447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242937" y="1690688"/>
            <a:ext cx="4245994"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245994"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242937" y="3573494"/>
            <a:ext cx="4245994" cy="2508223"/>
          </a:xfrm>
          <a:solidFill>
            <a:schemeClr val="bg1">
              <a:lumMod val="95000"/>
            </a:schemeClr>
          </a:solidFill>
        </p:spPr>
        <p:txBody>
          <a:bodyPr tIns="503659" anchor="t" anchorCtr="0"/>
          <a:lstStyle>
            <a:lvl1pPr algn="ctr">
              <a:defRPr b="0"/>
            </a:lvl1pPr>
          </a:lstStyle>
          <a:p>
            <a:r>
              <a:rPr lang="en-US" smtClean="0"/>
              <a:t>Click icon to add picture</a:t>
            </a:r>
            <a:endParaRPr lang="en-US" dirty="0"/>
          </a:p>
        </p:txBody>
      </p:sp>
      <p:sp>
        <p:nvSpPr>
          <p:cNvPr id="11" name="Picture Placeholder 4"/>
          <p:cNvSpPr>
            <a:spLocks noGrp="1"/>
          </p:cNvSpPr>
          <p:nvPr>
            <p:ph type="pic" sz="quarter" idx="16"/>
          </p:nvPr>
        </p:nvSpPr>
        <p:spPr bwMode="gray">
          <a:xfrm>
            <a:off x="4654800" y="3573494"/>
            <a:ext cx="4245994" cy="2508223"/>
          </a:xfrm>
          <a:solidFill>
            <a:schemeClr val="bg1">
              <a:lumMod val="95000"/>
            </a:schemeClr>
          </a:solidFill>
        </p:spPr>
        <p:txBody>
          <a:bodyPr tIns="503659" anchor="t" anchorCtr="0"/>
          <a:lstStyle>
            <a:lvl1pPr algn="ctr">
              <a:defRPr b="0"/>
            </a:lvl1pPr>
          </a:lstStyle>
          <a:p>
            <a:r>
              <a:rPr lang="en-US" smtClean="0"/>
              <a:t>Click icon to add picture</a:t>
            </a:r>
            <a:endParaRPr lang="en-US" dirty="0"/>
          </a:p>
        </p:txBody>
      </p:sp>
    </p:spTree>
    <p:extLst>
      <p:ext uri="{BB962C8B-B14F-4D97-AF65-F5344CB8AC3E}">
        <p14:creationId xmlns:p14="http://schemas.microsoft.com/office/powerpoint/2010/main" val="115286369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242937" y="1692002"/>
            <a:ext cx="8656646" cy="4392000"/>
          </a:xfrm>
        </p:spPr>
        <p:txBody>
          <a:bodyPr tIns="0"/>
          <a:lstStyle>
            <a:lvl1pPr algn="l">
              <a:defRPr b="0"/>
            </a:lvl1pPr>
          </a:lstStyle>
          <a:p>
            <a:pPr lvl="0"/>
            <a:r>
              <a:rPr lang="en-US" dirty="0" smtClean="0"/>
              <a:t>Click to add content</a:t>
            </a:r>
          </a:p>
        </p:txBody>
      </p:sp>
    </p:spTree>
    <p:extLst>
      <p:ext uri="{BB962C8B-B14F-4D97-AF65-F5344CB8AC3E}">
        <p14:creationId xmlns:p14="http://schemas.microsoft.com/office/powerpoint/2010/main" val="8278106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242937" y="1692000"/>
            <a:ext cx="8656646" cy="2852063"/>
          </a:xfrm>
        </p:spPr>
        <p:txBody>
          <a:bodyPr>
            <a:spAutoFit/>
          </a:bodyPr>
          <a:lstStyle>
            <a:lvl1pPr>
              <a:spcBef>
                <a:spcPts val="2014"/>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88740034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TextBox 1"/>
          <p:cNvSpPr txBox="1"/>
          <p:nvPr userDrawn="1"/>
        </p:nvSpPr>
        <p:spPr bwMode="black">
          <a:xfrm>
            <a:off x="242938" y="6636187"/>
            <a:ext cx="1689565" cy="123111"/>
          </a:xfrm>
          <a:prstGeom prst="rect">
            <a:avLst/>
          </a:prstGeom>
          <a:noFill/>
        </p:spPr>
        <p:txBody>
          <a:bodyPr wrap="none" lIns="0" tIns="0" rIns="0" bIns="0" rtlCol="0">
            <a:spAutoFit/>
          </a:bodyPr>
          <a:lstStyle/>
          <a:p>
            <a:pPr marL="133260" indent="-133260" defTabSz="913782">
              <a:buClr>
                <a:srgbClr val="000000"/>
              </a:buClr>
              <a:buFont typeface="Arial" pitchFamily="34" charset="0"/>
              <a:buChar char="©"/>
            </a:pPr>
            <a:r>
              <a:rPr lang="en-US" sz="800" dirty="0" smtClean="0">
                <a:solidFill>
                  <a:srgbClr val="000000"/>
                </a:solidFill>
              </a:rPr>
              <a:t>2013 SAP AG. All rights reserved.</a:t>
            </a:r>
          </a:p>
        </p:txBody>
      </p:sp>
      <p:sp>
        <p:nvSpPr>
          <p:cNvPr id="3" name="TextBox 2"/>
          <p:cNvSpPr txBox="1"/>
          <p:nvPr userDrawn="1"/>
        </p:nvSpPr>
        <p:spPr bwMode="black">
          <a:xfrm>
            <a:off x="8773761" y="6636187"/>
            <a:ext cx="125034" cy="123111"/>
          </a:xfrm>
          <a:prstGeom prst="rect">
            <a:avLst/>
          </a:prstGeom>
          <a:noFill/>
        </p:spPr>
        <p:txBody>
          <a:bodyPr wrap="none" lIns="0" tIns="0" rIns="0" bIns="0" rtlCol="0">
            <a:spAutoFit/>
          </a:bodyPr>
          <a:lstStyle/>
          <a:p>
            <a:pPr marL="93601" indent="-93601" algn="r" defTabSz="913782">
              <a:buClr>
                <a:srgbClr val="666666"/>
              </a:buClr>
              <a:buFont typeface="Arial" pitchFamily="34" charset="0"/>
              <a:buNone/>
            </a:pPr>
            <a:fld id="{0BDC132A-5C91-4078-9777-31DA19A62E0A}" type="slidenum">
              <a:rPr lang="en-US" sz="800" smtClean="0">
                <a:solidFill>
                  <a:srgbClr val="000000"/>
                </a:solidFill>
              </a:rPr>
              <a:pPr marL="93601" indent="-93601" algn="r" defTabSz="913782">
                <a:buClr>
                  <a:srgbClr val="666666"/>
                </a:buClr>
                <a:buFont typeface="Arial" pitchFamily="34" charset="0"/>
                <a:buNone/>
              </a:pPr>
              <a:t>‹#›</a:t>
            </a:fld>
            <a:endParaRPr lang="en-US" sz="800" dirty="0" smtClean="0">
              <a:solidFill>
                <a:srgbClr val="000000"/>
              </a:solidFill>
            </a:endParaRPr>
          </a:p>
        </p:txBody>
      </p:sp>
    </p:spTree>
    <p:extLst>
      <p:ext uri="{BB962C8B-B14F-4D97-AF65-F5344CB8AC3E}">
        <p14:creationId xmlns:p14="http://schemas.microsoft.com/office/powerpoint/2010/main" val="321719422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8" y="324000"/>
            <a:ext cx="5311198" cy="756000"/>
          </a:xfrm>
          <a:prstGeom prst="rect">
            <a:avLst/>
          </a:prstGeom>
        </p:spPr>
        <p:txBody>
          <a:bodyPr vert="horz" lIns="0" tIns="0" rIns="0" bIns="0" rtlCol="0" anchor="ctr" anchorCtr="0">
            <a:noAutofit/>
          </a:bodyPr>
          <a:lstStyle/>
          <a:p>
            <a:pPr defTabSz="913782">
              <a:spcBef>
                <a:spcPct val="0"/>
              </a:spcBef>
            </a:pPr>
            <a:r>
              <a:rPr lang="en-US" sz="2400" b="1" smtClean="0">
                <a:solidFill>
                  <a:srgbClr val="666666"/>
                </a:solidFill>
              </a:rPr>
              <a:t>© 2013 SAP AG. All rights reserved.</a:t>
            </a:r>
            <a:endParaRPr lang="en-US" sz="2400" b="1" dirty="0" smtClean="0">
              <a:solidFill>
                <a:srgbClr val="666666"/>
              </a:solidFill>
            </a:endParaRPr>
          </a:p>
        </p:txBody>
      </p:sp>
      <p:sp>
        <p:nvSpPr>
          <p:cNvPr id="5" name="TextBox 4"/>
          <p:cNvSpPr txBox="1"/>
          <p:nvPr userDrawn="1"/>
        </p:nvSpPr>
        <p:spPr bwMode="gray">
          <a:xfrm>
            <a:off x="242939" y="1691612"/>
            <a:ext cx="8658239" cy="2205732"/>
          </a:xfrm>
          <a:prstGeom prst="rect">
            <a:avLst/>
          </a:prstGeom>
          <a:noFill/>
        </p:spPr>
        <p:txBody>
          <a:bodyPr wrap="square" lIns="0" tIns="0" rIns="0" bIns="0" rtlCol="0">
            <a:spAutoFit/>
          </a:bodyPr>
          <a:lstStyle/>
          <a:p>
            <a:pPr defTabSz="767432">
              <a:spcBef>
                <a:spcPts val="1008"/>
              </a:spcBef>
            </a:pPr>
            <a:r>
              <a:rPr lang="en-US" sz="1000" noProof="1" smtClean="0">
                <a:solidFill>
                  <a:srgbClr val="000000"/>
                </a:solidFill>
                <a:ea typeface="MS PGothic" pitchFamily="34" charset="-128"/>
              </a:rPr>
              <a:t>No part of this publication may be reproduced or transmitted in any form or for any purpose without the express permission of SAP AG.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The information contained herein may be changed without prior notice.</a:t>
            </a:r>
          </a:p>
          <a:p>
            <a:pPr defTabSz="767432">
              <a:spcBef>
                <a:spcPts val="1008"/>
              </a:spcBef>
            </a:pPr>
            <a:r>
              <a:rPr lang="en-US" sz="1000" noProof="1" smtClean="0">
                <a:solidFill>
                  <a:srgbClr val="000000"/>
                </a:solidFill>
                <a:ea typeface="MS PGothic" pitchFamily="34" charset="-128"/>
              </a:rPr>
              <a:t>Some software products marketed by SAP AG and its distributors contain proprietary software components of other software vendors.</a:t>
            </a:r>
          </a:p>
          <a:p>
            <a:pPr defTabSz="767432">
              <a:spcBef>
                <a:spcPts val="1008"/>
              </a:spcBef>
            </a:pPr>
            <a:r>
              <a:rPr lang="en-US" sz="1000" noProof="1" smtClean="0">
                <a:solidFill>
                  <a:srgbClr val="000000"/>
                </a:solidFill>
                <a:ea typeface="MS PGothic" pitchFamily="34" charset="-128"/>
              </a:rPr>
              <a:t>National product specifications may vary.</a:t>
            </a:r>
          </a:p>
          <a:p>
            <a:pPr defTabSz="767432">
              <a:spcBef>
                <a:spcPts val="1008"/>
              </a:spcBef>
            </a:pPr>
            <a:r>
              <a:rPr lang="en-US" sz="1000" noProof="1" smtClean="0">
                <a:solidFill>
                  <a:srgbClr val="000000"/>
                </a:solidFill>
                <a:ea typeface="MS PGothic" pitchFamily="34" charset="-128"/>
              </a:rPr>
              <a:t>These materials are provided by SAP AG and its affiliated companies ("SAP Group") for informational purposes only, without representation or warranty of any kind, and SAP Group shall not be liable for errors or omissions with respect to the materials. The only warranties for SAP Group products and services are those that are set forth in the express warranty statements accompanying such products and services, if any. Nothing herein should be construed as constituting an additional warranty. </a:t>
            </a:r>
          </a:p>
          <a:p>
            <a:pPr defTabSz="767432">
              <a:spcBef>
                <a:spcPts val="1008"/>
              </a:spcBef>
            </a:pPr>
            <a:r>
              <a:rPr lang="en-US" sz="1000" noProof="1" smtClean="0">
                <a:solidFill>
                  <a:srgbClr val="000000"/>
                </a:solidFill>
                <a:ea typeface="MS PGothic" pitchFamily="34" charset="-128"/>
              </a:rPr>
              <a:t>SAP and other SAP products and services mentioned herein as well as their respective logos are trademarks or registered trademarks of SAP AG in Germany and other countries.  </a:t>
            </a:r>
            <a:br>
              <a:rPr lang="en-US" sz="1000" noProof="1" smtClean="0">
                <a:solidFill>
                  <a:srgbClr val="000000"/>
                </a:solidFill>
                <a:ea typeface="MS PGothic" pitchFamily="34" charset="-128"/>
              </a:rPr>
            </a:br>
            <a:r>
              <a:rPr lang="en-US" sz="1000" noProof="1" smtClean="0">
                <a:solidFill>
                  <a:srgbClr val="000000"/>
                </a:solidFill>
                <a:ea typeface="MS PGothic" pitchFamily="34" charset="-128"/>
              </a:rPr>
              <a:t>Please see </a:t>
            </a:r>
            <a:r>
              <a:rPr lang="en-US" sz="1000" noProof="1" smtClean="0">
                <a:solidFill>
                  <a:srgbClr val="000000"/>
                </a:solidFill>
                <a:ea typeface="MS PGothic" pitchFamily="34" charset="-128"/>
                <a:hlinkClick r:id="rId2"/>
              </a:rPr>
              <a:t>http://www.sap.com/corporate-en/legal/copyright/index.epx#trademark</a:t>
            </a:r>
            <a:r>
              <a:rPr lang="en-US" sz="1000" noProof="1" smtClean="0">
                <a:solidFill>
                  <a:srgbClr val="000000"/>
                </a:solidFill>
                <a:ea typeface="MS PGothic" pitchFamily="34" charset="-128"/>
              </a:rPr>
              <a:t> for additional trademark information and notices.</a:t>
            </a:r>
          </a:p>
        </p:txBody>
      </p:sp>
    </p:spTree>
    <p:extLst>
      <p:ext uri="{BB962C8B-B14F-4D97-AF65-F5344CB8AC3E}">
        <p14:creationId xmlns:p14="http://schemas.microsoft.com/office/powerpoint/2010/main" val="230617985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242937" y="324000"/>
            <a:ext cx="7359500" cy="756000"/>
          </a:xfrm>
          <a:prstGeom prst="rect">
            <a:avLst/>
          </a:prstGeom>
        </p:spPr>
        <p:txBody>
          <a:bodyPr vert="horz" lIns="0" tIns="0" rIns="0" bIns="0" rtlCol="0" anchor="ctr" anchorCtr="0">
            <a:noAutofit/>
          </a:bodyPr>
          <a:lstStyle/>
          <a:p>
            <a:pPr defTabSz="913782">
              <a:spcBef>
                <a:spcPct val="0"/>
              </a:spcBef>
              <a:defRPr/>
            </a:pPr>
            <a:r>
              <a:rPr lang="en-US" sz="2400" b="1" smtClean="0">
                <a:solidFill>
                  <a:srgbClr val="666666"/>
                </a:solidFill>
              </a:rPr>
              <a:t>© 2013 SAP AG. Alle Rechte vorbehalten.</a:t>
            </a:r>
            <a:endParaRPr lang="en-US" sz="2400" b="1" dirty="0" smtClean="0">
              <a:solidFill>
                <a:srgbClr val="666666"/>
              </a:solidFill>
            </a:endParaRPr>
          </a:p>
        </p:txBody>
      </p:sp>
      <p:sp>
        <p:nvSpPr>
          <p:cNvPr id="8" name="TextBox 7"/>
          <p:cNvSpPr txBox="1"/>
          <p:nvPr userDrawn="1"/>
        </p:nvSpPr>
        <p:spPr bwMode="gray">
          <a:xfrm>
            <a:off x="242939" y="1691608"/>
            <a:ext cx="8658239" cy="2359620"/>
          </a:xfrm>
          <a:prstGeom prst="rect">
            <a:avLst/>
          </a:prstGeom>
          <a:noFill/>
        </p:spPr>
        <p:txBody>
          <a:bodyPr wrap="square" lIns="0" tIns="0" rIns="0" bIns="0" rtlCol="0">
            <a:spAutoFit/>
          </a:bodyPr>
          <a:lstStyle/>
          <a:p>
            <a:pPr defTabSz="767432">
              <a:spcBef>
                <a:spcPts val="1008"/>
              </a:spcBef>
            </a:pPr>
            <a:r>
              <a:rPr lang="en-US" sz="10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defTabSz="767432">
              <a:spcBef>
                <a:spcPts val="1008"/>
              </a:spcBef>
            </a:pPr>
            <a:r>
              <a:rPr lang="en-US" sz="1000" noProof="1" smtClean="0">
                <a:solidFill>
                  <a:srgbClr val="000000"/>
                </a:solidFill>
                <a:ea typeface="MS PGothic" pitchFamily="34" charset="-128"/>
              </a:rPr>
              <a:t>Einige der von der SAP AG und ihren Distributoren vermarkteten Softwareprodukte enthalten proprietäre Softwarekomponenten anderer Softwareanbieter.</a:t>
            </a:r>
          </a:p>
          <a:p>
            <a:pPr defTabSz="767432">
              <a:spcBef>
                <a:spcPts val="1008"/>
              </a:spcBef>
            </a:pPr>
            <a:r>
              <a:rPr lang="en-US" sz="1000" noProof="1" smtClean="0">
                <a:solidFill>
                  <a:srgbClr val="000000"/>
                </a:solidFill>
                <a:ea typeface="MS PGothic" pitchFamily="34" charset="-128"/>
              </a:rPr>
              <a:t>Produkte können länderspezifische Unterschiede aufweisen.</a:t>
            </a:r>
          </a:p>
          <a:p>
            <a:pPr defTabSz="767432">
              <a:spcBef>
                <a:spcPts val="1008"/>
              </a:spcBef>
            </a:pPr>
            <a:r>
              <a:rPr lang="en-US" sz="1000" noProof="1" smtClean="0">
                <a:solidFill>
                  <a:srgbClr val="000000"/>
                </a:solidFill>
                <a:ea typeface="MS PGothic" pitchFamily="34" charset="-128"/>
              </a:rPr>
              <a:t>Die vorliegenden Unterlagen werden von der SAP AG und ihren Konzernunternehmen („SAP-Konzern“) bereitgestellt und dienen ausschließlich zu Informationszwecken. Der SAP-Konzern übernimmt keinerlei Haftung oder Gewährleistung für Fehler oder Unvollständigkeiten in dieser Publikation. Der SAP-Konzer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defTabSz="767432">
              <a:spcBef>
                <a:spcPts val="1008"/>
              </a:spcBef>
            </a:pPr>
            <a:r>
              <a:rPr lang="en-US" sz="1000" noProof="1" smtClean="0">
                <a:solidFill>
                  <a:srgbClr val="000000"/>
                </a:solidFill>
                <a:ea typeface="MS PGothic" pitchFamily="34" charset="-128"/>
              </a:rPr>
              <a:t>SAP und andere in diesem Dokument erwähnte Produkte und Dienstleistungen von SAP sowie die dazugehörigen Logos sind Marken oder eingetragene Marken der SAP AG in Deutschland und verschiedenen anderen Ländern weltweit. Weitere Hinweise und Informationen zum Markenrecht finden Sie unter </a:t>
            </a:r>
            <a:r>
              <a:rPr lang="en-US" sz="1000" noProof="1" smtClean="0">
                <a:solidFill>
                  <a:srgbClr val="000000"/>
                </a:solidFill>
                <a:ea typeface="MS PGothic" pitchFamily="34" charset="-128"/>
                <a:hlinkClick r:id="rId2"/>
              </a:rPr>
              <a:t>http://www.sap.com/corporate-en/legal/copyright/index.epx#trademark</a:t>
            </a:r>
            <a:r>
              <a:rPr lang="en-US" sz="1000" noProof="1" smtClean="0">
                <a:solidFill>
                  <a:srgbClr val="000000"/>
                </a:solidFill>
                <a:ea typeface="MS PGothic" pitchFamily="34" charset="-128"/>
              </a:rPr>
              <a:t>.</a:t>
            </a:r>
          </a:p>
        </p:txBody>
      </p:sp>
    </p:spTree>
    <p:extLst>
      <p:ext uri="{BB962C8B-B14F-4D97-AF65-F5344CB8AC3E}">
        <p14:creationId xmlns:p14="http://schemas.microsoft.com/office/powerpoint/2010/main" val="401309837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with logo">
    <p:spTree>
      <p:nvGrpSpPr>
        <p:cNvPr id="1" name=""/>
        <p:cNvGrpSpPr/>
        <p:nvPr/>
      </p:nvGrpSpPr>
      <p:grpSpPr>
        <a:xfrm>
          <a:off x="0" y="0"/>
          <a:ext cx="0" cy="0"/>
          <a:chOff x="0" y="0"/>
          <a:chExt cx="0" cy="0"/>
        </a:xfrm>
      </p:grpSpPr>
      <p:sp>
        <p:nvSpPr>
          <p:cNvPr id="3" name="TextBox 5"/>
          <p:cNvSpPr txBox="1">
            <a:spLocks noChangeArrowheads="1"/>
          </p:cNvSpPr>
          <p:nvPr/>
        </p:nvSpPr>
        <p:spPr bwMode="gray">
          <a:xfrm>
            <a:off x="4238629" y="6724654"/>
            <a:ext cx="655629"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93663" indent="-93663">
              <a:defRPr>
                <a:solidFill>
                  <a:schemeClr val="tx1"/>
                </a:solidFill>
                <a:latin typeface="Arial" pitchFamily="34" charset="0"/>
              </a:defRPr>
            </a:lvl1pPr>
            <a:lvl2pPr marL="742950" indent="-285750">
              <a:buClr>
                <a:srgbClr val="FDB913"/>
              </a:buClr>
              <a:buSzPct val="100000"/>
              <a:buFont typeface="Wingdings" pitchFamily="2" charset="2"/>
              <a:buChar char=""/>
              <a:defRPr>
                <a:solidFill>
                  <a:schemeClr val="tx1"/>
                </a:solidFill>
                <a:latin typeface="Arial" pitchFamily="34" charset="0"/>
              </a:defRPr>
            </a:lvl2pPr>
            <a:lvl3pPr marL="1143000" indent="-228600">
              <a:buClr>
                <a:srgbClr val="666666"/>
              </a:buClr>
              <a:buSzPct val="80000"/>
              <a:buFont typeface="Wingdings" pitchFamily="2" charset="2"/>
              <a:buChar char="n"/>
              <a:defRPr sz="1400">
                <a:solidFill>
                  <a:schemeClr val="tx1"/>
                </a:solidFill>
                <a:latin typeface="Arial" pitchFamily="34" charset="0"/>
              </a:defRPr>
            </a:lvl3pPr>
            <a:lvl4pPr marL="1600200" indent="-228600">
              <a:buClr>
                <a:srgbClr val="666666"/>
              </a:buClr>
              <a:buSzPct val="80000"/>
              <a:buFont typeface="Arial" pitchFamily="34" charset="0"/>
              <a:buChar char=""/>
              <a:defRPr sz="1200">
                <a:solidFill>
                  <a:schemeClr val="tx1"/>
                </a:solidFill>
                <a:latin typeface="Arial" pitchFamily="34" charset="0"/>
              </a:defRPr>
            </a:lvl4pPr>
            <a:lvl5pPr marL="2057400" indent="-228600">
              <a:buClr>
                <a:srgbClr val="666666"/>
              </a:buClr>
              <a:buSzPct val="80000"/>
              <a:buFont typeface="Arial" pitchFamily="34" charset="0"/>
              <a:buChar char=""/>
              <a:defRPr sz="1000">
                <a:solidFill>
                  <a:schemeClr val="tx1"/>
                </a:solidFill>
                <a:latin typeface="Arial" pitchFamily="34" charset="0"/>
              </a:defRPr>
            </a:lvl5pPr>
            <a:lvl6pPr marL="25146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6pPr>
            <a:lvl7pPr marL="29718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7pPr>
            <a:lvl8pPr marL="34290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8pPr>
            <a:lvl9pPr marL="3886200" indent="-228600" fontAlgn="base">
              <a:spcBef>
                <a:spcPct val="0"/>
              </a:spcBef>
              <a:spcAft>
                <a:spcPct val="0"/>
              </a:spcAft>
              <a:buClr>
                <a:srgbClr val="666666"/>
              </a:buClr>
              <a:buSzPct val="80000"/>
              <a:buFont typeface="Arial" pitchFamily="34" charset="0"/>
              <a:buChar char=""/>
              <a:defRPr sz="1000">
                <a:solidFill>
                  <a:schemeClr val="tx1"/>
                </a:solidFill>
                <a:latin typeface="Arial" pitchFamily="34" charset="0"/>
              </a:defRPr>
            </a:lvl9pPr>
          </a:lstStyle>
          <a:p>
            <a:pPr defTabSz="913782">
              <a:buClr>
                <a:srgbClr val="666666"/>
              </a:buClr>
              <a:buFont typeface="Arial" pitchFamily="34" charset="0"/>
              <a:buNone/>
              <a:defRPr/>
            </a:pPr>
            <a:r>
              <a:rPr lang="en-US" sz="700" smtClean="0">
                <a:solidFill>
                  <a:srgbClr val="9E3039"/>
                </a:solidFill>
                <a:cs typeface="Arial" pitchFamily="34" charset="0"/>
              </a:rPr>
              <a:t>CONFIDENTIAL</a:t>
            </a:r>
          </a:p>
        </p:txBody>
      </p:sp>
      <p:sp>
        <p:nvSpPr>
          <p:cNvPr id="2" name="Title 1"/>
          <p:cNvSpPr>
            <a:spLocks noGrp="1"/>
          </p:cNvSpPr>
          <p:nvPr>
            <p:ph type="title"/>
          </p:nvPr>
        </p:nvSpPr>
        <p:spPr/>
        <p:txBody>
          <a:bodyPr/>
          <a:lstStyle/>
          <a:p>
            <a:r>
              <a:rPr lang="en-US" noProof="0" dirty="0" smtClean="0"/>
              <a:t>Click to edit Master title style</a:t>
            </a:r>
            <a:endParaRPr lang="en-US" dirty="0"/>
          </a:p>
        </p:txBody>
      </p:sp>
    </p:spTree>
    <p:extLst>
      <p:ext uri="{BB962C8B-B14F-4D97-AF65-F5344CB8AC3E}">
        <p14:creationId xmlns:p14="http://schemas.microsoft.com/office/powerpoint/2010/main" val="299284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4091"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091"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1" y="1499872"/>
            <a:ext cx="8280000" cy="492443"/>
          </a:xfrm>
        </p:spPr>
        <p:txBody>
          <a:bodyPr anchor="t" anchorCtr="0">
            <a:noAutofit/>
          </a:bodyPr>
          <a:lstStyle>
            <a:lvl1pPr marL="0" marR="0" indent="0" algn="l" defTabSz="914091"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045" indent="0" algn="ctr">
              <a:buNone/>
              <a:defRPr>
                <a:solidFill>
                  <a:schemeClr val="tx1">
                    <a:tint val="75000"/>
                  </a:schemeClr>
                </a:solidFill>
              </a:defRPr>
            </a:lvl2pPr>
            <a:lvl3pPr marL="914091" indent="0" algn="ctr">
              <a:buNone/>
              <a:defRPr>
                <a:solidFill>
                  <a:schemeClr val="tx1">
                    <a:tint val="75000"/>
                  </a:schemeClr>
                </a:solidFill>
              </a:defRPr>
            </a:lvl3pPr>
            <a:lvl4pPr marL="1371136" indent="0" algn="ctr">
              <a:buNone/>
              <a:defRPr>
                <a:solidFill>
                  <a:schemeClr val="tx1">
                    <a:tint val="75000"/>
                  </a:schemeClr>
                </a:solidFill>
              </a:defRPr>
            </a:lvl4pPr>
            <a:lvl5pPr marL="1828181" indent="0" algn="ctr">
              <a:buNone/>
              <a:defRPr>
                <a:solidFill>
                  <a:schemeClr val="tx1">
                    <a:tint val="75000"/>
                  </a:schemeClr>
                </a:solidFill>
              </a:defRPr>
            </a:lvl5pPr>
            <a:lvl6pPr marL="2285226" indent="0" algn="ctr">
              <a:buNone/>
              <a:defRPr>
                <a:solidFill>
                  <a:schemeClr val="tx1">
                    <a:tint val="75000"/>
                  </a:schemeClr>
                </a:solidFill>
              </a:defRPr>
            </a:lvl6pPr>
            <a:lvl7pPr marL="2742272" indent="0" algn="ctr">
              <a:buNone/>
              <a:defRPr>
                <a:solidFill>
                  <a:schemeClr val="tx1">
                    <a:tint val="75000"/>
                  </a:schemeClr>
                </a:solidFill>
              </a:defRPr>
            </a:lvl7pPr>
            <a:lvl8pPr marL="3199317" indent="0" algn="ctr">
              <a:buNone/>
              <a:defRPr>
                <a:solidFill>
                  <a:schemeClr val="tx1">
                    <a:tint val="75000"/>
                  </a:schemeClr>
                </a:solidFill>
              </a:defRPr>
            </a:lvl8pPr>
            <a:lvl9pPr marL="3656362"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
        <p:nvSpPr>
          <p:cNvPr id="10" name="Rounded Rectangle 9"/>
          <p:cNvSpPr/>
          <p:nvPr userDrawn="1"/>
        </p:nvSpPr>
        <p:spPr bwMode="gray">
          <a:xfrm rot="900000">
            <a:off x="6772218" y="3348028"/>
            <a:ext cx="2021851" cy="467286"/>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3951" tIns="71975" rIns="143951" bIns="71975" rtlCol="0" anchor="ctr">
            <a:spAutoFit/>
          </a:bodyPr>
          <a:lstStyle/>
          <a:p>
            <a:pPr algn="ctr" defTabSz="914091"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sym typeface="Arial"/>
              </a:rPr>
              <a:t>CONFIDENTIAL</a:t>
            </a:r>
            <a:endParaRPr lang="en-US"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309213850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4091"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091"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1"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1" y="1499872"/>
            <a:ext cx="8280000" cy="492443"/>
          </a:xfrm>
        </p:spPr>
        <p:txBody>
          <a:bodyPr anchor="t" anchorCtr="0">
            <a:noAutofit/>
          </a:bodyPr>
          <a:lstStyle>
            <a:lvl1pPr marL="0" marR="0" indent="0" algn="l" defTabSz="914091"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045" indent="0" algn="ctr">
              <a:buNone/>
              <a:defRPr>
                <a:solidFill>
                  <a:schemeClr val="tx1">
                    <a:tint val="75000"/>
                  </a:schemeClr>
                </a:solidFill>
              </a:defRPr>
            </a:lvl2pPr>
            <a:lvl3pPr marL="914091" indent="0" algn="ctr">
              <a:buNone/>
              <a:defRPr>
                <a:solidFill>
                  <a:schemeClr val="tx1">
                    <a:tint val="75000"/>
                  </a:schemeClr>
                </a:solidFill>
              </a:defRPr>
            </a:lvl3pPr>
            <a:lvl4pPr marL="1371136" indent="0" algn="ctr">
              <a:buNone/>
              <a:defRPr>
                <a:solidFill>
                  <a:schemeClr val="tx1">
                    <a:tint val="75000"/>
                  </a:schemeClr>
                </a:solidFill>
              </a:defRPr>
            </a:lvl4pPr>
            <a:lvl5pPr marL="1828181" indent="0" algn="ctr">
              <a:buNone/>
              <a:defRPr>
                <a:solidFill>
                  <a:schemeClr val="tx1">
                    <a:tint val="75000"/>
                  </a:schemeClr>
                </a:solidFill>
              </a:defRPr>
            </a:lvl5pPr>
            <a:lvl6pPr marL="2285226" indent="0" algn="ctr">
              <a:buNone/>
              <a:defRPr>
                <a:solidFill>
                  <a:schemeClr val="tx1">
                    <a:tint val="75000"/>
                  </a:schemeClr>
                </a:solidFill>
              </a:defRPr>
            </a:lvl6pPr>
            <a:lvl7pPr marL="2742272" indent="0" algn="ctr">
              <a:buNone/>
              <a:defRPr>
                <a:solidFill>
                  <a:schemeClr val="tx1">
                    <a:tint val="75000"/>
                  </a:schemeClr>
                </a:solidFill>
              </a:defRPr>
            </a:lvl7pPr>
            <a:lvl8pPr marL="3199317" indent="0" algn="ctr">
              <a:buNone/>
              <a:defRPr>
                <a:solidFill>
                  <a:schemeClr val="tx1">
                    <a:tint val="75000"/>
                  </a:schemeClr>
                </a:solidFill>
              </a:defRPr>
            </a:lvl8pPr>
            <a:lvl9pPr marL="3656362"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
        <p:nvSpPr>
          <p:cNvPr id="10" name="Rounded Rectangle 9"/>
          <p:cNvSpPr/>
          <p:nvPr userDrawn="1"/>
        </p:nvSpPr>
        <p:spPr bwMode="gray">
          <a:xfrm rot="900000">
            <a:off x="6772218" y="3348028"/>
            <a:ext cx="2021851" cy="467286"/>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3951" tIns="71975" rIns="143951" bIns="71975" rtlCol="0" anchor="ctr">
            <a:spAutoFit/>
          </a:bodyPr>
          <a:lstStyle/>
          <a:p>
            <a:pPr algn="ctr" defTabSz="914091"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sym typeface="Arial"/>
              </a:rPr>
              <a:t>CONFIDENTIAL</a:t>
            </a:r>
            <a:endParaRPr lang="en-US"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1468271055"/>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1" y="1499872"/>
            <a:ext cx="8280000" cy="492443"/>
          </a:xfrm>
        </p:spPr>
        <p:txBody>
          <a:bodyPr anchor="t" anchorCtr="0">
            <a:noAutofit/>
          </a:bodyPr>
          <a:lstStyle>
            <a:lvl1pPr marL="0" marR="0" indent="0" algn="l" defTabSz="914091"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045" indent="0" algn="ctr">
              <a:buNone/>
              <a:defRPr>
                <a:solidFill>
                  <a:schemeClr val="tx1">
                    <a:tint val="75000"/>
                  </a:schemeClr>
                </a:solidFill>
              </a:defRPr>
            </a:lvl2pPr>
            <a:lvl3pPr marL="914091" indent="0" algn="ctr">
              <a:buNone/>
              <a:defRPr>
                <a:solidFill>
                  <a:schemeClr val="tx1">
                    <a:tint val="75000"/>
                  </a:schemeClr>
                </a:solidFill>
              </a:defRPr>
            </a:lvl3pPr>
            <a:lvl4pPr marL="1371136" indent="0" algn="ctr">
              <a:buNone/>
              <a:defRPr>
                <a:solidFill>
                  <a:schemeClr val="tx1">
                    <a:tint val="75000"/>
                  </a:schemeClr>
                </a:solidFill>
              </a:defRPr>
            </a:lvl4pPr>
            <a:lvl5pPr marL="1828181" indent="0" algn="ctr">
              <a:buNone/>
              <a:defRPr>
                <a:solidFill>
                  <a:schemeClr val="tx1">
                    <a:tint val="75000"/>
                  </a:schemeClr>
                </a:solidFill>
              </a:defRPr>
            </a:lvl5pPr>
            <a:lvl6pPr marL="2285226" indent="0" algn="ctr">
              <a:buNone/>
              <a:defRPr>
                <a:solidFill>
                  <a:schemeClr val="tx1">
                    <a:tint val="75000"/>
                  </a:schemeClr>
                </a:solidFill>
              </a:defRPr>
            </a:lvl6pPr>
            <a:lvl7pPr marL="2742272" indent="0" algn="ctr">
              <a:buNone/>
              <a:defRPr>
                <a:solidFill>
                  <a:schemeClr val="tx1">
                    <a:tint val="75000"/>
                  </a:schemeClr>
                </a:solidFill>
              </a:defRPr>
            </a:lvl7pPr>
            <a:lvl8pPr marL="3199317" indent="0" algn="ctr">
              <a:buNone/>
              <a:defRPr>
                <a:solidFill>
                  <a:schemeClr val="tx1">
                    <a:tint val="75000"/>
                  </a:schemeClr>
                </a:solidFill>
              </a:defRPr>
            </a:lvl8pPr>
            <a:lvl9pPr marL="3656362"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5"/>
            <a:ext cx="916953" cy="454025"/>
          </a:xfrm>
          <a:prstGeom prst="rect">
            <a:avLst/>
          </a:prstGeom>
        </p:spPr>
      </p:pic>
    </p:spTree>
    <p:extLst>
      <p:ext uri="{BB962C8B-B14F-4D97-AF65-F5344CB8AC3E}">
        <p14:creationId xmlns:p14="http://schemas.microsoft.com/office/powerpoint/2010/main" val="309826145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1" y="478634"/>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1"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1" y="1499872"/>
            <a:ext cx="8280000" cy="492443"/>
          </a:xfrm>
        </p:spPr>
        <p:txBody>
          <a:bodyPr anchor="t" anchorCtr="0">
            <a:noAutofit/>
          </a:bodyPr>
          <a:lstStyle>
            <a:lvl1pPr marL="0" marR="0" indent="0" algn="l" defTabSz="914091"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045" indent="0" algn="ctr">
              <a:buNone/>
              <a:defRPr>
                <a:solidFill>
                  <a:schemeClr val="tx1">
                    <a:tint val="75000"/>
                  </a:schemeClr>
                </a:solidFill>
              </a:defRPr>
            </a:lvl2pPr>
            <a:lvl3pPr marL="914091" indent="0" algn="ctr">
              <a:buNone/>
              <a:defRPr>
                <a:solidFill>
                  <a:schemeClr val="tx1">
                    <a:tint val="75000"/>
                  </a:schemeClr>
                </a:solidFill>
              </a:defRPr>
            </a:lvl3pPr>
            <a:lvl4pPr marL="1371136" indent="0" algn="ctr">
              <a:buNone/>
              <a:defRPr>
                <a:solidFill>
                  <a:schemeClr val="tx1">
                    <a:tint val="75000"/>
                  </a:schemeClr>
                </a:solidFill>
              </a:defRPr>
            </a:lvl4pPr>
            <a:lvl5pPr marL="1828181" indent="0" algn="ctr">
              <a:buNone/>
              <a:defRPr>
                <a:solidFill>
                  <a:schemeClr val="tx1">
                    <a:tint val="75000"/>
                  </a:schemeClr>
                </a:solidFill>
              </a:defRPr>
            </a:lvl5pPr>
            <a:lvl6pPr marL="2285226" indent="0" algn="ctr">
              <a:buNone/>
              <a:defRPr>
                <a:solidFill>
                  <a:schemeClr val="tx1">
                    <a:tint val="75000"/>
                  </a:schemeClr>
                </a:solidFill>
              </a:defRPr>
            </a:lvl6pPr>
            <a:lvl7pPr marL="2742272" indent="0" algn="ctr">
              <a:buNone/>
              <a:defRPr>
                <a:solidFill>
                  <a:schemeClr val="tx1">
                    <a:tint val="75000"/>
                  </a:schemeClr>
                </a:solidFill>
              </a:defRPr>
            </a:lvl7pPr>
            <a:lvl8pPr marL="3199317" indent="0" algn="ctr">
              <a:buNone/>
              <a:defRPr>
                <a:solidFill>
                  <a:schemeClr val="tx1">
                    <a:tint val="75000"/>
                  </a:schemeClr>
                </a:solidFill>
              </a:defRPr>
            </a:lvl8pPr>
            <a:lvl9pPr marL="3656362"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5"/>
            <a:ext cx="916953" cy="454025"/>
          </a:xfrm>
          <a:prstGeom prst="rect">
            <a:avLst/>
          </a:prstGeom>
        </p:spPr>
      </p:pic>
    </p:spTree>
    <p:extLst>
      <p:ext uri="{BB962C8B-B14F-4D97-AF65-F5344CB8AC3E}">
        <p14:creationId xmlns:p14="http://schemas.microsoft.com/office/powerpoint/2010/main" val="84986011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userDrawn="1">
            <p:ph type="subTitle" idx="1" hasCustomPrompt="1"/>
          </p:nvPr>
        </p:nvSpPr>
        <p:spPr bwMode="gray">
          <a:xfrm>
            <a:off x="414001" y="1499872"/>
            <a:ext cx="8280000" cy="492443"/>
          </a:xfrm>
        </p:spPr>
        <p:txBody>
          <a:bodyPr anchor="t" anchorCtr="0">
            <a:noAutofit/>
          </a:bodyPr>
          <a:lstStyle>
            <a:lvl1pPr marL="0" marR="0" indent="0" algn="l" defTabSz="914091"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045" indent="0" algn="ctr">
              <a:buNone/>
              <a:defRPr>
                <a:solidFill>
                  <a:schemeClr val="tx1">
                    <a:tint val="75000"/>
                  </a:schemeClr>
                </a:solidFill>
              </a:defRPr>
            </a:lvl2pPr>
            <a:lvl3pPr marL="914091" indent="0" algn="ctr">
              <a:buNone/>
              <a:defRPr>
                <a:solidFill>
                  <a:schemeClr val="tx1">
                    <a:tint val="75000"/>
                  </a:schemeClr>
                </a:solidFill>
              </a:defRPr>
            </a:lvl3pPr>
            <a:lvl4pPr marL="1371136" indent="0" algn="ctr">
              <a:buNone/>
              <a:defRPr>
                <a:solidFill>
                  <a:schemeClr val="tx1">
                    <a:tint val="75000"/>
                  </a:schemeClr>
                </a:solidFill>
              </a:defRPr>
            </a:lvl4pPr>
            <a:lvl5pPr marL="1828181" indent="0" algn="ctr">
              <a:buNone/>
              <a:defRPr>
                <a:solidFill>
                  <a:schemeClr val="tx1">
                    <a:tint val="75000"/>
                  </a:schemeClr>
                </a:solidFill>
              </a:defRPr>
            </a:lvl5pPr>
            <a:lvl6pPr marL="2285226" indent="0" algn="ctr">
              <a:buNone/>
              <a:defRPr>
                <a:solidFill>
                  <a:schemeClr val="tx1">
                    <a:tint val="75000"/>
                  </a:schemeClr>
                </a:solidFill>
              </a:defRPr>
            </a:lvl6pPr>
            <a:lvl7pPr marL="2742272" indent="0" algn="ctr">
              <a:buNone/>
              <a:defRPr>
                <a:solidFill>
                  <a:schemeClr val="tx1">
                    <a:tint val="75000"/>
                  </a:schemeClr>
                </a:solidFill>
              </a:defRPr>
            </a:lvl7pPr>
            <a:lvl8pPr marL="3199317" indent="0" algn="ctr">
              <a:buNone/>
              <a:defRPr>
                <a:solidFill>
                  <a:schemeClr val="tx1">
                    <a:tint val="75000"/>
                  </a:schemeClr>
                </a:solidFill>
              </a:defRPr>
            </a:lvl8pPr>
            <a:lvl9pPr marL="3656362"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print"/>
          <a:stretch>
            <a:fillRect/>
          </a:stretch>
        </p:blipFill>
        <p:spPr>
          <a:xfrm>
            <a:off x="323850" y="6080402"/>
            <a:ext cx="1832544" cy="453600"/>
          </a:xfrm>
          <a:prstGeom prst="rect">
            <a:avLst/>
          </a:prstGeom>
        </p:spPr>
      </p:pic>
    </p:spTree>
    <p:extLst>
      <p:ext uri="{BB962C8B-B14F-4D97-AF65-F5344CB8AC3E}">
        <p14:creationId xmlns:p14="http://schemas.microsoft.com/office/powerpoint/2010/main" val="73562202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2"/>
            <a:ext cx="8496000" cy="2295525"/>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2"/>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5"/>
            <a:ext cx="916953" cy="454025"/>
          </a:xfrm>
          <a:prstGeom prst="rect">
            <a:avLst/>
          </a:prstGeom>
        </p:spPr>
      </p:pic>
    </p:spTree>
    <p:extLst>
      <p:ext uri="{BB962C8B-B14F-4D97-AF65-F5344CB8AC3E}">
        <p14:creationId xmlns:p14="http://schemas.microsoft.com/office/powerpoint/2010/main" val="4690809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nchor="ctr" anchorCtr="0"/>
          <a:lstStyle>
            <a:lvl1pPr algn="ctr">
              <a:defRPr/>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2"/>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5"/>
            <a:ext cx="916953" cy="454025"/>
          </a:xfrm>
          <a:prstGeom prst="rect">
            <a:avLst/>
          </a:prstGeom>
        </p:spPr>
      </p:pic>
    </p:spTree>
    <p:extLst>
      <p:ext uri="{BB962C8B-B14F-4D97-AF65-F5344CB8AC3E}">
        <p14:creationId xmlns:p14="http://schemas.microsoft.com/office/powerpoint/2010/main" val="11586726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1" y="478633"/>
            <a:ext cx="1832305" cy="907257"/>
          </a:xfrm>
          <a:prstGeom prst="rect">
            <a:avLst/>
          </a:prstGeom>
        </p:spPr>
      </p:pic>
    </p:spTree>
    <p:extLst>
      <p:ext uri="{BB962C8B-B14F-4D97-AF65-F5344CB8AC3E}">
        <p14:creationId xmlns:p14="http://schemas.microsoft.com/office/powerpoint/2010/main" val="42506915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1" y="1692002"/>
            <a:ext cx="8494713" cy="3831818"/>
          </a:xfrm>
        </p:spPr>
        <p:txBody>
          <a:bodyPr>
            <a:noAutofit/>
          </a:bodyPr>
          <a:lstStyle>
            <a:lvl1pPr marL="0" marR="0" indent="0" algn="l" defTabSz="914091"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091"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091" rtl="0" eaLnBrk="1" fontAlgn="auto" latinLnBrk="0" hangingPunct="1">
              <a:lnSpc>
                <a:spcPct val="100000"/>
              </a:lnSpc>
              <a:spcBef>
                <a:spcPts val="2400"/>
              </a:spcBef>
              <a:spcAft>
                <a:spcPts val="0"/>
              </a:spcAft>
              <a:buClr>
                <a:schemeClr val="accent1"/>
              </a:buClr>
              <a:buSzPct val="80000"/>
              <a:buFontTx/>
              <a:buNone/>
              <a:tabLst/>
              <a:defRPr/>
            </a:lvl3pPr>
            <a:lvl4pPr marL="269908" indent="-179939">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extLst>
      <p:ext uri="{BB962C8B-B14F-4D97-AF65-F5344CB8AC3E}">
        <p14:creationId xmlns:p14="http://schemas.microsoft.com/office/powerpoint/2010/main" val="226785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228992405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98617424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5583424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001"/>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1"/>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20919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1" y="1692003"/>
            <a:ext cx="8494713" cy="3831818"/>
          </a:xfrm>
        </p:spPr>
        <p:txBody>
          <a:bodyPr>
            <a:noAutofit/>
          </a:bodyPr>
          <a:lstStyle>
            <a:lvl1pPr marL="0" marR="0" indent="0" algn="l" defTabSz="913936" rtl="0" eaLnBrk="1" fontAlgn="auto" latinLnBrk="0" hangingPunct="1">
              <a:lnSpc>
                <a:spcPct val="100000"/>
              </a:lnSpc>
              <a:spcBef>
                <a:spcPts val="1200"/>
              </a:spcBef>
              <a:spcAft>
                <a:spcPts val="0"/>
              </a:spcAft>
              <a:buClr>
                <a:schemeClr val="accent1"/>
              </a:buClr>
              <a:buSzPct val="80000"/>
              <a:buFontTx/>
              <a:buNone/>
              <a:tabLst/>
              <a:defRPr b="0"/>
            </a:lvl1pPr>
            <a:lvl2pPr marL="179908" marR="0" indent="-179908" algn="l" defTabSz="913936"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59817" marR="0" indent="-180882" algn="l" defTabSz="913936"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129" marR="0" indent="-177710" algn="l" defTabSz="913936"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39726">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9"/>
            <a:ext cx="3078000" cy="4391025"/>
          </a:xfrm>
        </p:spPr>
        <p:txBody>
          <a:bodyPr tIns="1295561" anchor="t" anchorCtr="0"/>
          <a:lstStyle>
            <a:lvl1pPr algn="ctr">
              <a:defRPr b="0"/>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0689"/>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213430037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2"/>
            <a:ext cx="4165200" cy="4392000"/>
          </a:xfrm>
        </p:spPr>
        <p:txBody>
          <a:bodyPr vert="horz" lIns="0" tIns="1295561" rIns="0" bIns="0" rtlCol="0" anchor="t" anchorCtr="0">
            <a:noAutofit/>
          </a:bodyPr>
          <a:lstStyle>
            <a:lvl1pPr marL="0" indent="0" algn="ctr" defTabSz="914091"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2"/>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399977928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2"/>
            <a:ext cx="5238000" cy="4392000"/>
          </a:xfrm>
        </p:spPr>
        <p:txBody>
          <a:bodyPr vert="horz" lIns="0" tIns="1295561" rIns="0" bIns="0" rtlCol="0" anchor="t" anchorCtr="0">
            <a:noAutofit/>
          </a:bodyPr>
          <a:lstStyle>
            <a:lvl1pPr marL="0" indent="0" algn="ctr" defTabSz="914091"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2"/>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extLst>
      <p:ext uri="{BB962C8B-B14F-4D97-AF65-F5344CB8AC3E}">
        <p14:creationId xmlns:p14="http://schemas.microsoft.com/office/powerpoint/2010/main" val="140130325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2"/>
            <a:ext cx="4165200" cy="2508223"/>
          </a:xfrm>
        </p:spPr>
        <p:txBody>
          <a:bodyPr tIns="503830" anchor="t" anchorCtr="0"/>
          <a:lstStyle>
            <a:lvl1pPr algn="ctr">
              <a:defRPr b="0"/>
            </a:lvl1pPr>
          </a:lstStyle>
          <a:p>
            <a:r>
              <a:rPr lang="en-US" dirty="0" smtClean="0"/>
              <a:t>Click icon to add picture</a:t>
            </a:r>
            <a:endParaRPr lang="de-DE" dirty="0"/>
          </a:p>
        </p:txBody>
      </p:sp>
      <p:sp>
        <p:nvSpPr>
          <p:cNvPr id="11" name="Picture Placeholder 4"/>
          <p:cNvSpPr>
            <a:spLocks noGrp="1"/>
          </p:cNvSpPr>
          <p:nvPr>
            <p:ph type="pic" sz="quarter" idx="16"/>
          </p:nvPr>
        </p:nvSpPr>
        <p:spPr bwMode="gray">
          <a:xfrm>
            <a:off x="4654800" y="3573492"/>
            <a:ext cx="4165200" cy="2508223"/>
          </a:xfrm>
        </p:spPr>
        <p:txBody>
          <a:bodyPr tIns="503830" anchor="t" anchorCtr="0"/>
          <a:lstStyle>
            <a:lvl1pPr algn="ctr">
              <a:defRPr b="0"/>
            </a:lvl1pPr>
          </a:lstStyle>
          <a:p>
            <a:r>
              <a:rPr lang="en-US" dirty="0" smtClean="0"/>
              <a:t>Click icon to add picture</a:t>
            </a:r>
            <a:endParaRPr lang="de-DE" dirty="0"/>
          </a:p>
        </p:txBody>
      </p:sp>
    </p:spTree>
    <p:extLst>
      <p:ext uri="{BB962C8B-B14F-4D97-AF65-F5344CB8AC3E}">
        <p14:creationId xmlns:p14="http://schemas.microsoft.com/office/powerpoint/2010/main" val="379893284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2000"/>
            <a:ext cx="8496000" cy="4392000"/>
          </a:xfrm>
        </p:spPr>
        <p:txBody>
          <a:bodyPr tIns="1439512"/>
          <a:lstStyle>
            <a:lvl1pPr algn="ctr">
              <a:defRPr b="0"/>
            </a:lvl1pPr>
          </a:lstStyle>
          <a:p>
            <a:pPr lvl="0"/>
            <a:r>
              <a:rPr lang="en-US" dirty="0" smtClean="0"/>
              <a:t>Click to add content</a:t>
            </a:r>
          </a:p>
        </p:txBody>
      </p:sp>
    </p:spTree>
    <p:extLst>
      <p:ext uri="{BB962C8B-B14F-4D97-AF65-F5344CB8AC3E}">
        <p14:creationId xmlns:p14="http://schemas.microsoft.com/office/powerpoint/2010/main" val="50784042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1" y="1692000"/>
            <a:ext cx="8494713" cy="2816156"/>
          </a:xfrm>
        </p:spPr>
        <p:txBody>
          <a:bodyPr>
            <a:noAutofit/>
          </a:bodyPr>
          <a:lstStyle>
            <a:lvl1pPr>
              <a:spcBef>
                <a:spcPts val="1799"/>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extLst>
      <p:ext uri="{BB962C8B-B14F-4D97-AF65-F5344CB8AC3E}">
        <p14:creationId xmlns:p14="http://schemas.microsoft.com/office/powerpoint/2010/main" val="111971137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71605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defTabSz="914091">
              <a:lnSpc>
                <a:spcPct val="95000"/>
              </a:lnSpc>
              <a:spcBef>
                <a:spcPts val="400"/>
              </a:spcBef>
            </a:pPr>
            <a:r>
              <a:rPr lang="en-GB"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Some software products marketed by SAP AG and its distributors contain proprietary software components of other software vendors.</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Microsoft, Windows, Excel, Outlook, and PowerPoint are registered trademarks of Microsoft Corporation. </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Linux is the registered trademark of Linus Torvalds in the U.S. and other countries.</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Oracle is a registered trademark of Oracle Corporation.</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UNIX, X/Open, OSF/1, and Motif are registered trademarks of the Open Group.</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Citrix, ICA, Program Neighborhood, MetaFrame, WinFrame, VideoFrame, and MultiWin are trademarks or registered trademarks of Citrix Systems, Inc.</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HTML, XML, XHTML and W3C are trademarks or registered trademarks of W3C®, World Wide Web Consortium, Massachusetts Institute of Technology. </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Java is a registered trademark of Sun Microsystems, Inc.</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JavaScript is a registered trademark of Sun Microsystems, Inc., used under license for technology invented and implemented by Netscape. </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sz="800" noProof="1" smtClean="0">
              <a:solidFill>
                <a:srgbClr val="000000"/>
              </a:solidFill>
              <a:ea typeface="MS PGothic" pitchFamily="34" charset="-128"/>
            </a:endParaRPr>
          </a:p>
        </p:txBody>
      </p:sp>
      <p:sp>
        <p:nvSpPr>
          <p:cNvPr id="11" name="TextBox 10"/>
          <p:cNvSpPr txBox="1"/>
          <p:nvPr userDrawn="1"/>
        </p:nvSpPr>
        <p:spPr bwMode="gray">
          <a:xfrm>
            <a:off x="324001" y="324000"/>
            <a:ext cx="5311198" cy="756000"/>
          </a:xfrm>
          <a:prstGeom prst="rect">
            <a:avLst/>
          </a:prstGeom>
        </p:spPr>
        <p:txBody>
          <a:bodyPr vert="horz" lIns="0" tIns="0" rIns="0" bIns="0" rtlCol="0" anchor="ctr" anchorCtr="0">
            <a:noAutofit/>
          </a:bodyPr>
          <a:lstStyle/>
          <a:p>
            <a:pPr defTabSz="914091">
              <a:spcBef>
                <a:spcPct val="0"/>
              </a:spcBef>
            </a:pPr>
            <a:r>
              <a:rPr lang="en-GB" sz="2400" b="1" dirty="0" smtClean="0">
                <a:solidFill>
                  <a:srgbClr val="666666"/>
                </a:solidFill>
              </a:rPr>
              <a:t>© </a:t>
            </a:r>
            <a:r>
              <a:rPr sz="2400" b="1" dirty="0" smtClean="0">
                <a:solidFill>
                  <a:srgbClr val="666666"/>
                </a:solidFill>
              </a:rPr>
              <a:t>2011 SAP AG. All rights reserved</a:t>
            </a:r>
          </a:p>
        </p:txBody>
      </p:sp>
      <p:sp>
        <p:nvSpPr>
          <p:cNvPr id="6" name="TextBox 5"/>
          <p:cNvSpPr txBox="1"/>
          <p:nvPr userDrawn="1"/>
        </p:nvSpPr>
        <p:spPr bwMode="gray">
          <a:xfrm>
            <a:off x="4654800" y="1692002"/>
            <a:ext cx="4165200" cy="3867725"/>
          </a:xfrm>
          <a:prstGeom prst="rect">
            <a:avLst/>
          </a:prstGeom>
          <a:noFill/>
        </p:spPr>
        <p:txBody>
          <a:bodyPr wrap="square" lIns="0" tIns="0" rIns="0" bIns="0" rtlCol="0">
            <a:spAutoFit/>
          </a:bodyPr>
          <a:lstStyle/>
          <a:p>
            <a:pPr defTabSz="914091" fontAlgn="t">
              <a:lnSpc>
                <a:spcPct val="95000"/>
              </a:lnSpc>
              <a:spcBef>
                <a:spcPts val="400"/>
              </a:spcBef>
            </a:pPr>
            <a:r>
              <a:rPr lang="en-US"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800" noProof="1" smtClean="0">
              <a:solidFill>
                <a:srgbClr val="000000"/>
              </a:solidFill>
              <a:ea typeface="MS PGothic" pitchFamily="34" charset="-128"/>
            </a:endParaRPr>
          </a:p>
          <a:p>
            <a:pPr defTabSz="914091">
              <a:lnSpc>
                <a:spcPct val="95000"/>
              </a:lnSpc>
              <a:spcBef>
                <a:spcPts val="400"/>
              </a:spcBef>
            </a:pPr>
            <a:r>
              <a:rPr lang="en-GB"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SAP shall have no liability for damages of any kind including without limitation direct, special, indirect, or consequential damages that may result from the use of these materials. This limitation shall not apply in cases of intent or gross negligence.</a:t>
            </a:r>
            <a:endParaRPr sz="800" noProof="1" smtClean="0">
              <a:solidFill>
                <a:srgbClr val="000000"/>
              </a:solidFill>
              <a:ea typeface="MS PGothic" pitchFamily="34" charset="-128"/>
            </a:endParaRPr>
          </a:p>
          <a:p>
            <a:pPr defTabSz="914091">
              <a:lnSpc>
                <a:spcPct val="95000"/>
              </a:lnSpc>
              <a:spcBef>
                <a:spcPts val="400"/>
              </a:spcBef>
            </a:pPr>
            <a:r>
              <a:rPr lang="en-US" sz="800" noProof="1" smtClean="0">
                <a:solidFill>
                  <a:srgbClr val="000000"/>
                </a:solidFill>
                <a:ea typeface="MS PGothic" pitchFamily="34" charset="-128"/>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noProof="1">
              <a:solidFill>
                <a:srgbClr val="000000"/>
              </a:solidFill>
              <a:ea typeface="MS PGothic" pitchFamily="34" charset="-128"/>
            </a:endParaRPr>
          </a:p>
        </p:txBody>
      </p:sp>
    </p:spTree>
    <p:extLst>
      <p:ext uri="{BB962C8B-B14F-4D97-AF65-F5344CB8AC3E}">
        <p14:creationId xmlns:p14="http://schemas.microsoft.com/office/powerpoint/2010/main" val="311231049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9"/>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2855"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2855"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1" y="1499880"/>
            <a:ext cx="828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
        <p:nvSpPr>
          <p:cNvPr id="10" name="Rounded Rectangle 9"/>
          <p:cNvSpPr/>
          <p:nvPr userDrawn="1"/>
        </p:nvSpPr>
        <p:spPr bwMode="gray">
          <a:xfrm rot="900000">
            <a:off x="6772425" y="3348141"/>
            <a:ext cx="2021452" cy="467067"/>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3757" tIns="71877" rIns="143757" bIns="71877" rtlCol="0" anchor="ctr">
            <a:spAutoFit/>
          </a:bodyPr>
          <a:lstStyle/>
          <a:p>
            <a:pPr algn="ctr" defTabSz="912855"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sym typeface="Arial"/>
              </a:rPr>
              <a:t>CONFIDENTIAL</a:t>
            </a:r>
            <a:endParaRPr lang="en-US"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161306317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324000" y="9"/>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defTabSz="912855"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2855"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1"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1" y="1499880"/>
            <a:ext cx="828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
        <p:nvSpPr>
          <p:cNvPr id="10" name="Rounded Rectangle 9"/>
          <p:cNvSpPr/>
          <p:nvPr userDrawn="1"/>
        </p:nvSpPr>
        <p:spPr bwMode="gray">
          <a:xfrm rot="900000">
            <a:off x="6772425" y="3348141"/>
            <a:ext cx="2021452" cy="467067"/>
          </a:xfrm>
          <a:prstGeom prst="roundRect">
            <a:avLst>
              <a:gd name="adj" fmla="val 16667"/>
            </a:avLst>
          </a:prstGeom>
          <a:solidFill>
            <a:srgbClr val="FF0000"/>
          </a:solidFill>
          <a:ln>
            <a:noFill/>
            <a:headEnd/>
            <a:tailEnd/>
          </a:ln>
          <a:effectLst/>
        </p:spPr>
        <p:style>
          <a:lnRef idx="3">
            <a:schemeClr val="lt1"/>
          </a:lnRef>
          <a:fillRef idx="1">
            <a:schemeClr val="accent6"/>
          </a:fillRef>
          <a:effectRef idx="1">
            <a:schemeClr val="accent6"/>
          </a:effectRef>
          <a:fontRef idx="minor">
            <a:schemeClr val="lt1"/>
          </a:fontRef>
        </p:style>
        <p:txBody>
          <a:bodyPr wrap="none" lIns="143757" tIns="71877" rIns="143757" bIns="71877" rtlCol="0" anchor="ctr">
            <a:spAutoFit/>
          </a:bodyPr>
          <a:lstStyle/>
          <a:p>
            <a:pPr algn="ctr" defTabSz="912855"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sym typeface="Arial"/>
              </a:rPr>
              <a:t>CONFIDENTIAL</a:t>
            </a:r>
            <a:endParaRPr lang="en-US" kern="0" dirty="0" smtClean="0">
              <a:solidFill>
                <a:srgbClr val="000000"/>
              </a:solidFill>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1285714090"/>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24000" y="621484"/>
            <a:ext cx="8496000" cy="458516"/>
          </a:xfrm>
        </p:spPr>
        <p:txBody>
          <a:bodyPr/>
          <a:lstStyle>
            <a:lvl1pPr>
              <a:defRPr>
                <a:solidFill>
                  <a:schemeClr val="tx1"/>
                </a:solidFill>
              </a:defRPr>
            </a:lvl1pPr>
          </a:lstStyle>
          <a:p>
            <a:r>
              <a:rPr lang="en-US" noProof="0" dirty="0" smtClean="0"/>
              <a:t>Insert page title</a:t>
            </a:r>
            <a:endParaRPr lang="de-DE" dirty="0"/>
          </a:p>
        </p:txBody>
      </p:sp>
      <p:sp>
        <p:nvSpPr>
          <p:cNvPr id="3" name="Title 1"/>
          <p:cNvSpPr txBox="1">
            <a:spLocks/>
          </p:cNvSpPr>
          <p:nvPr userDrawn="1"/>
        </p:nvSpPr>
        <p:spPr bwMode="gray">
          <a:xfrm>
            <a:off x="347004" y="243484"/>
            <a:ext cx="8496000" cy="378000"/>
          </a:xfrm>
          <a:prstGeom prst="rect">
            <a:avLst/>
          </a:prstGeom>
        </p:spPr>
        <p:txBody>
          <a:bodyPr vert="horz" lIns="0" tIns="0" rIns="0" bIns="0" rtlCol="0" anchor="ctr" anchorCtr="0">
            <a:noAutofit/>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r>
              <a:rPr lang="en-US" sz="2000" b="0" dirty="0" smtClean="0">
                <a:solidFill>
                  <a:schemeClr val="tx1"/>
                </a:solidFill>
              </a:rPr>
              <a:t>Industrial Machinery &amp; Components</a:t>
            </a:r>
            <a:endParaRPr lang="en-US" sz="2000" b="0" dirty="0">
              <a:solidFill>
                <a:schemeClr val="tx1"/>
              </a:solidFill>
            </a:endParaRPr>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1" y="1499880"/>
            <a:ext cx="828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23"/>
            <a:ext cx="916953" cy="454025"/>
          </a:xfrm>
          <a:prstGeom prst="rect">
            <a:avLst/>
          </a:prstGeom>
        </p:spPr>
      </p:pic>
    </p:spTree>
    <p:extLst>
      <p:ext uri="{BB962C8B-B14F-4D97-AF65-F5344CB8AC3E}">
        <p14:creationId xmlns:p14="http://schemas.microsoft.com/office/powerpoint/2010/main" val="1545672941"/>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1"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1" y="1499880"/>
            <a:ext cx="828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23"/>
            <a:ext cx="916953" cy="454025"/>
          </a:xfrm>
          <a:prstGeom prst="rect">
            <a:avLst/>
          </a:prstGeom>
        </p:spPr>
      </p:pic>
    </p:spTree>
    <p:extLst>
      <p:ext uri="{BB962C8B-B14F-4D97-AF65-F5344CB8AC3E}">
        <p14:creationId xmlns:p14="http://schemas.microsoft.com/office/powerpoint/2010/main" val="507334291"/>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FFFFFF"/>
              </a:solidFill>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1"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userDrawn="1">
            <p:ph type="subTitle" idx="1" hasCustomPrompt="1"/>
          </p:nvPr>
        </p:nvSpPr>
        <p:spPr bwMode="gray">
          <a:xfrm>
            <a:off x="414001" y="1499880"/>
            <a:ext cx="8280000" cy="492443"/>
          </a:xfrm>
        </p:spPr>
        <p:txBody>
          <a:bodyPr anchor="t" anchorCtr="0">
            <a:noAutofit/>
          </a:bodyPr>
          <a:lstStyle>
            <a:lvl1pPr marL="0" marR="0" indent="0" algn="l" defTabSz="91285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6428" indent="0" algn="ctr">
              <a:buNone/>
              <a:defRPr>
                <a:solidFill>
                  <a:schemeClr val="tx1">
                    <a:tint val="75000"/>
                  </a:schemeClr>
                </a:solidFill>
              </a:defRPr>
            </a:lvl2pPr>
            <a:lvl3pPr marL="912855" indent="0" algn="ctr">
              <a:buNone/>
              <a:defRPr>
                <a:solidFill>
                  <a:schemeClr val="tx1">
                    <a:tint val="75000"/>
                  </a:schemeClr>
                </a:solidFill>
              </a:defRPr>
            </a:lvl3pPr>
            <a:lvl4pPr marL="1369280" indent="0" algn="ctr">
              <a:buNone/>
              <a:defRPr>
                <a:solidFill>
                  <a:schemeClr val="tx1">
                    <a:tint val="75000"/>
                  </a:schemeClr>
                </a:solidFill>
              </a:defRPr>
            </a:lvl4pPr>
            <a:lvl5pPr marL="1825709" indent="0" algn="ctr">
              <a:buNone/>
              <a:defRPr>
                <a:solidFill>
                  <a:schemeClr val="tx1">
                    <a:tint val="75000"/>
                  </a:schemeClr>
                </a:solidFill>
              </a:defRPr>
            </a:lvl5pPr>
            <a:lvl6pPr marL="2282134" indent="0" algn="ctr">
              <a:buNone/>
              <a:defRPr>
                <a:solidFill>
                  <a:schemeClr val="tx1">
                    <a:tint val="75000"/>
                  </a:schemeClr>
                </a:solidFill>
              </a:defRPr>
            </a:lvl6pPr>
            <a:lvl7pPr marL="2738562" indent="0" algn="ctr">
              <a:buNone/>
              <a:defRPr>
                <a:solidFill>
                  <a:schemeClr val="tx1">
                    <a:tint val="75000"/>
                  </a:schemeClr>
                </a:solidFill>
              </a:defRPr>
            </a:lvl7pPr>
            <a:lvl8pPr marL="3194990" indent="0" algn="ctr">
              <a:buNone/>
              <a:defRPr>
                <a:solidFill>
                  <a:schemeClr val="tx1">
                    <a:tint val="75000"/>
                  </a:schemeClr>
                </a:solidFill>
              </a:defRPr>
            </a:lvl8pPr>
            <a:lvl9pPr marL="3651414"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print"/>
          <a:stretch>
            <a:fillRect/>
          </a:stretch>
        </p:blipFill>
        <p:spPr>
          <a:xfrm>
            <a:off x="323850" y="6080410"/>
            <a:ext cx="1832544" cy="453600"/>
          </a:xfrm>
          <a:prstGeom prst="rect">
            <a:avLst/>
          </a:prstGeom>
        </p:spPr>
      </p:pic>
    </p:spTree>
    <p:extLst>
      <p:ext uri="{BB962C8B-B14F-4D97-AF65-F5344CB8AC3E}">
        <p14:creationId xmlns:p14="http://schemas.microsoft.com/office/powerpoint/2010/main" val="4054994047"/>
      </p:ext>
    </p:extLst>
  </p:cSld>
  <p:clrMapOvr>
    <a:overrideClrMapping bg1="dk1" tx1="lt1" bg2="dk2" tx2="lt2" accent1="accent1" accent2="accent2" accent3="accent3" accent4="accent4" accent5="accent5" accent6="accent6" hlink="hlink" folHlink="folHlink"/>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10"/>
            <a:ext cx="8496000" cy="2295525"/>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1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23"/>
            <a:ext cx="916953" cy="454025"/>
          </a:xfrm>
          <a:prstGeom prst="rect">
            <a:avLst/>
          </a:prstGeom>
        </p:spPr>
      </p:pic>
    </p:spTree>
    <p:extLst>
      <p:ext uri="{BB962C8B-B14F-4D97-AF65-F5344CB8AC3E}">
        <p14:creationId xmlns:p14="http://schemas.microsoft.com/office/powerpoint/2010/main" val="423211267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nchor="ctr" anchorCtr="0"/>
          <a:lstStyle>
            <a:lvl1pPr algn="ctr">
              <a:defRPr/>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1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23"/>
            <a:ext cx="916953" cy="454025"/>
          </a:xfrm>
          <a:prstGeom prst="rect">
            <a:avLst/>
          </a:prstGeom>
        </p:spPr>
      </p:pic>
    </p:spTree>
    <p:extLst>
      <p:ext uri="{BB962C8B-B14F-4D97-AF65-F5344CB8AC3E}">
        <p14:creationId xmlns:p14="http://schemas.microsoft.com/office/powerpoint/2010/main" val="60082532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1" y="478641"/>
            <a:ext cx="1832305" cy="907257"/>
          </a:xfrm>
          <a:prstGeom prst="rect">
            <a:avLst/>
          </a:prstGeom>
        </p:spPr>
      </p:pic>
    </p:spTree>
    <p:extLst>
      <p:ext uri="{BB962C8B-B14F-4D97-AF65-F5344CB8AC3E}">
        <p14:creationId xmlns:p14="http://schemas.microsoft.com/office/powerpoint/2010/main" val="118909753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1" y="1692010"/>
            <a:ext cx="8494713" cy="3831818"/>
          </a:xfrm>
        </p:spPr>
        <p:txBody>
          <a:bodyPr>
            <a:noAutofit/>
          </a:bodyPr>
          <a:lstStyle>
            <a:lvl1pPr marL="0" marR="0" indent="0" algn="l" defTabSz="912855"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2855"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2855" rtl="0" eaLnBrk="1" fontAlgn="auto" latinLnBrk="0" hangingPunct="1">
              <a:lnSpc>
                <a:spcPct val="100000"/>
              </a:lnSpc>
              <a:spcBef>
                <a:spcPts val="2400"/>
              </a:spcBef>
              <a:spcAft>
                <a:spcPts val="0"/>
              </a:spcAft>
              <a:buClr>
                <a:schemeClr val="accent1"/>
              </a:buClr>
              <a:buSzPct val="80000"/>
              <a:buFontTx/>
              <a:buNone/>
              <a:tabLst/>
              <a:defRPr/>
            </a:lvl3pPr>
            <a:lvl4pPr marL="269542" indent="-179693">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extLst>
      <p:ext uri="{BB962C8B-B14F-4D97-AF65-F5344CB8AC3E}">
        <p14:creationId xmlns:p14="http://schemas.microsoft.com/office/powerpoint/2010/main" val="32061950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extLst>
      <p:ext uri="{BB962C8B-B14F-4D97-AF65-F5344CB8AC3E}">
        <p14:creationId xmlns:p14="http://schemas.microsoft.com/office/powerpoint/2010/main" val="22766829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1"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945500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200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200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4619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heme" Target="../theme/theme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theme" Target="../theme/theme5.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image" Target="../media/image10.png"/><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theme" Target="../theme/theme6.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9" Type="http://schemas.openxmlformats.org/officeDocument/2006/relationships/slideLayout" Target="../slideLayouts/slideLayout175.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34" Type="http://schemas.openxmlformats.org/officeDocument/2006/relationships/slideLayout" Target="../slideLayouts/slideLayout170.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slideLayout" Target="../slideLayouts/slideLayout169.xml"/><Relationship Id="rId38" Type="http://schemas.openxmlformats.org/officeDocument/2006/relationships/slideLayout" Target="../slideLayouts/slideLayout174.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slideLayout" Target="../slideLayouts/slideLayout165.xml"/><Relationship Id="rId41" Type="http://schemas.openxmlformats.org/officeDocument/2006/relationships/theme" Target="../theme/theme7.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slideLayout" Target="../slideLayouts/slideLayout168.xml"/><Relationship Id="rId37" Type="http://schemas.openxmlformats.org/officeDocument/2006/relationships/slideLayout" Target="../slideLayouts/slideLayout173.xml"/><Relationship Id="rId40" Type="http://schemas.openxmlformats.org/officeDocument/2006/relationships/slideLayout" Target="../slideLayouts/slideLayout176.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36" Type="http://schemas.openxmlformats.org/officeDocument/2006/relationships/slideLayout" Target="../slideLayouts/slideLayout172.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slideLayout" Target="../slideLayouts/slideLayout167.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slideLayout" Target="../slideLayouts/slideLayout166.xml"/><Relationship Id="rId35" Type="http://schemas.openxmlformats.org/officeDocument/2006/relationships/slideLayout" Target="../slideLayouts/slideLayout1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90"/>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89955" tIns="71963" rIns="89955" bIns="71963" rtlCol="0" anchor="ctr"/>
          <a:lstStyle/>
          <a:p>
            <a:pPr marR="0" algn="ctr" defTabSz="913936"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2" y="6636186"/>
            <a:ext cx="1762231" cy="123111"/>
          </a:xfrm>
          <a:prstGeom prst="rect">
            <a:avLst/>
          </a:prstGeom>
          <a:noFill/>
        </p:spPr>
        <p:txBody>
          <a:bodyPr wrap="none" lIns="71963" tIns="0" rIns="0" bIns="0" rtlCol="0">
            <a:spAutoFit/>
          </a:bodyPr>
          <a:lstStyle/>
          <a:p>
            <a:pPr marL="133283" indent="-133283" algn="l">
              <a:buClr>
                <a:schemeClr val="bg1"/>
              </a:buClr>
              <a:buFont typeface="Arial" pitchFamily="34" charset="0"/>
              <a:buChar char="©"/>
              <a:tabLst/>
            </a:pPr>
            <a:r>
              <a:rPr lang="en-US" sz="800" noProof="0" dirty="0" smtClean="0">
                <a:solidFill>
                  <a:schemeClr val="bg1"/>
                </a:solidFill>
              </a:rPr>
              <a:t>2013 SAP AG. All rights reserved.</a:t>
            </a:r>
          </a:p>
        </p:txBody>
      </p:sp>
      <p:sp>
        <p:nvSpPr>
          <p:cNvPr id="34" name="TextBox 33"/>
          <p:cNvSpPr txBox="1"/>
          <p:nvPr/>
        </p:nvSpPr>
        <p:spPr bwMode="black">
          <a:xfrm>
            <a:off x="8625626" y="6636186"/>
            <a:ext cx="197700" cy="123111"/>
          </a:xfrm>
          <a:prstGeom prst="rect">
            <a:avLst/>
          </a:prstGeom>
          <a:noFill/>
        </p:spPr>
        <p:txBody>
          <a:bodyPr wrap="none" lIns="0" tIns="0" rIns="71963" bIns="0" rtlCol="0">
            <a:spAutoFit/>
          </a:bodyPr>
          <a:lstStyle/>
          <a:p>
            <a:pPr marL="93616" indent="-93616" algn="r">
              <a:buClr>
                <a:schemeClr val="accent2"/>
              </a:buClr>
              <a:buFont typeface="Arial" pitchFamily="34" charset="0"/>
              <a:buNone/>
            </a:pPr>
            <a:fld id="{0BDC132A-5C91-4078-9777-31DA19A62E0A}" type="slidenum">
              <a:rPr lang="en-US" sz="800" baseline="0" noProof="0" smtClean="0">
                <a:solidFill>
                  <a:schemeClr val="bg1"/>
                </a:solidFill>
              </a:rPr>
              <a:pPr marL="93616" indent="-93616" algn="r">
                <a:buClr>
                  <a:schemeClr val="accent2"/>
                </a:buClr>
                <a:buFont typeface="Arial" pitchFamily="34" charset="0"/>
                <a:buNone/>
              </a:pPr>
              <a:t>‹#›</a:t>
            </a:fld>
            <a:endParaRPr lang="en-US" sz="800" noProof="0" dirty="0" smtClean="0">
              <a:solidFill>
                <a:schemeClr val="bg1"/>
              </a:solidFill>
            </a:endParaRPr>
          </a:p>
        </p:txBody>
      </p:sp>
      <p:sp>
        <p:nvSpPr>
          <p:cNvPr id="4" name="Information_Classification"/>
          <p:cNvSpPr txBox="1"/>
          <p:nvPr userDrawn="1"/>
        </p:nvSpPr>
        <p:spPr>
          <a:xfrm>
            <a:off x="7670803" y="6638354"/>
            <a:ext cx="673261" cy="153888"/>
          </a:xfrm>
          <a:prstGeom prst="rect">
            <a:avLst/>
          </a:prstGeom>
          <a:noFill/>
        </p:spPr>
        <p:txBody>
          <a:bodyPr vert="horz" wrap="none" lIns="0" tIns="0" rIns="0" bIns="0" rtlCol="0">
            <a:spAutoFit/>
          </a:bodyPr>
          <a:lstStyle/>
          <a:p>
            <a:pPr algn="l" fontAlgn="base">
              <a:spcBef>
                <a:spcPct val="50000"/>
              </a:spcBef>
              <a:spcAft>
                <a:spcPct val="0"/>
              </a:spcAft>
              <a:buClr>
                <a:srgbClr val="F0AB00"/>
              </a:buClr>
              <a:buSzPct val="80000"/>
            </a:pPr>
            <a:r>
              <a:rPr kumimoji="0" lang="en-US" sz="1000" b="0" i="0" u="none" kern="0" baseline="0" dirty="0" smtClean="0">
                <a:solidFill>
                  <a:srgbClr val="FFFFFF"/>
                </a:solidFill>
                <a:latin typeface="Arial"/>
                <a:ea typeface="Arial Unicode MS"/>
                <a:cs typeface="Arial Unicode MS" pitchFamily="34" charset="-128"/>
                <a:sym typeface="Arial"/>
              </a:rPr>
              <a:t>Confidential</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Lst>
  <p:timing>
    <p:tnLst>
      <p:par>
        <p:cTn id="1" dur="indefinite" restart="never" nodeType="tmRoot"/>
      </p:par>
    </p:tnLst>
  </p:timing>
  <p:hf hdr="0" ftr="0" dt="0"/>
  <p:txStyles>
    <p:titleStyle>
      <a:lvl1pPr algn="l" defTabSz="913936"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3936"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3936"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9908" indent="-179908" algn="l" defTabSz="913936"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59817" indent="-179908" algn="l" defTabSz="913936"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063" indent="-179908" algn="l" defTabSz="913936"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3324"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91"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60"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28"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3936" rtl="0" eaLnBrk="1" latinLnBrk="0" hangingPunct="1">
        <a:defRPr sz="1800" kern="1200">
          <a:solidFill>
            <a:schemeClr val="tx1"/>
          </a:solidFill>
          <a:latin typeface="+mn-lt"/>
          <a:ea typeface="+mn-ea"/>
          <a:cs typeface="+mn-cs"/>
        </a:defRPr>
      </a:lvl1pPr>
      <a:lvl2pPr marL="456967" algn="l" defTabSz="913936" rtl="0" eaLnBrk="1" latinLnBrk="0" hangingPunct="1">
        <a:defRPr sz="1800" kern="1200">
          <a:solidFill>
            <a:schemeClr val="tx1"/>
          </a:solidFill>
          <a:latin typeface="+mn-lt"/>
          <a:ea typeface="+mn-ea"/>
          <a:cs typeface="+mn-cs"/>
        </a:defRPr>
      </a:lvl2pPr>
      <a:lvl3pPr marL="913936" algn="l" defTabSz="913936" rtl="0" eaLnBrk="1" latinLnBrk="0" hangingPunct="1">
        <a:defRPr sz="1800" kern="1200">
          <a:solidFill>
            <a:schemeClr val="tx1"/>
          </a:solidFill>
          <a:latin typeface="+mn-lt"/>
          <a:ea typeface="+mn-ea"/>
          <a:cs typeface="+mn-cs"/>
        </a:defRPr>
      </a:lvl3pPr>
      <a:lvl4pPr marL="1370904" algn="l" defTabSz="913936" rtl="0" eaLnBrk="1" latinLnBrk="0" hangingPunct="1">
        <a:defRPr sz="1800" kern="1200">
          <a:solidFill>
            <a:schemeClr val="tx1"/>
          </a:solidFill>
          <a:latin typeface="+mn-lt"/>
          <a:ea typeface="+mn-ea"/>
          <a:cs typeface="+mn-cs"/>
        </a:defRPr>
      </a:lvl4pPr>
      <a:lvl5pPr marL="1827872" algn="l" defTabSz="913936" rtl="0" eaLnBrk="1" latinLnBrk="0" hangingPunct="1">
        <a:defRPr sz="1800" kern="1200">
          <a:solidFill>
            <a:schemeClr val="tx1"/>
          </a:solidFill>
          <a:latin typeface="+mn-lt"/>
          <a:ea typeface="+mn-ea"/>
          <a:cs typeface="+mn-cs"/>
        </a:defRPr>
      </a:lvl5pPr>
      <a:lvl6pPr marL="2284840" algn="l" defTabSz="913936" rtl="0" eaLnBrk="1" latinLnBrk="0" hangingPunct="1">
        <a:defRPr sz="1800" kern="1200">
          <a:solidFill>
            <a:schemeClr val="tx1"/>
          </a:solidFill>
          <a:latin typeface="+mn-lt"/>
          <a:ea typeface="+mn-ea"/>
          <a:cs typeface="+mn-cs"/>
        </a:defRPr>
      </a:lvl6pPr>
      <a:lvl7pPr marL="2741808" algn="l" defTabSz="913936" rtl="0" eaLnBrk="1" latinLnBrk="0" hangingPunct="1">
        <a:defRPr sz="1800" kern="1200">
          <a:solidFill>
            <a:schemeClr val="tx1"/>
          </a:solidFill>
          <a:latin typeface="+mn-lt"/>
          <a:ea typeface="+mn-ea"/>
          <a:cs typeface="+mn-cs"/>
        </a:defRPr>
      </a:lvl7pPr>
      <a:lvl8pPr marL="3198776" algn="l" defTabSz="913936" rtl="0" eaLnBrk="1" latinLnBrk="0" hangingPunct="1">
        <a:defRPr sz="1800" kern="1200">
          <a:solidFill>
            <a:schemeClr val="tx1"/>
          </a:solidFill>
          <a:latin typeface="+mn-lt"/>
          <a:ea typeface="+mn-ea"/>
          <a:cs typeface="+mn-cs"/>
        </a:defRPr>
      </a:lvl8pPr>
      <a:lvl9pPr marL="3655743" algn="l" defTabSz="91393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90"/>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3" y="6636186"/>
            <a:ext cx="1762231" cy="123111"/>
          </a:xfrm>
          <a:prstGeom prst="rect">
            <a:avLst/>
          </a:prstGeom>
          <a:noFill/>
        </p:spPr>
        <p:txBody>
          <a:bodyPr wrap="none" lIns="71963" tIns="0" rIns="0" bIns="0" rtlCol="0">
            <a:spAutoFit/>
          </a:bodyPr>
          <a:lstStyle/>
          <a:p>
            <a:pPr marL="133283" indent="-133283">
              <a:buClr>
                <a:srgbClr val="FFFFFF"/>
              </a:buClr>
              <a:buFont typeface="Arial" pitchFamily="34" charset="0"/>
              <a:buChar char="©"/>
            </a:pPr>
            <a:r>
              <a:rPr lang="en-US" sz="800" dirty="0" smtClean="0">
                <a:solidFill>
                  <a:srgbClr val="FFFFFF"/>
                </a:solidFill>
              </a:rPr>
              <a:t>2013 SAP AG. All rights reserved.</a:t>
            </a:r>
          </a:p>
        </p:txBody>
      </p:sp>
      <p:sp>
        <p:nvSpPr>
          <p:cNvPr id="34" name="TextBox 33"/>
          <p:cNvSpPr txBox="1"/>
          <p:nvPr/>
        </p:nvSpPr>
        <p:spPr bwMode="black">
          <a:xfrm>
            <a:off x="8625626" y="6636186"/>
            <a:ext cx="197700" cy="123111"/>
          </a:xfrm>
          <a:prstGeom prst="rect">
            <a:avLst/>
          </a:prstGeom>
          <a:noFill/>
        </p:spPr>
        <p:txBody>
          <a:bodyPr wrap="none" lIns="0" tIns="0" rIns="71963" bIns="0" rtlCol="0">
            <a:spAutoFit/>
          </a:bodyPr>
          <a:lstStyle/>
          <a:p>
            <a:pPr marL="93616" indent="-93616" algn="r">
              <a:buClr>
                <a:srgbClr val="666666"/>
              </a:buClr>
              <a:buFont typeface="Arial" pitchFamily="34" charset="0"/>
              <a:buNone/>
            </a:pPr>
            <a:fld id="{0BDC132A-5C91-4078-9777-31DA19A62E0A}" type="slidenum">
              <a:rPr lang="en-US" sz="800" smtClean="0">
                <a:solidFill>
                  <a:srgbClr val="FFFFFF"/>
                </a:solidFill>
              </a:rPr>
              <a:pPr marL="93616" indent="-93616" algn="r">
                <a:buClr>
                  <a:srgbClr val="666666"/>
                </a:buClr>
                <a:buFont typeface="Arial" pitchFamily="34" charset="0"/>
                <a:buNone/>
              </a:pPr>
              <a:t>‹#›</a:t>
            </a:fld>
            <a:endParaRPr lang="en-US" sz="800" dirty="0" smtClean="0">
              <a:solidFill>
                <a:srgbClr val="FFFFFF"/>
              </a:solidFill>
            </a:endParaRPr>
          </a:p>
        </p:txBody>
      </p:sp>
      <p:sp>
        <p:nvSpPr>
          <p:cNvPr id="4" name="Information_Classification"/>
          <p:cNvSpPr txBox="1"/>
          <p:nvPr userDrawn="1"/>
        </p:nvSpPr>
        <p:spPr>
          <a:xfrm>
            <a:off x="7340599" y="6604000"/>
            <a:ext cx="1093248" cy="153888"/>
          </a:xfrm>
          <a:prstGeom prst="rect">
            <a:avLst/>
          </a:prstGeom>
          <a:noFill/>
        </p:spPr>
        <p:txBody>
          <a:bodyPr vert="horz" wrap="none" lIns="0" tIns="0" rIns="0" bIns="0" rtlCol="0">
            <a:spAutoFit/>
          </a:bodyPr>
          <a:lstStyle/>
          <a:p>
            <a:pPr fontAlgn="base">
              <a:spcBef>
                <a:spcPct val="50000"/>
              </a:spcBef>
              <a:spcAft>
                <a:spcPct val="0"/>
              </a:spcAft>
              <a:buClr>
                <a:srgbClr val="F0AB00"/>
              </a:buClr>
              <a:buSzPct val="80000"/>
            </a:pPr>
            <a:r>
              <a:rPr sz="1000" kern="0" dirty="0" err="1" smtClean="0">
                <a:solidFill>
                  <a:srgbClr val="FFFFFF"/>
                </a:solidFill>
                <a:ea typeface="Arial Unicode MS"/>
                <a:cs typeface="Arial Unicode MS" pitchFamily="34" charset="-128"/>
                <a:sym typeface="Arial"/>
              </a:rPr>
              <a:t>Strictly</a:t>
            </a:r>
            <a:r>
              <a:rPr sz="1000" kern="0" dirty="0" smtClean="0">
                <a:solidFill>
                  <a:srgbClr val="FFFFFF"/>
                </a:solidFill>
                <a:ea typeface="Arial Unicode MS"/>
                <a:cs typeface="Arial Unicode MS" pitchFamily="34" charset="-128"/>
                <a:sym typeface="Arial"/>
              </a:rPr>
              <a:t> </a:t>
            </a:r>
            <a:r>
              <a:rPr sz="1000" kern="0" dirty="0" err="1" smtClean="0">
                <a:solidFill>
                  <a:srgbClr val="FFFFFF"/>
                </a:solidFill>
                <a:ea typeface="Arial Unicode MS"/>
                <a:cs typeface="Arial Unicode MS" pitchFamily="34" charset="-128"/>
                <a:sym typeface="Arial"/>
              </a:rPr>
              <a:t>Confidential</a:t>
            </a:r>
            <a:endParaRPr sz="1000" kern="0" dirty="0" smtClean="0">
              <a:solidFill>
                <a:srgbClr val="FFFFFF"/>
              </a:solidFill>
              <a:ea typeface="Arial Unicode MS"/>
              <a:cs typeface="Arial Unicode MS" pitchFamily="34" charset="-128"/>
              <a:sym typeface="Arial"/>
            </a:endParaRPr>
          </a:p>
        </p:txBody>
      </p:sp>
    </p:spTree>
    <p:extLst>
      <p:ext uri="{BB962C8B-B14F-4D97-AF65-F5344CB8AC3E}">
        <p14:creationId xmlns:p14="http://schemas.microsoft.com/office/powerpoint/2010/main" val="2430710023"/>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5" r:id="rId22"/>
    <p:sldLayoutId id="2147484126" r:id="rId23"/>
  </p:sldLayoutIdLst>
  <p:timing>
    <p:tnLst>
      <p:par>
        <p:cTn id="1" dur="indefinite" restart="never" nodeType="tmRoot"/>
      </p:par>
    </p:tnLst>
  </p:timing>
  <p:hf hdr="0" ftr="0" dt="0"/>
  <p:txStyles>
    <p:titleStyle>
      <a:lvl1pPr algn="l" defTabSz="913936"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3936"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3936"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269738" indent="-180882" algn="l" defTabSz="913936"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449772" indent="-179908" algn="l" defTabSz="913936"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629680" indent="-179295" algn="l" defTabSz="913936"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3324"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91"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60"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28" indent="-228484" algn="l" defTabSz="9139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3936" rtl="0" eaLnBrk="1" latinLnBrk="0" hangingPunct="1">
        <a:defRPr sz="1800" kern="1200">
          <a:solidFill>
            <a:schemeClr val="tx1"/>
          </a:solidFill>
          <a:latin typeface="+mn-lt"/>
          <a:ea typeface="+mn-ea"/>
          <a:cs typeface="+mn-cs"/>
        </a:defRPr>
      </a:lvl1pPr>
      <a:lvl2pPr marL="456967" algn="l" defTabSz="913936" rtl="0" eaLnBrk="1" latinLnBrk="0" hangingPunct="1">
        <a:defRPr sz="1800" kern="1200">
          <a:solidFill>
            <a:schemeClr val="tx1"/>
          </a:solidFill>
          <a:latin typeface="+mn-lt"/>
          <a:ea typeface="+mn-ea"/>
          <a:cs typeface="+mn-cs"/>
        </a:defRPr>
      </a:lvl2pPr>
      <a:lvl3pPr marL="913936" algn="l" defTabSz="913936" rtl="0" eaLnBrk="1" latinLnBrk="0" hangingPunct="1">
        <a:defRPr sz="1800" kern="1200">
          <a:solidFill>
            <a:schemeClr val="tx1"/>
          </a:solidFill>
          <a:latin typeface="+mn-lt"/>
          <a:ea typeface="+mn-ea"/>
          <a:cs typeface="+mn-cs"/>
        </a:defRPr>
      </a:lvl3pPr>
      <a:lvl4pPr marL="1370904" algn="l" defTabSz="913936" rtl="0" eaLnBrk="1" latinLnBrk="0" hangingPunct="1">
        <a:defRPr sz="1800" kern="1200">
          <a:solidFill>
            <a:schemeClr val="tx1"/>
          </a:solidFill>
          <a:latin typeface="+mn-lt"/>
          <a:ea typeface="+mn-ea"/>
          <a:cs typeface="+mn-cs"/>
        </a:defRPr>
      </a:lvl4pPr>
      <a:lvl5pPr marL="1827872" algn="l" defTabSz="913936" rtl="0" eaLnBrk="1" latinLnBrk="0" hangingPunct="1">
        <a:defRPr sz="1800" kern="1200">
          <a:solidFill>
            <a:schemeClr val="tx1"/>
          </a:solidFill>
          <a:latin typeface="+mn-lt"/>
          <a:ea typeface="+mn-ea"/>
          <a:cs typeface="+mn-cs"/>
        </a:defRPr>
      </a:lvl5pPr>
      <a:lvl6pPr marL="2284840" algn="l" defTabSz="913936" rtl="0" eaLnBrk="1" latinLnBrk="0" hangingPunct="1">
        <a:defRPr sz="1800" kern="1200">
          <a:solidFill>
            <a:schemeClr val="tx1"/>
          </a:solidFill>
          <a:latin typeface="+mn-lt"/>
          <a:ea typeface="+mn-ea"/>
          <a:cs typeface="+mn-cs"/>
        </a:defRPr>
      </a:lvl6pPr>
      <a:lvl7pPr marL="2741808" algn="l" defTabSz="913936" rtl="0" eaLnBrk="1" latinLnBrk="0" hangingPunct="1">
        <a:defRPr sz="1800" kern="1200">
          <a:solidFill>
            <a:schemeClr val="tx1"/>
          </a:solidFill>
          <a:latin typeface="+mn-lt"/>
          <a:ea typeface="+mn-ea"/>
          <a:cs typeface="+mn-cs"/>
        </a:defRPr>
      </a:lvl7pPr>
      <a:lvl8pPr marL="3198776" algn="l" defTabSz="913936" rtl="0" eaLnBrk="1" latinLnBrk="0" hangingPunct="1">
        <a:defRPr sz="1800" kern="1200">
          <a:solidFill>
            <a:schemeClr val="tx1"/>
          </a:solidFill>
          <a:latin typeface="+mn-lt"/>
          <a:ea typeface="+mn-ea"/>
          <a:cs typeface="+mn-cs"/>
        </a:defRPr>
      </a:lvl8pPr>
      <a:lvl9pPr marL="3655743" algn="l" defTabSz="91393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242937" y="324000"/>
            <a:ext cx="8656646"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242937" y="1690691"/>
            <a:ext cx="8656646"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242937" y="0"/>
            <a:ext cx="8656646" cy="162000"/>
          </a:xfrm>
          <a:prstGeom prst="rect">
            <a:avLst/>
          </a:prstGeom>
          <a:solidFill>
            <a:schemeClr val="accent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242937" y="1231200"/>
            <a:ext cx="865664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242937" y="6535738"/>
            <a:ext cx="8656646" cy="324000"/>
          </a:xfrm>
          <a:prstGeom prst="rect">
            <a:avLst/>
          </a:prstGeom>
          <a:solidFill>
            <a:schemeClr val="tx1"/>
          </a:solidFill>
          <a:ln w="9525" algn="ctr">
            <a:noFill/>
            <a:miter lim="800000"/>
            <a:headEnd/>
            <a:tailEnd/>
          </a:ln>
        </p:spPr>
        <p:txBody>
          <a:bodyPr lIns="89939" tIns="71951" rIns="89939" bIns="71951" rtlCol="0" anchor="ctr"/>
          <a:lstStyle/>
          <a:p>
            <a:pPr algn="ctr" defTabSz="913782"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242938" y="6636187"/>
            <a:ext cx="1762219" cy="123111"/>
          </a:xfrm>
          <a:prstGeom prst="rect">
            <a:avLst/>
          </a:prstGeom>
          <a:noFill/>
        </p:spPr>
        <p:txBody>
          <a:bodyPr wrap="none" lIns="71951" tIns="0" rIns="0" bIns="0" rtlCol="0">
            <a:spAutoFit/>
          </a:bodyPr>
          <a:lstStyle/>
          <a:p>
            <a:pPr marL="133260" indent="-133260" defTabSz="913782">
              <a:buClr>
                <a:srgbClr val="FFFFFF"/>
              </a:buClr>
              <a:buFont typeface="Arial" pitchFamily="34" charset="0"/>
              <a:buChar char="©"/>
            </a:pPr>
            <a:r>
              <a:rPr lang="en-US" sz="800" dirty="0" smtClean="0">
                <a:solidFill>
                  <a:srgbClr val="FFFFFF"/>
                </a:solidFill>
              </a:rPr>
              <a:t>2013 SAP AG. All rights reserved.</a:t>
            </a:r>
          </a:p>
        </p:txBody>
      </p:sp>
      <p:sp>
        <p:nvSpPr>
          <p:cNvPr id="34" name="TextBox 33"/>
          <p:cNvSpPr txBox="1"/>
          <p:nvPr/>
        </p:nvSpPr>
        <p:spPr bwMode="black">
          <a:xfrm>
            <a:off x="8701107" y="6636187"/>
            <a:ext cx="197688" cy="123111"/>
          </a:xfrm>
          <a:prstGeom prst="rect">
            <a:avLst/>
          </a:prstGeom>
          <a:noFill/>
        </p:spPr>
        <p:txBody>
          <a:bodyPr wrap="none" lIns="0" tIns="0" rIns="71951" bIns="0" rtlCol="0">
            <a:spAutoFit/>
          </a:bodyPr>
          <a:lstStyle/>
          <a:p>
            <a:pPr marL="93601" indent="-93601" algn="r" defTabSz="913782">
              <a:buClr>
                <a:srgbClr val="666666"/>
              </a:buClr>
              <a:buFont typeface="Arial" pitchFamily="34" charset="0"/>
              <a:buNone/>
            </a:pPr>
            <a:fld id="{0BDC132A-5C91-4078-9777-31DA19A62E0A}" type="slidenum">
              <a:rPr lang="en-US" sz="800" smtClean="0">
                <a:solidFill>
                  <a:srgbClr val="FFFFFF"/>
                </a:solidFill>
              </a:rPr>
              <a:pPr marL="93601" indent="-93601" algn="r" defTabSz="913782">
                <a:buClr>
                  <a:srgbClr val="666666"/>
                </a:buClr>
                <a:buFont typeface="Arial" pitchFamily="34" charset="0"/>
                <a:buNone/>
              </a:pPr>
              <a:t>‹#›</a:t>
            </a:fld>
            <a:endParaRPr lang="en-US" sz="800" dirty="0" smtClean="0">
              <a:solidFill>
                <a:srgbClr val="FFFFFF"/>
              </a:solidFill>
            </a:endParaRPr>
          </a:p>
        </p:txBody>
      </p:sp>
      <p:sp>
        <p:nvSpPr>
          <p:cNvPr id="4" name="Information_Classification"/>
          <p:cNvSpPr txBox="1"/>
          <p:nvPr userDrawn="1"/>
        </p:nvSpPr>
        <p:spPr>
          <a:xfrm>
            <a:off x="8037007" y="6636817"/>
            <a:ext cx="344646" cy="123111"/>
          </a:xfrm>
          <a:prstGeom prst="rect">
            <a:avLst/>
          </a:prstGeom>
          <a:noFill/>
        </p:spPr>
        <p:txBody>
          <a:bodyPr vert="horz" wrap="none" lIns="0" tIns="0" rIns="0" bIns="0" rtlCol="0">
            <a:spAutoFit/>
          </a:bodyPr>
          <a:lstStyle/>
          <a:p>
            <a:pPr defTabSz="913782" fontAlgn="base">
              <a:spcBef>
                <a:spcPct val="50000"/>
              </a:spcBef>
              <a:spcAft>
                <a:spcPct val="0"/>
              </a:spcAft>
              <a:buClr>
                <a:srgbClr val="F0AB00"/>
              </a:buClr>
              <a:buSzPct val="80000"/>
            </a:pPr>
            <a:r>
              <a:rPr lang="en-US" sz="800" kern="0" dirty="0" smtClean="0">
                <a:solidFill>
                  <a:srgbClr val="FFFFFF"/>
                </a:solidFill>
                <a:ea typeface="Arial Unicode MS"/>
                <a:cs typeface="Arial Unicode MS" pitchFamily="34" charset="-128"/>
                <a:sym typeface="Arial"/>
              </a:rPr>
              <a:t>Internal</a:t>
            </a:r>
          </a:p>
        </p:txBody>
      </p:sp>
    </p:spTree>
    <p:extLst>
      <p:ext uri="{BB962C8B-B14F-4D97-AF65-F5344CB8AC3E}">
        <p14:creationId xmlns:p14="http://schemas.microsoft.com/office/powerpoint/2010/main" val="3940314018"/>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Lst>
  <p:timing>
    <p:tnLst>
      <p:par>
        <p:cTn id="1" dur="indefinite" restart="never" nodeType="tmRoot"/>
      </p:par>
    </p:tnLst>
  </p:timing>
  <p:hf hdr="0" ftr="0" dt="0"/>
  <p:txStyles>
    <p:titleStyle>
      <a:lvl1pPr algn="l" defTabSz="913782"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3782" rtl="0" eaLnBrk="1" latinLnBrk="0" hangingPunct="1">
        <a:spcBef>
          <a:spcPts val="2014"/>
        </a:spcBef>
        <a:buClr>
          <a:schemeClr val="accent1"/>
        </a:buClr>
        <a:buSzPct val="80000"/>
        <a:buFontTx/>
        <a:buNone/>
        <a:defRPr sz="1700" b="1" kern="1200">
          <a:solidFill>
            <a:schemeClr val="tx1"/>
          </a:solidFill>
          <a:latin typeface="+mn-lt"/>
          <a:ea typeface="+mn-ea"/>
          <a:cs typeface="+mn-cs"/>
        </a:defRPr>
      </a:lvl1pPr>
      <a:lvl2pPr marL="0" indent="0" algn="l" defTabSz="913782" rtl="0" eaLnBrk="1" latinLnBrk="0" hangingPunct="1">
        <a:spcBef>
          <a:spcPts val="504"/>
        </a:spcBef>
        <a:buClr>
          <a:schemeClr val="accent1"/>
        </a:buClr>
        <a:buSzPct val="80000"/>
        <a:buFont typeface="Wingdings" pitchFamily="2" charset="2"/>
        <a:buNone/>
        <a:defRPr sz="1700" kern="1200">
          <a:solidFill>
            <a:schemeClr val="tx1"/>
          </a:solidFill>
          <a:latin typeface="+mn-lt"/>
          <a:ea typeface="+mn-ea"/>
          <a:cs typeface="+mn-cs"/>
        </a:defRPr>
      </a:lvl2pPr>
      <a:lvl3pPr marL="151070" indent="-151070" algn="l" defTabSz="913782" rtl="0" eaLnBrk="1" latinLnBrk="0" hangingPunct="1">
        <a:spcBef>
          <a:spcPts val="336"/>
        </a:spcBef>
        <a:buClr>
          <a:schemeClr val="accent1"/>
        </a:buClr>
        <a:buSzPct val="100000"/>
        <a:buFont typeface="Wingdings" pitchFamily="2" charset="2"/>
        <a:buChar char=""/>
        <a:defRPr sz="1500" kern="1200">
          <a:solidFill>
            <a:schemeClr val="tx1"/>
          </a:solidFill>
          <a:latin typeface="+mn-lt"/>
          <a:ea typeface="+mn-ea"/>
          <a:cs typeface="+mn-cs"/>
        </a:defRPr>
      </a:lvl3pPr>
      <a:lvl4pPr marL="302139" indent="-151070" algn="l" defTabSz="913782" rtl="0" eaLnBrk="1" latinLnBrk="0" hangingPunct="1">
        <a:spcBef>
          <a:spcPts val="336"/>
        </a:spcBef>
        <a:buClr>
          <a:schemeClr val="accent2"/>
        </a:buClr>
        <a:buSzPct val="100000"/>
        <a:buFont typeface="Arial" pitchFamily="34" charset="0"/>
        <a:buChar char="–"/>
        <a:defRPr sz="1500" kern="1200">
          <a:solidFill>
            <a:schemeClr val="tx1"/>
          </a:solidFill>
          <a:latin typeface="+mn-lt"/>
          <a:ea typeface="+mn-ea"/>
          <a:cs typeface="+mn-cs"/>
        </a:defRPr>
      </a:lvl4pPr>
      <a:lvl5pPr marL="453208" indent="-151070" algn="l" defTabSz="913782" rtl="0" eaLnBrk="1" latinLnBrk="0" hangingPunct="1">
        <a:spcBef>
          <a:spcPts val="210"/>
        </a:spcBef>
        <a:buClr>
          <a:schemeClr val="accent2"/>
        </a:buClr>
        <a:buSzPct val="100000"/>
        <a:buFont typeface="Courier New" pitchFamily="49" charset="0"/>
        <a:buChar char="o"/>
        <a:defRPr sz="1300" kern="1200">
          <a:solidFill>
            <a:schemeClr val="tx1"/>
          </a:solidFill>
          <a:latin typeface="+mn-lt"/>
          <a:ea typeface="+mn-ea"/>
          <a:cs typeface="+mn-cs"/>
        </a:defRPr>
      </a:lvl5pPr>
      <a:lvl6pPr marL="2512899" indent="-228445" algn="l" defTabSz="9137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788" indent="-228445" algn="l" defTabSz="9137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680" indent="-228445" algn="l" defTabSz="9137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571" indent="-228445" algn="l" defTabSz="9137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3782" rtl="0" eaLnBrk="1" latinLnBrk="0" hangingPunct="1">
        <a:defRPr sz="1800" kern="1200">
          <a:solidFill>
            <a:schemeClr val="tx1"/>
          </a:solidFill>
          <a:latin typeface="+mn-lt"/>
          <a:ea typeface="+mn-ea"/>
          <a:cs typeface="+mn-cs"/>
        </a:defRPr>
      </a:lvl1pPr>
      <a:lvl2pPr marL="456890" algn="l" defTabSz="913782" rtl="0" eaLnBrk="1" latinLnBrk="0" hangingPunct="1">
        <a:defRPr sz="1800" kern="1200">
          <a:solidFill>
            <a:schemeClr val="tx1"/>
          </a:solidFill>
          <a:latin typeface="+mn-lt"/>
          <a:ea typeface="+mn-ea"/>
          <a:cs typeface="+mn-cs"/>
        </a:defRPr>
      </a:lvl2pPr>
      <a:lvl3pPr marL="913782" algn="l" defTabSz="913782" rtl="0" eaLnBrk="1" latinLnBrk="0" hangingPunct="1">
        <a:defRPr sz="1800" kern="1200">
          <a:solidFill>
            <a:schemeClr val="tx1"/>
          </a:solidFill>
          <a:latin typeface="+mn-lt"/>
          <a:ea typeface="+mn-ea"/>
          <a:cs typeface="+mn-cs"/>
        </a:defRPr>
      </a:lvl3pPr>
      <a:lvl4pPr marL="1370672" algn="l" defTabSz="913782" rtl="0" eaLnBrk="1" latinLnBrk="0" hangingPunct="1">
        <a:defRPr sz="1800" kern="1200">
          <a:solidFill>
            <a:schemeClr val="tx1"/>
          </a:solidFill>
          <a:latin typeface="+mn-lt"/>
          <a:ea typeface="+mn-ea"/>
          <a:cs typeface="+mn-cs"/>
        </a:defRPr>
      </a:lvl4pPr>
      <a:lvl5pPr marL="1827563" algn="l" defTabSz="913782" rtl="0" eaLnBrk="1" latinLnBrk="0" hangingPunct="1">
        <a:defRPr sz="1800" kern="1200">
          <a:solidFill>
            <a:schemeClr val="tx1"/>
          </a:solidFill>
          <a:latin typeface="+mn-lt"/>
          <a:ea typeface="+mn-ea"/>
          <a:cs typeface="+mn-cs"/>
        </a:defRPr>
      </a:lvl5pPr>
      <a:lvl6pPr marL="2284453" algn="l" defTabSz="913782" rtl="0" eaLnBrk="1" latinLnBrk="0" hangingPunct="1">
        <a:defRPr sz="1800" kern="1200">
          <a:solidFill>
            <a:schemeClr val="tx1"/>
          </a:solidFill>
          <a:latin typeface="+mn-lt"/>
          <a:ea typeface="+mn-ea"/>
          <a:cs typeface="+mn-cs"/>
        </a:defRPr>
      </a:lvl6pPr>
      <a:lvl7pPr marL="2741344" algn="l" defTabSz="913782" rtl="0" eaLnBrk="1" latinLnBrk="0" hangingPunct="1">
        <a:defRPr sz="1800" kern="1200">
          <a:solidFill>
            <a:schemeClr val="tx1"/>
          </a:solidFill>
          <a:latin typeface="+mn-lt"/>
          <a:ea typeface="+mn-ea"/>
          <a:cs typeface="+mn-cs"/>
        </a:defRPr>
      </a:lvl7pPr>
      <a:lvl8pPr marL="3198235" algn="l" defTabSz="913782" rtl="0" eaLnBrk="1" latinLnBrk="0" hangingPunct="1">
        <a:defRPr sz="1800" kern="1200">
          <a:solidFill>
            <a:schemeClr val="tx1"/>
          </a:solidFill>
          <a:latin typeface="+mn-lt"/>
          <a:ea typeface="+mn-ea"/>
          <a:cs typeface="+mn-cs"/>
        </a:defRPr>
      </a:lvl8pPr>
      <a:lvl9pPr marL="3655124" algn="l" defTabSz="91378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9"/>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1" y="6636185"/>
            <a:ext cx="1762243" cy="123111"/>
          </a:xfrm>
          <a:prstGeom prst="rect">
            <a:avLst/>
          </a:prstGeom>
          <a:noFill/>
        </p:spPr>
        <p:txBody>
          <a:bodyPr wrap="none" lIns="71975" tIns="0" rIns="0" bIns="0" rtlCol="0">
            <a:spAutoFit/>
          </a:bodyPr>
          <a:lstStyle/>
          <a:p>
            <a:pPr marL="133306" indent="-133306" defTabSz="914091">
              <a:buClr>
                <a:srgbClr val="FFFFFF"/>
              </a:buClr>
              <a:buFont typeface="Arial" pitchFamily="34" charset="0"/>
              <a:buChar char="©"/>
            </a:pPr>
            <a:r>
              <a:rPr lang="en-US" sz="800" dirty="0" smtClean="0">
                <a:solidFill>
                  <a:srgbClr val="FFFFFF"/>
                </a:solidFill>
              </a:rPr>
              <a:t>2013 SAP AG. All rights reserved.</a:t>
            </a:r>
          </a:p>
        </p:txBody>
      </p:sp>
      <p:sp>
        <p:nvSpPr>
          <p:cNvPr id="34" name="TextBox 33"/>
          <p:cNvSpPr txBox="1"/>
          <p:nvPr/>
        </p:nvSpPr>
        <p:spPr bwMode="gray">
          <a:xfrm>
            <a:off x="8625614" y="6636185"/>
            <a:ext cx="197712" cy="123111"/>
          </a:xfrm>
          <a:prstGeom prst="rect">
            <a:avLst/>
          </a:prstGeom>
          <a:noFill/>
        </p:spPr>
        <p:txBody>
          <a:bodyPr wrap="none" lIns="0" tIns="0" rIns="71975" bIns="0" rtlCol="0">
            <a:spAutoFit/>
          </a:bodyPr>
          <a:lstStyle/>
          <a:p>
            <a:pPr marL="93632" indent="-93632" algn="r" defTabSz="914091">
              <a:buClr>
                <a:srgbClr val="666666"/>
              </a:buClr>
              <a:buFont typeface="Arial" pitchFamily="34" charset="0"/>
              <a:buNone/>
            </a:pPr>
            <a:fld id="{0BDC132A-5C91-4078-9777-31DA19A62E0A}" type="slidenum">
              <a:rPr lang="en-US" sz="800" smtClean="0">
                <a:solidFill>
                  <a:srgbClr val="FFFFFF"/>
                </a:solidFill>
              </a:rPr>
              <a:pPr marL="93632" indent="-93632" algn="r" defTabSz="914091">
                <a:buClr>
                  <a:srgbClr val="666666"/>
                </a:buClr>
                <a:buFont typeface="Arial" pitchFamily="34" charset="0"/>
                <a:buNone/>
              </a:pPr>
              <a:t>‹#›</a:t>
            </a:fld>
            <a:endParaRPr lang="en-US" sz="800" dirty="0" smtClean="0">
              <a:solidFill>
                <a:srgbClr val="FFFFFF"/>
              </a:solidFill>
            </a:endParaRPr>
          </a:p>
        </p:txBody>
      </p:sp>
      <p:sp>
        <p:nvSpPr>
          <p:cNvPr id="9" name="Information_Classification"/>
          <p:cNvSpPr txBox="1"/>
          <p:nvPr/>
        </p:nvSpPr>
        <p:spPr>
          <a:xfrm>
            <a:off x="7584639" y="6611360"/>
            <a:ext cx="708527" cy="153888"/>
          </a:xfrm>
          <a:prstGeom prst="rect">
            <a:avLst/>
          </a:prstGeom>
          <a:noFill/>
        </p:spPr>
        <p:txBody>
          <a:bodyPr vert="horz" wrap="none" lIns="0" tIns="0" rIns="0" bIns="0" rtlCol="0">
            <a:spAutoFit/>
          </a:bodyPr>
          <a:lstStyle/>
          <a:p>
            <a:pPr algn="r" defTabSz="914091" fontAlgn="base">
              <a:spcBef>
                <a:spcPct val="50000"/>
              </a:spcBef>
              <a:spcAft>
                <a:spcPct val="0"/>
              </a:spcAft>
              <a:buClr>
                <a:srgbClr val="F0AB00"/>
              </a:buClr>
              <a:buSzPct val="80000"/>
            </a:pPr>
            <a:r>
              <a:rPr lang="en-US" sz="1000" kern="0" dirty="0" smtClean="0">
                <a:solidFill>
                  <a:srgbClr val="FFFFFF"/>
                </a:solidFill>
                <a:ea typeface="Arial Unicode MS"/>
                <a:cs typeface="Arial Unicode MS" pitchFamily="34" charset="-128"/>
                <a:sym typeface="Arial"/>
              </a:rPr>
              <a:t>Confidential </a:t>
            </a:r>
          </a:p>
        </p:txBody>
      </p:sp>
    </p:spTree>
    <p:extLst>
      <p:ext uri="{BB962C8B-B14F-4D97-AF65-F5344CB8AC3E}">
        <p14:creationId xmlns:p14="http://schemas.microsoft.com/office/powerpoint/2010/main" val="675922493"/>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Lst>
  <p:timing>
    <p:tnLst>
      <p:par>
        <p:cTn id="1" dur="indefinite" restart="never" nodeType="tmRoot"/>
      </p:par>
    </p:tnLst>
  </p:timing>
  <p:hf hdr="0" ftr="0" dt="0"/>
  <p:txStyles>
    <p:titleStyle>
      <a:lvl1pPr algn="l" defTabSz="914091"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091"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091"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783" indent="-180913" algn="l" defTabSz="914091"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524" indent="-177740" algn="l" defTabSz="914091"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6851" indent="-179326" algn="l" defTabSz="914091"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3749" indent="-228523" algn="l" defTabSz="9140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94" indent="-228523" algn="l" defTabSz="9140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40" indent="-228523" algn="l" defTabSz="9140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85" indent="-228523" algn="l" defTabSz="9140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091" rtl="0" eaLnBrk="1" latinLnBrk="0" hangingPunct="1">
        <a:defRPr sz="1800" kern="1200">
          <a:solidFill>
            <a:schemeClr val="tx1"/>
          </a:solidFill>
          <a:latin typeface="+mn-lt"/>
          <a:ea typeface="+mn-ea"/>
          <a:cs typeface="+mn-cs"/>
        </a:defRPr>
      </a:lvl1pPr>
      <a:lvl2pPr marL="457045" algn="l" defTabSz="914091" rtl="0" eaLnBrk="1" latinLnBrk="0" hangingPunct="1">
        <a:defRPr sz="1800" kern="1200">
          <a:solidFill>
            <a:schemeClr val="tx1"/>
          </a:solidFill>
          <a:latin typeface="+mn-lt"/>
          <a:ea typeface="+mn-ea"/>
          <a:cs typeface="+mn-cs"/>
        </a:defRPr>
      </a:lvl2pPr>
      <a:lvl3pPr marL="914091" algn="l" defTabSz="914091" rtl="0" eaLnBrk="1" latinLnBrk="0" hangingPunct="1">
        <a:defRPr sz="1800" kern="1200">
          <a:solidFill>
            <a:schemeClr val="tx1"/>
          </a:solidFill>
          <a:latin typeface="+mn-lt"/>
          <a:ea typeface="+mn-ea"/>
          <a:cs typeface="+mn-cs"/>
        </a:defRPr>
      </a:lvl3pPr>
      <a:lvl4pPr marL="1371136" algn="l" defTabSz="914091" rtl="0" eaLnBrk="1" latinLnBrk="0" hangingPunct="1">
        <a:defRPr sz="1800" kern="1200">
          <a:solidFill>
            <a:schemeClr val="tx1"/>
          </a:solidFill>
          <a:latin typeface="+mn-lt"/>
          <a:ea typeface="+mn-ea"/>
          <a:cs typeface="+mn-cs"/>
        </a:defRPr>
      </a:lvl4pPr>
      <a:lvl5pPr marL="1828181" algn="l" defTabSz="914091" rtl="0" eaLnBrk="1" latinLnBrk="0" hangingPunct="1">
        <a:defRPr sz="1800" kern="1200">
          <a:solidFill>
            <a:schemeClr val="tx1"/>
          </a:solidFill>
          <a:latin typeface="+mn-lt"/>
          <a:ea typeface="+mn-ea"/>
          <a:cs typeface="+mn-cs"/>
        </a:defRPr>
      </a:lvl5pPr>
      <a:lvl6pPr marL="2285226" algn="l" defTabSz="914091" rtl="0" eaLnBrk="1" latinLnBrk="0" hangingPunct="1">
        <a:defRPr sz="1800" kern="1200">
          <a:solidFill>
            <a:schemeClr val="tx1"/>
          </a:solidFill>
          <a:latin typeface="+mn-lt"/>
          <a:ea typeface="+mn-ea"/>
          <a:cs typeface="+mn-cs"/>
        </a:defRPr>
      </a:lvl6pPr>
      <a:lvl7pPr marL="2742272" algn="l" defTabSz="914091" rtl="0" eaLnBrk="1" latinLnBrk="0" hangingPunct="1">
        <a:defRPr sz="1800" kern="1200">
          <a:solidFill>
            <a:schemeClr val="tx1"/>
          </a:solidFill>
          <a:latin typeface="+mn-lt"/>
          <a:ea typeface="+mn-ea"/>
          <a:cs typeface="+mn-cs"/>
        </a:defRPr>
      </a:lvl7pPr>
      <a:lvl8pPr marL="3199317" algn="l" defTabSz="914091" rtl="0" eaLnBrk="1" latinLnBrk="0" hangingPunct="1">
        <a:defRPr sz="1800" kern="1200">
          <a:solidFill>
            <a:schemeClr val="tx1"/>
          </a:solidFill>
          <a:latin typeface="+mn-lt"/>
          <a:ea typeface="+mn-ea"/>
          <a:cs typeface="+mn-cs"/>
        </a:defRPr>
      </a:lvl8pPr>
      <a:lvl9pPr marL="3656362" algn="l" defTabSz="914091"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9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89845" tIns="71877" rIns="89845" bIns="71877" rtlCol="0" anchor="ctr"/>
          <a:lstStyle/>
          <a:p>
            <a:pPr algn="ctr" defTabSz="912855"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7" y="6636193"/>
            <a:ext cx="1762144" cy="123111"/>
          </a:xfrm>
          <a:prstGeom prst="rect">
            <a:avLst/>
          </a:prstGeom>
          <a:noFill/>
        </p:spPr>
        <p:txBody>
          <a:bodyPr wrap="none" lIns="71877" tIns="0" rIns="0" bIns="0" rtlCol="0">
            <a:spAutoFit/>
          </a:bodyPr>
          <a:lstStyle/>
          <a:p>
            <a:pPr marL="133125" indent="-133125" defTabSz="912855">
              <a:buClr>
                <a:srgbClr val="FFFFFF"/>
              </a:buClr>
              <a:buFont typeface="Arial" pitchFamily="34" charset="0"/>
              <a:buChar char="©"/>
            </a:pPr>
            <a:r>
              <a:rPr lang="en-US" sz="800" dirty="0" smtClean="0">
                <a:solidFill>
                  <a:srgbClr val="FFFFFF"/>
                </a:solidFill>
              </a:rPr>
              <a:t>2013</a:t>
            </a:r>
            <a:r>
              <a:rPr lang="en-US" sz="800" baseline="0" dirty="0" smtClean="0">
                <a:solidFill>
                  <a:srgbClr val="FFFFFF"/>
                </a:solidFill>
              </a:rPr>
              <a:t> </a:t>
            </a:r>
            <a:r>
              <a:rPr lang="en-US" sz="800" dirty="0" smtClean="0">
                <a:solidFill>
                  <a:srgbClr val="FFFFFF"/>
                </a:solidFill>
              </a:rPr>
              <a:t>SAP AG. All rights reserved.</a:t>
            </a:r>
          </a:p>
        </p:txBody>
      </p:sp>
      <p:sp>
        <p:nvSpPr>
          <p:cNvPr id="34" name="TextBox 33"/>
          <p:cNvSpPr txBox="1"/>
          <p:nvPr/>
        </p:nvSpPr>
        <p:spPr bwMode="gray">
          <a:xfrm>
            <a:off x="8625716" y="6636193"/>
            <a:ext cx="197613" cy="123111"/>
          </a:xfrm>
          <a:prstGeom prst="rect">
            <a:avLst/>
          </a:prstGeom>
          <a:noFill/>
        </p:spPr>
        <p:txBody>
          <a:bodyPr wrap="none" lIns="0" tIns="0" rIns="71877" bIns="0" rtlCol="0">
            <a:spAutoFit/>
          </a:bodyPr>
          <a:lstStyle/>
          <a:p>
            <a:pPr marL="93506" indent="-93506" algn="r" defTabSz="912855">
              <a:buClr>
                <a:srgbClr val="666666"/>
              </a:buClr>
              <a:buFont typeface="Arial" pitchFamily="34" charset="0"/>
              <a:buNone/>
            </a:pPr>
            <a:fld id="{0BDC132A-5C91-4078-9777-31DA19A62E0A}" type="slidenum">
              <a:rPr lang="en-US" sz="800" smtClean="0">
                <a:solidFill>
                  <a:srgbClr val="FFFFFF"/>
                </a:solidFill>
              </a:rPr>
              <a:pPr marL="93506" indent="-93506" algn="r" defTabSz="912855">
                <a:buClr>
                  <a:srgbClr val="666666"/>
                </a:buClr>
                <a:buFont typeface="Arial" pitchFamily="34" charset="0"/>
                <a:buNone/>
              </a:pPr>
              <a:t>‹#›</a:t>
            </a:fld>
            <a:endParaRPr lang="en-US" sz="800" dirty="0" smtClean="0">
              <a:solidFill>
                <a:srgbClr val="FFFFFF"/>
              </a:solidFill>
            </a:endParaRPr>
          </a:p>
        </p:txBody>
      </p:sp>
      <p:sp>
        <p:nvSpPr>
          <p:cNvPr id="9" name="Information_Classification"/>
          <p:cNvSpPr txBox="1"/>
          <p:nvPr/>
        </p:nvSpPr>
        <p:spPr>
          <a:xfrm>
            <a:off x="7584639" y="6611360"/>
            <a:ext cx="708527" cy="153888"/>
          </a:xfrm>
          <a:prstGeom prst="rect">
            <a:avLst/>
          </a:prstGeom>
          <a:noFill/>
        </p:spPr>
        <p:txBody>
          <a:bodyPr vert="horz" wrap="none" lIns="0" tIns="0" rIns="0" bIns="0" rtlCol="0">
            <a:spAutoFit/>
          </a:bodyPr>
          <a:lstStyle/>
          <a:p>
            <a:pPr algn="r" defTabSz="912855" fontAlgn="base">
              <a:spcBef>
                <a:spcPct val="50000"/>
              </a:spcBef>
              <a:spcAft>
                <a:spcPct val="0"/>
              </a:spcAft>
              <a:buClr>
                <a:srgbClr val="F0AB00"/>
              </a:buClr>
              <a:buSzPct val="80000"/>
            </a:pPr>
            <a:r>
              <a:rPr lang="en-US" sz="1000" kern="0" dirty="0" smtClean="0">
                <a:solidFill>
                  <a:srgbClr val="FFFFFF"/>
                </a:solidFill>
                <a:ea typeface="Arial Unicode MS"/>
                <a:cs typeface="Arial Unicode MS" pitchFamily="34" charset="-128"/>
                <a:sym typeface="Arial"/>
              </a:rPr>
              <a:t>Confidential </a:t>
            </a:r>
          </a:p>
        </p:txBody>
      </p:sp>
    </p:spTree>
    <p:extLst>
      <p:ext uri="{BB962C8B-B14F-4D97-AF65-F5344CB8AC3E}">
        <p14:creationId xmlns:p14="http://schemas.microsoft.com/office/powerpoint/2010/main" val="3114702231"/>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 id="2147484260" r:id="rId19"/>
    <p:sldLayoutId id="2147484261" r:id="rId20"/>
    <p:sldLayoutId id="2147484262" r:id="rId21"/>
    <p:sldLayoutId id="2147484263" r:id="rId22"/>
    <p:sldLayoutId id="2147484264" r:id="rId23"/>
    <p:sldLayoutId id="2147484265" r:id="rId24"/>
    <p:sldLayoutId id="2147484266" r:id="rId25"/>
    <p:sldLayoutId id="2147484267" r:id="rId26"/>
    <p:sldLayoutId id="2147484268" r:id="rId27"/>
  </p:sldLayoutIdLst>
  <p:timing>
    <p:tnLst>
      <p:par>
        <p:cTn id="1" dur="indefinite" restart="never" nodeType="tmRoot"/>
      </p:par>
    </p:tnLst>
  </p:timing>
  <p:hf hdr="0" ftr="0" dt="0"/>
  <p:txStyles>
    <p:titleStyle>
      <a:lvl1pPr algn="l" defTabSz="912855"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2855"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2855"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418" indent="-180667" algn="l" defTabSz="912855"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6916" indent="-177500" algn="l" defTabSz="912855"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6003" indent="-179083" algn="l" defTabSz="912855"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0349"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774"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202"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630" indent="-228212" algn="l" defTabSz="91285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2855" rtl="0" eaLnBrk="1" latinLnBrk="0" hangingPunct="1">
        <a:defRPr sz="1800" kern="1200">
          <a:solidFill>
            <a:schemeClr val="tx1"/>
          </a:solidFill>
          <a:latin typeface="+mn-lt"/>
          <a:ea typeface="+mn-ea"/>
          <a:cs typeface="+mn-cs"/>
        </a:defRPr>
      </a:lvl1pPr>
      <a:lvl2pPr marL="456428" algn="l" defTabSz="912855" rtl="0" eaLnBrk="1" latinLnBrk="0" hangingPunct="1">
        <a:defRPr sz="1800" kern="1200">
          <a:solidFill>
            <a:schemeClr val="tx1"/>
          </a:solidFill>
          <a:latin typeface="+mn-lt"/>
          <a:ea typeface="+mn-ea"/>
          <a:cs typeface="+mn-cs"/>
        </a:defRPr>
      </a:lvl2pPr>
      <a:lvl3pPr marL="912855" algn="l" defTabSz="912855" rtl="0" eaLnBrk="1" latinLnBrk="0" hangingPunct="1">
        <a:defRPr sz="1800" kern="1200">
          <a:solidFill>
            <a:schemeClr val="tx1"/>
          </a:solidFill>
          <a:latin typeface="+mn-lt"/>
          <a:ea typeface="+mn-ea"/>
          <a:cs typeface="+mn-cs"/>
        </a:defRPr>
      </a:lvl3pPr>
      <a:lvl4pPr marL="1369280" algn="l" defTabSz="912855" rtl="0" eaLnBrk="1" latinLnBrk="0" hangingPunct="1">
        <a:defRPr sz="1800" kern="1200">
          <a:solidFill>
            <a:schemeClr val="tx1"/>
          </a:solidFill>
          <a:latin typeface="+mn-lt"/>
          <a:ea typeface="+mn-ea"/>
          <a:cs typeface="+mn-cs"/>
        </a:defRPr>
      </a:lvl4pPr>
      <a:lvl5pPr marL="1825709" algn="l" defTabSz="912855" rtl="0" eaLnBrk="1" latinLnBrk="0" hangingPunct="1">
        <a:defRPr sz="1800" kern="1200">
          <a:solidFill>
            <a:schemeClr val="tx1"/>
          </a:solidFill>
          <a:latin typeface="+mn-lt"/>
          <a:ea typeface="+mn-ea"/>
          <a:cs typeface="+mn-cs"/>
        </a:defRPr>
      </a:lvl5pPr>
      <a:lvl6pPr marL="2282134" algn="l" defTabSz="912855" rtl="0" eaLnBrk="1" latinLnBrk="0" hangingPunct="1">
        <a:defRPr sz="1800" kern="1200">
          <a:solidFill>
            <a:schemeClr val="tx1"/>
          </a:solidFill>
          <a:latin typeface="+mn-lt"/>
          <a:ea typeface="+mn-ea"/>
          <a:cs typeface="+mn-cs"/>
        </a:defRPr>
      </a:lvl6pPr>
      <a:lvl7pPr marL="2738562" algn="l" defTabSz="912855" rtl="0" eaLnBrk="1" latinLnBrk="0" hangingPunct="1">
        <a:defRPr sz="1800" kern="1200">
          <a:solidFill>
            <a:schemeClr val="tx1"/>
          </a:solidFill>
          <a:latin typeface="+mn-lt"/>
          <a:ea typeface="+mn-ea"/>
          <a:cs typeface="+mn-cs"/>
        </a:defRPr>
      </a:lvl7pPr>
      <a:lvl8pPr marL="3194990" algn="l" defTabSz="912855" rtl="0" eaLnBrk="1" latinLnBrk="0" hangingPunct="1">
        <a:defRPr sz="1800" kern="1200">
          <a:solidFill>
            <a:schemeClr val="tx1"/>
          </a:solidFill>
          <a:latin typeface="+mn-lt"/>
          <a:ea typeface="+mn-ea"/>
          <a:cs typeface="+mn-cs"/>
        </a:defRPr>
      </a:lvl8pPr>
      <a:lvl9pPr marL="3651414" algn="l" defTabSz="91285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242937" y="324000"/>
            <a:ext cx="8656646"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242937" y="1690695"/>
            <a:ext cx="8656646"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242937" y="0"/>
            <a:ext cx="8656646" cy="162000"/>
          </a:xfrm>
          <a:prstGeom prst="rect">
            <a:avLst/>
          </a:prstGeom>
          <a:solidFill>
            <a:schemeClr val="accent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242937" y="1231200"/>
            <a:ext cx="8656646"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242937" y="6535738"/>
            <a:ext cx="8656646" cy="324000"/>
          </a:xfrm>
          <a:prstGeom prst="rect">
            <a:avLst/>
          </a:prstGeom>
          <a:solidFill>
            <a:schemeClr val="tx1"/>
          </a:solidFill>
          <a:ln w="9525" algn="ctr">
            <a:noFill/>
            <a:miter lim="800000"/>
            <a:headEnd/>
            <a:tailEnd/>
          </a:ln>
        </p:spPr>
        <p:txBody>
          <a:bodyPr lIns="89876" tIns="71902" rIns="89876" bIns="71902" rtlCol="0" anchor="ctr"/>
          <a:lstStyle/>
          <a:p>
            <a:pPr algn="ctr" defTabSz="913164"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242938" y="6636191"/>
            <a:ext cx="1762169" cy="123111"/>
          </a:xfrm>
          <a:prstGeom prst="rect">
            <a:avLst/>
          </a:prstGeom>
          <a:noFill/>
        </p:spPr>
        <p:txBody>
          <a:bodyPr wrap="none" lIns="71902" tIns="0" rIns="0" bIns="0" rtlCol="0">
            <a:spAutoFit/>
          </a:bodyPr>
          <a:lstStyle/>
          <a:p>
            <a:pPr marL="133170" indent="-133170" defTabSz="913164">
              <a:buClr>
                <a:srgbClr val="FFFFFF"/>
              </a:buClr>
              <a:buFont typeface="Arial" pitchFamily="34" charset="0"/>
              <a:buChar char="©"/>
            </a:pPr>
            <a:r>
              <a:rPr lang="en-US" sz="800" dirty="0" smtClean="0">
                <a:solidFill>
                  <a:srgbClr val="FFFFFF"/>
                </a:solidFill>
              </a:rPr>
              <a:t>2012 SAP AG. All rights reserved.</a:t>
            </a:r>
          </a:p>
        </p:txBody>
      </p:sp>
      <p:sp>
        <p:nvSpPr>
          <p:cNvPr id="34" name="TextBox 33"/>
          <p:cNvSpPr txBox="1"/>
          <p:nvPr/>
        </p:nvSpPr>
        <p:spPr bwMode="black">
          <a:xfrm>
            <a:off x="8701159" y="6636191"/>
            <a:ext cx="197638" cy="123111"/>
          </a:xfrm>
          <a:prstGeom prst="rect">
            <a:avLst/>
          </a:prstGeom>
          <a:noFill/>
        </p:spPr>
        <p:txBody>
          <a:bodyPr wrap="none" lIns="0" tIns="0" rIns="71902" bIns="0" rtlCol="0">
            <a:spAutoFit/>
          </a:bodyPr>
          <a:lstStyle/>
          <a:p>
            <a:pPr marL="93538" indent="-93538" algn="r" defTabSz="913164">
              <a:buClr>
                <a:srgbClr val="666666"/>
              </a:buClr>
              <a:buFont typeface="Arial" pitchFamily="34" charset="0"/>
              <a:buNone/>
            </a:pPr>
            <a:fld id="{0BDC132A-5C91-4078-9777-31DA19A62E0A}" type="slidenum">
              <a:rPr lang="en-US" sz="800" smtClean="0">
                <a:solidFill>
                  <a:srgbClr val="FFFFFF"/>
                </a:solidFill>
              </a:rPr>
              <a:pPr marL="93538" indent="-93538" algn="r" defTabSz="913164">
                <a:buClr>
                  <a:srgbClr val="666666"/>
                </a:buClr>
                <a:buFont typeface="Arial" pitchFamily="34" charset="0"/>
                <a:buNone/>
              </a:pPr>
              <a:t>‹#›</a:t>
            </a:fld>
            <a:endParaRPr lang="en-US" sz="800" dirty="0" smtClean="0">
              <a:solidFill>
                <a:srgbClr val="FFFFFF"/>
              </a:solidFill>
            </a:endParaRPr>
          </a:p>
        </p:txBody>
      </p:sp>
      <p:pic>
        <p:nvPicPr>
          <p:cNvPr id="11" name="Picture 2" descr="\\dwdf034\commteam\Updates\01_Branding\02_Font_Treatment\RGB\SAP_Next_Business_and_Technology_R_stac2.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176896" y="6347393"/>
            <a:ext cx="724287" cy="140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488311"/>
      </p:ext>
    </p:extLst>
  </p:cSld>
  <p:clrMap bg1="lt1" tx1="dk1" bg2="lt2" tx2="dk2" accent1="accent1" accent2="accent2" accent3="accent3" accent4="accent4" accent5="accent5" accent6="accent6" hlink="hlink" folHlink="folHlink"/>
  <p:sldLayoutIdLst>
    <p:sldLayoutId id="2147484326" r:id="rId1"/>
    <p:sldLayoutId id="2147484327" r:id="rId2"/>
    <p:sldLayoutId id="2147484328" r:id="rId3"/>
    <p:sldLayoutId id="2147484329" r:id="rId4"/>
    <p:sldLayoutId id="2147484330" r:id="rId5"/>
    <p:sldLayoutId id="2147484331" r:id="rId6"/>
    <p:sldLayoutId id="2147484332" r:id="rId7"/>
    <p:sldLayoutId id="2147484333" r:id="rId8"/>
    <p:sldLayoutId id="2147484334" r:id="rId9"/>
    <p:sldLayoutId id="2147484335" r:id="rId10"/>
    <p:sldLayoutId id="2147484336" r:id="rId11"/>
    <p:sldLayoutId id="2147484337" r:id="rId12"/>
    <p:sldLayoutId id="2147484338" r:id="rId13"/>
    <p:sldLayoutId id="2147484339" r:id="rId14"/>
    <p:sldLayoutId id="2147484340" r:id="rId15"/>
    <p:sldLayoutId id="2147484341" r:id="rId16"/>
    <p:sldLayoutId id="2147484342" r:id="rId17"/>
    <p:sldLayoutId id="2147484343" r:id="rId18"/>
    <p:sldLayoutId id="2147484344" r:id="rId19"/>
    <p:sldLayoutId id="2147484345" r:id="rId20"/>
    <p:sldLayoutId id="2147484346" r:id="rId21"/>
    <p:sldLayoutId id="2147484347" r:id="rId22"/>
  </p:sldLayoutIdLst>
  <p:hf sldNum="0" hdr="0" dt="0"/>
  <p:txStyles>
    <p:titleStyle>
      <a:lvl1pPr algn="l" defTabSz="913164"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3164" rtl="0" eaLnBrk="1" latinLnBrk="0" hangingPunct="1">
        <a:spcBef>
          <a:spcPts val="2014"/>
        </a:spcBef>
        <a:buClr>
          <a:schemeClr val="accent1"/>
        </a:buClr>
        <a:buSzPct val="80000"/>
        <a:buFontTx/>
        <a:buNone/>
        <a:defRPr sz="1700" b="1" kern="1200">
          <a:solidFill>
            <a:schemeClr val="tx1"/>
          </a:solidFill>
          <a:latin typeface="+mn-lt"/>
          <a:ea typeface="+mn-ea"/>
          <a:cs typeface="+mn-cs"/>
        </a:defRPr>
      </a:lvl1pPr>
      <a:lvl2pPr marL="0" indent="0" algn="l" defTabSz="913164" rtl="0" eaLnBrk="1" latinLnBrk="0" hangingPunct="1">
        <a:spcBef>
          <a:spcPts val="504"/>
        </a:spcBef>
        <a:buClr>
          <a:schemeClr val="accent1"/>
        </a:buClr>
        <a:buSzPct val="80000"/>
        <a:buFont typeface="Wingdings" pitchFamily="2" charset="2"/>
        <a:buNone/>
        <a:defRPr sz="1700" kern="1200">
          <a:solidFill>
            <a:schemeClr val="tx1"/>
          </a:solidFill>
          <a:latin typeface="+mn-lt"/>
          <a:ea typeface="+mn-ea"/>
          <a:cs typeface="+mn-cs"/>
        </a:defRPr>
      </a:lvl2pPr>
      <a:lvl3pPr marL="150966" indent="-150966" algn="l" defTabSz="913164" rtl="0" eaLnBrk="1" latinLnBrk="0" hangingPunct="1">
        <a:spcBef>
          <a:spcPts val="336"/>
        </a:spcBef>
        <a:buClr>
          <a:schemeClr val="accent1"/>
        </a:buClr>
        <a:buSzPct val="100000"/>
        <a:buFont typeface="Wingdings" pitchFamily="2" charset="2"/>
        <a:buChar char=""/>
        <a:defRPr sz="1500" kern="1200">
          <a:solidFill>
            <a:schemeClr val="tx1"/>
          </a:solidFill>
          <a:latin typeface="+mn-lt"/>
          <a:ea typeface="+mn-ea"/>
          <a:cs typeface="+mn-cs"/>
        </a:defRPr>
      </a:lvl3pPr>
      <a:lvl4pPr marL="301935" indent="-150966" algn="l" defTabSz="913164" rtl="0" eaLnBrk="1" latinLnBrk="0" hangingPunct="1">
        <a:spcBef>
          <a:spcPts val="336"/>
        </a:spcBef>
        <a:buClr>
          <a:schemeClr val="accent2"/>
        </a:buClr>
        <a:buSzPct val="100000"/>
        <a:buFont typeface="Arial" pitchFamily="34" charset="0"/>
        <a:buChar char="–"/>
        <a:defRPr sz="1500" kern="1200">
          <a:solidFill>
            <a:schemeClr val="tx1"/>
          </a:solidFill>
          <a:latin typeface="+mn-lt"/>
          <a:ea typeface="+mn-ea"/>
          <a:cs typeface="+mn-cs"/>
        </a:defRPr>
      </a:lvl4pPr>
      <a:lvl5pPr marL="452902" indent="-150966" algn="l" defTabSz="913164" rtl="0" eaLnBrk="1" latinLnBrk="0" hangingPunct="1">
        <a:spcBef>
          <a:spcPts val="210"/>
        </a:spcBef>
        <a:buClr>
          <a:schemeClr val="accent2"/>
        </a:buClr>
        <a:buSzPct val="100000"/>
        <a:buFont typeface="Courier New" pitchFamily="49" charset="0"/>
        <a:buChar char="o"/>
        <a:defRPr sz="1300" kern="1200">
          <a:solidFill>
            <a:schemeClr val="tx1"/>
          </a:solidFill>
          <a:latin typeface="+mn-lt"/>
          <a:ea typeface="+mn-ea"/>
          <a:cs typeface="+mn-cs"/>
        </a:defRPr>
      </a:lvl5pPr>
      <a:lvl6pPr marL="2511199" indent="-228290" algn="l" defTabSz="9131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779" indent="-228290" algn="l" defTabSz="9131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361" indent="-228290" algn="l" defTabSz="9131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943" indent="-228290" algn="l" defTabSz="9131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3164" rtl="0" eaLnBrk="1" latinLnBrk="0" hangingPunct="1">
        <a:defRPr sz="1800" kern="1200">
          <a:solidFill>
            <a:schemeClr val="tx1"/>
          </a:solidFill>
          <a:latin typeface="+mn-lt"/>
          <a:ea typeface="+mn-ea"/>
          <a:cs typeface="+mn-cs"/>
        </a:defRPr>
      </a:lvl1pPr>
      <a:lvl2pPr marL="456582" algn="l" defTabSz="913164" rtl="0" eaLnBrk="1" latinLnBrk="0" hangingPunct="1">
        <a:defRPr sz="1800" kern="1200">
          <a:solidFill>
            <a:schemeClr val="tx1"/>
          </a:solidFill>
          <a:latin typeface="+mn-lt"/>
          <a:ea typeface="+mn-ea"/>
          <a:cs typeface="+mn-cs"/>
        </a:defRPr>
      </a:lvl2pPr>
      <a:lvl3pPr marL="913164" algn="l" defTabSz="913164" rtl="0" eaLnBrk="1" latinLnBrk="0" hangingPunct="1">
        <a:defRPr sz="1800" kern="1200">
          <a:solidFill>
            <a:schemeClr val="tx1"/>
          </a:solidFill>
          <a:latin typeface="+mn-lt"/>
          <a:ea typeface="+mn-ea"/>
          <a:cs typeface="+mn-cs"/>
        </a:defRPr>
      </a:lvl3pPr>
      <a:lvl4pPr marL="1369744" algn="l" defTabSz="913164" rtl="0" eaLnBrk="1" latinLnBrk="0" hangingPunct="1">
        <a:defRPr sz="1800" kern="1200">
          <a:solidFill>
            <a:schemeClr val="tx1"/>
          </a:solidFill>
          <a:latin typeface="+mn-lt"/>
          <a:ea typeface="+mn-ea"/>
          <a:cs typeface="+mn-cs"/>
        </a:defRPr>
      </a:lvl4pPr>
      <a:lvl5pPr marL="1826327" algn="l" defTabSz="913164" rtl="0" eaLnBrk="1" latinLnBrk="0" hangingPunct="1">
        <a:defRPr sz="1800" kern="1200">
          <a:solidFill>
            <a:schemeClr val="tx1"/>
          </a:solidFill>
          <a:latin typeface="+mn-lt"/>
          <a:ea typeface="+mn-ea"/>
          <a:cs typeface="+mn-cs"/>
        </a:defRPr>
      </a:lvl5pPr>
      <a:lvl6pPr marL="2282907" algn="l" defTabSz="913164" rtl="0" eaLnBrk="1" latinLnBrk="0" hangingPunct="1">
        <a:defRPr sz="1800" kern="1200">
          <a:solidFill>
            <a:schemeClr val="tx1"/>
          </a:solidFill>
          <a:latin typeface="+mn-lt"/>
          <a:ea typeface="+mn-ea"/>
          <a:cs typeface="+mn-cs"/>
        </a:defRPr>
      </a:lvl6pPr>
      <a:lvl7pPr marL="2739489" algn="l" defTabSz="913164" rtl="0" eaLnBrk="1" latinLnBrk="0" hangingPunct="1">
        <a:defRPr sz="1800" kern="1200">
          <a:solidFill>
            <a:schemeClr val="tx1"/>
          </a:solidFill>
          <a:latin typeface="+mn-lt"/>
          <a:ea typeface="+mn-ea"/>
          <a:cs typeface="+mn-cs"/>
        </a:defRPr>
      </a:lvl7pPr>
      <a:lvl8pPr marL="3196070" algn="l" defTabSz="913164" rtl="0" eaLnBrk="1" latinLnBrk="0" hangingPunct="1">
        <a:defRPr sz="1800" kern="1200">
          <a:solidFill>
            <a:schemeClr val="tx1"/>
          </a:solidFill>
          <a:latin typeface="+mn-lt"/>
          <a:ea typeface="+mn-ea"/>
          <a:cs typeface="+mn-cs"/>
        </a:defRPr>
      </a:lvl8pPr>
      <a:lvl9pPr marL="3652650" algn="l" defTabSz="913164"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defTabSz="914400"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0" y="6636183"/>
            <a:ext cx="1762268" cy="123111"/>
          </a:xfrm>
          <a:prstGeom prst="rect">
            <a:avLst/>
          </a:prstGeom>
          <a:noFill/>
        </p:spPr>
        <p:txBody>
          <a:bodyPr wrap="none" lIns="72000" tIns="0" rIns="0" bIns="0" rtlCol="0">
            <a:spAutoFit/>
          </a:bodyPr>
          <a:lstStyle/>
          <a:p>
            <a:pPr marL="133350" indent="-133350" defTabSz="914400">
              <a:buClr>
                <a:srgbClr val="FFFFFF"/>
              </a:buClr>
              <a:buFont typeface="Arial" pitchFamily="34" charset="0"/>
              <a:buChar char="©"/>
            </a:pPr>
            <a:r>
              <a:rPr lang="en-US" sz="800" dirty="0" smtClean="0">
                <a:solidFill>
                  <a:srgbClr val="FFFFFF"/>
                </a:solidFill>
              </a:rPr>
              <a:t>2013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defTabSz="914400">
              <a:buClr>
                <a:srgbClr val="666666"/>
              </a:buClr>
              <a:buFont typeface="Arial" pitchFamily="34" charset="0"/>
              <a:buNone/>
            </a:pPr>
            <a:fld id="{0BDC132A-5C91-4078-9777-31DA19A62E0A}" type="slidenum">
              <a:rPr lang="en-US" sz="800" smtClean="0">
                <a:solidFill>
                  <a:srgbClr val="FFFFFF"/>
                </a:solidFill>
              </a:rPr>
              <a:pPr marL="93663" indent="-93663" algn="r" defTabSz="914400">
                <a:buClr>
                  <a:srgbClr val="666666"/>
                </a:buClr>
                <a:buFont typeface="Arial" pitchFamily="34" charset="0"/>
                <a:buNone/>
              </a:pPr>
              <a:t>‹#›</a:t>
            </a:fld>
            <a:endParaRPr lang="en-US" sz="800" dirty="0" smtClean="0">
              <a:solidFill>
                <a:srgbClr val="FFFFFF"/>
              </a:solidFill>
            </a:endParaRPr>
          </a:p>
        </p:txBody>
      </p:sp>
    </p:spTree>
    <p:extLst>
      <p:ext uri="{BB962C8B-B14F-4D97-AF65-F5344CB8AC3E}">
        <p14:creationId xmlns:p14="http://schemas.microsoft.com/office/powerpoint/2010/main" val="1190560234"/>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 id="2147484361" r:id="rId13"/>
    <p:sldLayoutId id="2147484362" r:id="rId14"/>
    <p:sldLayoutId id="2147484363" r:id="rId15"/>
    <p:sldLayoutId id="2147484364" r:id="rId16"/>
    <p:sldLayoutId id="2147484365" r:id="rId17"/>
    <p:sldLayoutId id="2147484366" r:id="rId18"/>
    <p:sldLayoutId id="2147484367" r:id="rId19"/>
    <p:sldLayoutId id="2147484368" r:id="rId20"/>
    <p:sldLayoutId id="2147484369" r:id="rId21"/>
    <p:sldLayoutId id="2147484370" r:id="rId22"/>
    <p:sldLayoutId id="2147484371" r:id="rId23"/>
    <p:sldLayoutId id="2147484372" r:id="rId24"/>
    <p:sldLayoutId id="2147484373" r:id="rId25"/>
    <p:sldLayoutId id="2147484374" r:id="rId26"/>
    <p:sldLayoutId id="2147484375" r:id="rId27"/>
    <p:sldLayoutId id="2147484376" r:id="rId28"/>
    <p:sldLayoutId id="2147484377" r:id="rId29"/>
    <p:sldLayoutId id="2147484378" r:id="rId30"/>
    <p:sldLayoutId id="2147484379" r:id="rId31"/>
    <p:sldLayoutId id="2147484380" r:id="rId32"/>
    <p:sldLayoutId id="2147484381" r:id="rId33"/>
    <p:sldLayoutId id="2147484382" r:id="rId34"/>
    <p:sldLayoutId id="2147484383" r:id="rId35"/>
    <p:sldLayoutId id="2147484384" r:id="rId36"/>
    <p:sldLayoutId id="2147484385" r:id="rId37"/>
    <p:sldLayoutId id="2147484386" r:id="rId38"/>
    <p:sldLayoutId id="2147484387" r:id="rId39"/>
    <p:sldLayoutId id="2147484388" r:id="rId40"/>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71450" indent="-17145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41313" indent="-169863"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12763" indent="-171450" algn="l" defTabSz="914400" rtl="0" eaLnBrk="1" latinLnBrk="0" hangingPunct="1">
        <a:spcBef>
          <a:spcPts val="40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4.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76.xml"/><Relationship Id="rId6" Type="http://schemas.openxmlformats.org/officeDocument/2006/relationships/image" Target="../media/image28.gif"/><Relationship Id="rId5" Type="http://schemas.openxmlformats.org/officeDocument/2006/relationships/image" Target="../media/image27.jpeg"/><Relationship Id="rId4" Type="http://schemas.openxmlformats.org/officeDocument/2006/relationships/image" Target="../media/image26.jpeg"/></Relationships>
</file>

<file path=ppt/slides/_rels/slide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29.jpe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notesSlide" Target="../notesSlides/notesSlide5.xml"/><Relationship Id="rId2" Type="http://schemas.openxmlformats.org/officeDocument/2006/relationships/tags" Target="../tags/tag5.xml"/><Relationship Id="rId16" Type="http://schemas.openxmlformats.org/officeDocument/2006/relationships/image" Target="../media/image25.jp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slideLayout" Target="../slideLayouts/slideLayout30.xml"/><Relationship Id="rId5" Type="http://schemas.openxmlformats.org/officeDocument/2006/relationships/tags" Target="../tags/tag8.xml"/><Relationship Id="rId15" Type="http://schemas.openxmlformats.org/officeDocument/2006/relationships/image" Target="../media/image30.jpeg"/><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28.gif"/></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36.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notesSlide" Target="../notesSlides/notesSlide7.xml"/><Relationship Id="rId1" Type="http://schemas.openxmlformats.org/officeDocument/2006/relationships/slideLayout" Target="../slideLayouts/slideLayout53.x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8.xml.rels><?xml version="1.0" encoding="UTF-8" standalone="yes"?>
<Relationships xmlns="http://schemas.openxmlformats.org/package/2006/relationships"><Relationship Id="rId2" Type="http://schemas.openxmlformats.org/officeDocument/2006/relationships/hyperlink" Target="mailto:Heiko.Flohr@sap.com" TargetMode="Externa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84" y="-342900"/>
            <a:ext cx="9204384" cy="7334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bwMode="gray">
          <a:xfrm>
            <a:off x="324000" y="-1"/>
            <a:ext cx="8496000" cy="2303254"/>
          </a:xfrm>
          <a:prstGeom prst="rect">
            <a:avLst/>
          </a:prstGeom>
          <a:solidFill>
            <a:schemeClr val="bg1">
              <a:alpha val="75000"/>
            </a:schemeClr>
          </a:solidFill>
          <a:ln w="6350"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89955" tIns="71963" rIns="89955" bIns="71963" rtlCol="0" anchor="ctr"/>
          <a:lstStyle/>
          <a:p>
            <a:pPr algn="ctr" fontAlgn="base">
              <a:spcBef>
                <a:spcPct val="50000"/>
              </a:spcBef>
              <a:spcAft>
                <a:spcPct val="0"/>
              </a:spcAft>
              <a:buClr>
                <a:srgbClr val="F0AB00"/>
              </a:buClr>
              <a:buSzPct val="80000"/>
            </a:pPr>
            <a:endParaRPr lang="en-US" sz="1600" kern="0" dirty="0">
              <a:solidFill>
                <a:srgbClr val="000000"/>
              </a:solidFill>
              <a:ea typeface="Arial Unicode MS" pitchFamily="34" charset="-128"/>
              <a:cs typeface="Arial Unicode MS" pitchFamily="34" charset="-128"/>
            </a:endParaRPr>
          </a:p>
        </p:txBody>
      </p:sp>
      <p:sp>
        <p:nvSpPr>
          <p:cNvPr id="3" name="Subtitle 2"/>
          <p:cNvSpPr>
            <a:spLocks noGrp="1"/>
          </p:cNvSpPr>
          <p:nvPr>
            <p:ph type="subTitle" idx="1"/>
          </p:nvPr>
        </p:nvSpPr>
        <p:spPr>
          <a:xfrm>
            <a:off x="414001" y="1499873"/>
            <a:ext cx="6840000" cy="492443"/>
          </a:xfrm>
        </p:spPr>
        <p:txBody>
          <a:bodyPr/>
          <a:lstStyle/>
          <a:p>
            <a:endParaRPr lang="en-US" dirty="0" smtClean="0"/>
          </a:p>
          <a:p>
            <a:r>
              <a:rPr lang="en-US" dirty="0" smtClean="0"/>
              <a:t>Heiko Flohr, Global Head IBU Industrial Machinery &amp; Components, SAP AG </a:t>
            </a:r>
          </a:p>
        </p:txBody>
      </p:sp>
      <p:sp>
        <p:nvSpPr>
          <p:cNvPr id="14" name="Title 1"/>
          <p:cNvSpPr>
            <a:spLocks noGrp="1"/>
          </p:cNvSpPr>
          <p:nvPr>
            <p:ph type="title"/>
            <p:custDataLst>
              <p:tags r:id="rId1"/>
            </p:custDataLst>
          </p:nvPr>
        </p:nvSpPr>
        <p:spPr>
          <a:xfrm>
            <a:off x="414002" y="221483"/>
            <a:ext cx="8730001" cy="922146"/>
          </a:xfrm>
        </p:spPr>
        <p:txBody>
          <a:bodyPr/>
          <a:lstStyle/>
          <a:p>
            <a:r>
              <a:rPr lang="en-US" sz="2000" dirty="0"/>
              <a:t>SAP for Industrial Machinery &amp; Components</a:t>
            </a:r>
            <a:r>
              <a:rPr lang="en-US" sz="2800" dirty="0"/>
              <a:t/>
            </a:r>
            <a:br>
              <a:rPr lang="en-US" sz="2800" dirty="0"/>
            </a:br>
            <a:r>
              <a:rPr lang="en-US" sz="2800" dirty="0"/>
              <a:t/>
            </a:r>
            <a:br>
              <a:rPr lang="en-US" sz="2800" dirty="0"/>
            </a:br>
            <a:r>
              <a:rPr lang="en-US" sz="2800" dirty="0" err="1"/>
              <a:t>Industrie</a:t>
            </a:r>
            <a:r>
              <a:rPr lang="en-US" sz="2800" dirty="0"/>
              <a:t> 4.0 </a:t>
            </a:r>
            <a:r>
              <a:rPr lang="en-US" sz="2800" dirty="0" err="1"/>
              <a:t>für</a:t>
            </a:r>
            <a:r>
              <a:rPr lang="en-US" sz="2800" dirty="0"/>
              <a:t> den Anlagen &amp; </a:t>
            </a:r>
            <a:r>
              <a:rPr lang="en-US" sz="2800" dirty="0" err="1"/>
              <a:t>Maschinenbau</a:t>
            </a:r>
            <a:r>
              <a:rPr lang="en-US" sz="2800" dirty="0"/>
              <a:t> </a:t>
            </a:r>
            <a:endParaRPr lang="en-US" b="0" dirty="0"/>
          </a:p>
        </p:txBody>
      </p:sp>
      <p:pic>
        <p:nvPicPr>
          <p:cNvPr id="10" name="Picture 9" descr="SAP_grad_R_pref.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8615" y="6081716"/>
            <a:ext cx="916953" cy="454025"/>
          </a:xfrm>
          <a:prstGeom prst="rect">
            <a:avLst/>
          </a:prstGeom>
        </p:spPr>
      </p:pic>
    </p:spTree>
    <p:extLst>
      <p:ext uri="{BB962C8B-B14F-4D97-AF65-F5344CB8AC3E}">
        <p14:creationId xmlns:p14="http://schemas.microsoft.com/office/powerpoint/2010/main" val="2573152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solidFill>
                  <a:srgbClr val="666666"/>
                </a:solidFill>
              </a:rPr>
              <a:t>Our Industry Expertise Helps Companies Run Better</a:t>
            </a:r>
            <a:endParaRPr lang="en-US" sz="2000" dirty="0">
              <a:cs typeface="Arial" pitchFamily="34" charset="0"/>
            </a:endParaRPr>
          </a:p>
        </p:txBody>
      </p:sp>
      <p:sp>
        <p:nvSpPr>
          <p:cNvPr id="78" name="Rectangle 9"/>
          <p:cNvSpPr>
            <a:spLocks noChangeArrowheads="1"/>
          </p:cNvSpPr>
          <p:nvPr/>
        </p:nvSpPr>
        <p:spPr bwMode="auto">
          <a:xfrm>
            <a:off x="3739002" y="4982396"/>
            <a:ext cx="1833664" cy="657225"/>
          </a:xfrm>
          <a:prstGeom prst="rect">
            <a:avLst/>
          </a:prstGeom>
          <a:noFill/>
          <a:ln w="25400">
            <a:noFill/>
            <a:miter lim="800000"/>
            <a:headEnd/>
            <a:tailEnd/>
          </a:ln>
        </p:spPr>
        <p:txBody>
          <a:bodyPr lIns="91410" tIns="45704" rIns="91410" bIns="45704"/>
          <a:lstStyle/>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Metalworking Machinery &amp; Tools</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Special Industry Machinery </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Elevators, Escalators, and Material Handling Equipment</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Heating, Ventilation, Air Conditioning, and Refrigeration Equipment</a:t>
            </a:r>
          </a:p>
          <a:p>
            <a:pPr marL="87284" indent="-87284">
              <a:spcBef>
                <a:spcPts val="300"/>
              </a:spcBef>
              <a:buClr>
                <a:schemeClr val="tx1">
                  <a:lumMod val="75000"/>
                  <a:lumOff val="25000"/>
                </a:schemeClr>
              </a:buClr>
              <a:buFont typeface="Wingdings" pitchFamily="2" charset="2"/>
              <a:buChar char="§"/>
              <a:defRPr/>
            </a:pPr>
            <a:endParaRPr lang="en-US" sz="1000" dirty="0">
              <a:solidFill>
                <a:schemeClr val="tx1">
                  <a:lumMod val="65000"/>
                  <a:lumOff val="35000"/>
                </a:schemeClr>
              </a:solidFill>
              <a:latin typeface="+mn-lt"/>
            </a:endParaRPr>
          </a:p>
          <a:p>
            <a:pPr marL="87284" indent="-87284">
              <a:spcBef>
                <a:spcPts val="300"/>
              </a:spcBef>
              <a:buClr>
                <a:schemeClr val="tx1">
                  <a:lumMod val="75000"/>
                  <a:lumOff val="25000"/>
                </a:schemeClr>
              </a:buClr>
              <a:buFont typeface="Wingdings" pitchFamily="2" charset="2"/>
              <a:buChar char="§"/>
              <a:defRPr/>
            </a:pPr>
            <a:endParaRPr lang="en-US" sz="1000" dirty="0">
              <a:solidFill>
                <a:schemeClr val="tx1">
                  <a:lumMod val="65000"/>
                  <a:lumOff val="35000"/>
                </a:schemeClr>
              </a:solidFill>
              <a:latin typeface="+mn-lt"/>
            </a:endParaRPr>
          </a:p>
          <a:p>
            <a:pPr marL="87284" indent="-87284">
              <a:spcBef>
                <a:spcPts val="300"/>
              </a:spcBef>
              <a:buClr>
                <a:schemeClr val="tx1">
                  <a:lumMod val="75000"/>
                  <a:lumOff val="25000"/>
                </a:schemeClr>
              </a:buClr>
              <a:buFont typeface="Wingdings" pitchFamily="2" charset="2"/>
              <a:buChar char="§"/>
              <a:defRPr/>
            </a:pPr>
            <a:endParaRPr lang="en-US" sz="1000" dirty="0">
              <a:solidFill>
                <a:schemeClr val="tx1">
                  <a:lumMod val="65000"/>
                  <a:lumOff val="35000"/>
                </a:schemeClr>
              </a:solidFill>
              <a:latin typeface="+mn-lt"/>
            </a:endParaRPr>
          </a:p>
        </p:txBody>
      </p:sp>
      <p:sp>
        <p:nvSpPr>
          <p:cNvPr id="74" name="Rectangle 9"/>
          <p:cNvSpPr>
            <a:spLocks noChangeArrowheads="1"/>
          </p:cNvSpPr>
          <p:nvPr/>
        </p:nvSpPr>
        <p:spPr bwMode="auto">
          <a:xfrm>
            <a:off x="2231419" y="4982396"/>
            <a:ext cx="1468926" cy="898525"/>
          </a:xfrm>
          <a:prstGeom prst="rect">
            <a:avLst/>
          </a:prstGeom>
          <a:noFill/>
          <a:ln w="25400">
            <a:noFill/>
            <a:miter lim="800000"/>
            <a:headEnd/>
            <a:tailEnd/>
          </a:ln>
        </p:spPr>
        <p:txBody>
          <a:bodyPr lIns="91410" tIns="45704" rIns="91410" bIns="45704"/>
          <a:lstStyle/>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Construction Machinery </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Mining Machinery</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Heavy Equipment Dealers &amp; Rentals</a:t>
            </a:r>
          </a:p>
          <a:p>
            <a:pPr marL="87284" indent="-87284">
              <a:spcBef>
                <a:spcPts val="300"/>
              </a:spcBef>
              <a:buClr>
                <a:schemeClr val="tx1">
                  <a:lumMod val="75000"/>
                  <a:lumOff val="25000"/>
                </a:schemeClr>
              </a:buClr>
              <a:buFont typeface="Wingdings" pitchFamily="2" charset="2"/>
              <a:buChar char="§"/>
              <a:defRPr/>
            </a:pPr>
            <a:endParaRPr lang="en-US" sz="1000" dirty="0">
              <a:solidFill>
                <a:schemeClr val="tx1">
                  <a:lumMod val="65000"/>
                  <a:lumOff val="35000"/>
                </a:schemeClr>
              </a:solidFill>
              <a:latin typeface="+mn-lt"/>
            </a:endParaRPr>
          </a:p>
        </p:txBody>
      </p:sp>
      <p:sp>
        <p:nvSpPr>
          <p:cNvPr id="72" name="Rectangle 9"/>
          <p:cNvSpPr>
            <a:spLocks noChangeArrowheads="1"/>
          </p:cNvSpPr>
          <p:nvPr/>
        </p:nvSpPr>
        <p:spPr bwMode="auto">
          <a:xfrm>
            <a:off x="331546" y="4982394"/>
            <a:ext cx="1561773" cy="645297"/>
          </a:xfrm>
          <a:prstGeom prst="rect">
            <a:avLst/>
          </a:prstGeom>
          <a:noFill/>
          <a:ln w="25400">
            <a:noFill/>
            <a:miter lim="800000"/>
            <a:headEnd/>
            <a:tailEnd/>
          </a:ln>
        </p:spPr>
        <p:txBody>
          <a:bodyPr lIns="91410" tIns="45704" rIns="91410" bIns="45704"/>
          <a:lstStyle/>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Motion and Fluid Control</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Electrical Equipment, Appliance, and Components </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Measuring &amp; Controlling Devices </a:t>
            </a:r>
          </a:p>
        </p:txBody>
      </p:sp>
      <p:sp>
        <p:nvSpPr>
          <p:cNvPr id="70" name="Rectangle 9"/>
          <p:cNvSpPr>
            <a:spLocks noChangeArrowheads="1"/>
          </p:cNvSpPr>
          <p:nvPr/>
        </p:nvSpPr>
        <p:spPr bwMode="auto">
          <a:xfrm>
            <a:off x="7327200" y="4993143"/>
            <a:ext cx="1557243" cy="332192"/>
          </a:xfrm>
          <a:prstGeom prst="rect">
            <a:avLst/>
          </a:prstGeom>
          <a:noFill/>
          <a:ln w="25400">
            <a:noFill/>
            <a:miter lim="800000"/>
            <a:headEnd/>
            <a:tailEnd/>
          </a:ln>
        </p:spPr>
        <p:txBody>
          <a:bodyPr lIns="91410" tIns="45704" rIns="91410" bIns="45704"/>
          <a:lstStyle/>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Railroad Equipment</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Ship Building and  Repairing  </a:t>
            </a:r>
          </a:p>
        </p:txBody>
      </p:sp>
      <p:sp>
        <p:nvSpPr>
          <p:cNvPr id="22" name="Text Box 84"/>
          <p:cNvSpPr txBox="1">
            <a:spLocks noChangeArrowheads="1"/>
          </p:cNvSpPr>
          <p:nvPr/>
        </p:nvSpPr>
        <p:spPr bwMode="auto">
          <a:xfrm>
            <a:off x="3708990" y="4608697"/>
            <a:ext cx="1800000" cy="424699"/>
          </a:xfrm>
          <a:prstGeom prst="rect">
            <a:avLst/>
          </a:prstGeom>
          <a:noFill/>
          <a:ln w="9525">
            <a:noFill/>
            <a:miter lim="800000"/>
            <a:headEnd/>
            <a:tailEnd/>
          </a:ln>
        </p:spPr>
        <p:txBody>
          <a:bodyPr wrap="square" lIns="91410" tIns="45704" rIns="91410" bIns="45704">
            <a:spAutoFit/>
          </a:bodyPr>
          <a:lstStyle/>
          <a:p>
            <a:pPr algn="ctr">
              <a:lnSpc>
                <a:spcPct val="90000"/>
              </a:lnSpc>
              <a:spcBef>
                <a:spcPct val="50000"/>
              </a:spcBef>
            </a:pPr>
            <a:r>
              <a:rPr lang="en-US" sz="1200" b="1" dirty="0"/>
              <a:t>MACHINERY &amp; EQUIPMENT</a:t>
            </a:r>
          </a:p>
        </p:txBody>
      </p:sp>
      <p:sp>
        <p:nvSpPr>
          <p:cNvPr id="28" name="Text Box 84"/>
          <p:cNvSpPr txBox="1">
            <a:spLocks noChangeArrowheads="1"/>
          </p:cNvSpPr>
          <p:nvPr/>
        </p:nvSpPr>
        <p:spPr bwMode="auto">
          <a:xfrm>
            <a:off x="2011052" y="4613457"/>
            <a:ext cx="1783944" cy="424699"/>
          </a:xfrm>
          <a:prstGeom prst="rect">
            <a:avLst/>
          </a:prstGeom>
          <a:noFill/>
          <a:ln w="9525">
            <a:noFill/>
            <a:miter lim="800000"/>
            <a:headEnd/>
            <a:tailEnd/>
          </a:ln>
        </p:spPr>
        <p:txBody>
          <a:bodyPr wrap="square" lIns="91410" tIns="45704" rIns="91410" bIns="45704">
            <a:spAutoFit/>
          </a:bodyPr>
          <a:lstStyle/>
          <a:p>
            <a:pPr algn="ctr">
              <a:lnSpc>
                <a:spcPct val="90000"/>
              </a:lnSpc>
              <a:spcBef>
                <a:spcPct val="50000"/>
              </a:spcBef>
            </a:pPr>
            <a:r>
              <a:rPr lang="en-US" sz="1200" b="1" dirty="0"/>
              <a:t>CONSTRUCTION &amp; MINING EQUIPMENT</a:t>
            </a:r>
          </a:p>
        </p:txBody>
      </p:sp>
      <p:sp>
        <p:nvSpPr>
          <p:cNvPr id="29" name="Text Box 84"/>
          <p:cNvSpPr txBox="1">
            <a:spLocks noChangeArrowheads="1"/>
          </p:cNvSpPr>
          <p:nvPr/>
        </p:nvSpPr>
        <p:spPr bwMode="auto">
          <a:xfrm>
            <a:off x="199298" y="4608697"/>
            <a:ext cx="1888413" cy="424699"/>
          </a:xfrm>
          <a:prstGeom prst="rect">
            <a:avLst/>
          </a:prstGeom>
          <a:noFill/>
          <a:ln w="9525">
            <a:noFill/>
            <a:miter lim="800000"/>
            <a:headEnd/>
            <a:tailEnd/>
          </a:ln>
        </p:spPr>
        <p:txBody>
          <a:bodyPr wrap="square" lIns="91410" tIns="45704" rIns="91410" bIns="45704">
            <a:spAutoFit/>
          </a:bodyPr>
          <a:lstStyle/>
          <a:p>
            <a:pPr algn="ctr">
              <a:lnSpc>
                <a:spcPct val="90000"/>
              </a:lnSpc>
              <a:spcBef>
                <a:spcPct val="50000"/>
              </a:spcBef>
            </a:pPr>
            <a:r>
              <a:rPr lang="en-US" sz="1200" b="1" dirty="0"/>
              <a:t>AUTOMATION &amp; CONTROL SOLUTIONS</a:t>
            </a:r>
          </a:p>
        </p:txBody>
      </p:sp>
      <p:sp>
        <p:nvSpPr>
          <p:cNvPr id="30" name="Text Box 84"/>
          <p:cNvSpPr txBox="1">
            <a:spLocks noChangeArrowheads="1"/>
          </p:cNvSpPr>
          <p:nvPr/>
        </p:nvSpPr>
        <p:spPr bwMode="auto">
          <a:xfrm>
            <a:off x="7193788" y="4608070"/>
            <a:ext cx="1709636" cy="424699"/>
          </a:xfrm>
          <a:prstGeom prst="rect">
            <a:avLst/>
          </a:prstGeom>
          <a:noFill/>
          <a:ln w="9525">
            <a:noFill/>
            <a:miter lim="800000"/>
            <a:headEnd/>
            <a:tailEnd/>
          </a:ln>
        </p:spPr>
        <p:txBody>
          <a:bodyPr wrap="square" lIns="91410" tIns="45704" rIns="91410" bIns="45704">
            <a:spAutoFit/>
          </a:bodyPr>
          <a:lstStyle/>
          <a:p>
            <a:pPr algn="ctr">
              <a:lnSpc>
                <a:spcPct val="90000"/>
              </a:lnSpc>
              <a:spcBef>
                <a:spcPct val="50000"/>
              </a:spcBef>
            </a:pPr>
            <a:r>
              <a:rPr lang="en-US" sz="1200" b="1" dirty="0"/>
              <a:t>RAIL EQUIPMENT &amp; SHIPBUILDING</a:t>
            </a: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0818" y="3531697"/>
            <a:ext cx="1381784" cy="964480"/>
          </a:xfrm>
          <a:prstGeom prst="rect">
            <a:avLst/>
          </a:prstGeom>
          <a:ln w="76200" cap="sq">
            <a:solidFill>
              <a:schemeClr val="bg1">
                <a:lumMod val="85000"/>
              </a:schemeClr>
            </a:solidFill>
            <a:prstDash val="solid"/>
            <a:miter lim="800000"/>
          </a:ln>
          <a:effectLst/>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460" y="3519782"/>
            <a:ext cx="1450525" cy="976395"/>
          </a:xfrm>
          <a:prstGeom prst="rect">
            <a:avLst/>
          </a:prstGeom>
          <a:ln w="76200" cap="sq">
            <a:solidFill>
              <a:schemeClr val="bg1">
                <a:lumMod val="85000"/>
              </a:schemeClr>
            </a:solidFill>
            <a:prstDash val="solid"/>
            <a:miter lim="800000"/>
          </a:ln>
          <a:effectLst/>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16440" y="3537034"/>
            <a:ext cx="1385319" cy="967809"/>
          </a:xfrm>
          <a:prstGeom prst="rect">
            <a:avLst/>
          </a:prstGeom>
          <a:ln w="76200" cap="sq">
            <a:solidFill>
              <a:schemeClr val="bg1">
                <a:lumMod val="85000"/>
              </a:schemeClr>
            </a:solidFill>
            <a:prstDash val="solid"/>
            <a:miter lim="800000"/>
          </a:ln>
          <a:effectLst/>
        </p:spPr>
      </p:pic>
      <p:pic>
        <p:nvPicPr>
          <p:cNvPr id="36" name="Picture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71213" y="3519780"/>
            <a:ext cx="1380329" cy="965476"/>
          </a:xfrm>
          <a:prstGeom prst="rect">
            <a:avLst/>
          </a:prstGeom>
          <a:ln w="76200" cap="sq">
            <a:solidFill>
              <a:schemeClr val="bg1">
                <a:lumMod val="85000"/>
              </a:schemeClr>
            </a:solidFill>
            <a:prstDash val="solid"/>
            <a:miter lim="800000"/>
          </a:ln>
          <a:effectLst/>
        </p:spPr>
      </p:pic>
      <p:sp>
        <p:nvSpPr>
          <p:cNvPr id="25" name="Rectangle 9"/>
          <p:cNvSpPr>
            <a:spLocks noChangeArrowheads="1"/>
          </p:cNvSpPr>
          <p:nvPr/>
        </p:nvSpPr>
        <p:spPr bwMode="auto">
          <a:xfrm>
            <a:off x="5521223" y="4993145"/>
            <a:ext cx="1542104" cy="898525"/>
          </a:xfrm>
          <a:prstGeom prst="rect">
            <a:avLst/>
          </a:prstGeom>
          <a:noFill/>
          <a:ln w="25400">
            <a:noFill/>
            <a:miter lim="800000"/>
            <a:headEnd/>
            <a:tailEnd/>
          </a:ln>
        </p:spPr>
        <p:txBody>
          <a:bodyPr lIns="91410" tIns="45704" rIns="91410" bIns="45704"/>
          <a:lstStyle/>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Oil &amp; Gas Machinery</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Turbines and Generators</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Pumps and Pumping Equipment</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Air &amp; Gas Compressors</a:t>
            </a:r>
          </a:p>
          <a:p>
            <a:pPr marL="87284" indent="-87284">
              <a:spcBef>
                <a:spcPts val="300"/>
              </a:spcBef>
              <a:buClr>
                <a:schemeClr val="tx1">
                  <a:lumMod val="75000"/>
                  <a:lumOff val="25000"/>
                </a:schemeClr>
              </a:buClr>
              <a:buFont typeface="Wingdings" pitchFamily="2" charset="2"/>
              <a:buChar char="§"/>
              <a:defRPr/>
            </a:pPr>
            <a:r>
              <a:rPr lang="en-US" sz="1000" dirty="0">
                <a:solidFill>
                  <a:schemeClr val="tx1">
                    <a:lumMod val="65000"/>
                    <a:lumOff val="35000"/>
                  </a:schemeClr>
                </a:solidFill>
                <a:latin typeface="+mn-lt"/>
              </a:rPr>
              <a:t>Transformers</a:t>
            </a:r>
          </a:p>
        </p:txBody>
      </p:sp>
      <p:sp>
        <p:nvSpPr>
          <p:cNvPr id="26" name="Text Box 84"/>
          <p:cNvSpPr txBox="1">
            <a:spLocks noChangeArrowheads="1"/>
          </p:cNvSpPr>
          <p:nvPr/>
        </p:nvSpPr>
        <p:spPr bwMode="auto">
          <a:xfrm>
            <a:off x="5411385" y="4608697"/>
            <a:ext cx="1800000" cy="424699"/>
          </a:xfrm>
          <a:prstGeom prst="rect">
            <a:avLst/>
          </a:prstGeom>
          <a:noFill/>
          <a:ln w="9525">
            <a:noFill/>
            <a:miter lim="800000"/>
            <a:headEnd/>
            <a:tailEnd/>
          </a:ln>
        </p:spPr>
        <p:txBody>
          <a:bodyPr lIns="91410" tIns="45704" rIns="91410" bIns="45704">
            <a:spAutoFit/>
          </a:bodyPr>
          <a:lstStyle/>
          <a:p>
            <a:pPr algn="ctr">
              <a:lnSpc>
                <a:spcPct val="90000"/>
              </a:lnSpc>
              <a:spcBef>
                <a:spcPct val="50000"/>
              </a:spcBef>
            </a:pPr>
            <a:r>
              <a:rPr lang="en-US" sz="1200" b="1" dirty="0"/>
              <a:t>ENERGY &amp; POWER </a:t>
            </a:r>
            <a:br>
              <a:rPr lang="en-US" sz="1200" b="1" dirty="0"/>
            </a:br>
            <a:r>
              <a:rPr lang="en-US" sz="1200" b="1" dirty="0"/>
              <a:t>EQUIPMENT</a:t>
            </a:r>
          </a:p>
        </p:txBody>
      </p:sp>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45593" y="3527768"/>
            <a:ext cx="1381784" cy="976395"/>
          </a:xfrm>
          <a:prstGeom prst="rect">
            <a:avLst/>
          </a:prstGeom>
          <a:ln w="76200" cap="sq">
            <a:solidFill>
              <a:schemeClr val="bg1">
                <a:lumMod val="85000"/>
              </a:schemeClr>
            </a:solidFill>
            <a:prstDash val="solid"/>
            <a:miter lim="800000"/>
          </a:ln>
          <a:effectLst/>
        </p:spPr>
      </p:pic>
      <p:sp>
        <p:nvSpPr>
          <p:cNvPr id="31" name="Rectangle 30"/>
          <p:cNvSpPr/>
          <p:nvPr/>
        </p:nvSpPr>
        <p:spPr bwMode="gray">
          <a:xfrm>
            <a:off x="329186" y="1546963"/>
            <a:ext cx="4976586" cy="1696242"/>
          </a:xfrm>
          <a:prstGeom prst="rect">
            <a:avLst/>
          </a:prstGeom>
          <a:solidFill>
            <a:schemeClr val="tx1"/>
          </a:solidFill>
          <a:ln w="6350" algn="ctr">
            <a:no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endParaRPr lang="en-US" kern="0" dirty="0">
              <a:ea typeface="Arial Unicode MS" pitchFamily="34" charset="-128"/>
              <a:cs typeface="Arial Unicode MS" pitchFamily="34" charset="-128"/>
            </a:endParaRPr>
          </a:p>
        </p:txBody>
      </p:sp>
      <p:sp>
        <p:nvSpPr>
          <p:cNvPr id="37" name="Text Box 451"/>
          <p:cNvSpPr txBox="1">
            <a:spLocks noChangeArrowheads="1"/>
          </p:cNvSpPr>
          <p:nvPr/>
        </p:nvSpPr>
        <p:spPr bwMode="auto">
          <a:xfrm>
            <a:off x="496374" y="1776814"/>
            <a:ext cx="5115392" cy="1264033"/>
          </a:xfrm>
          <a:prstGeom prst="rect">
            <a:avLst/>
          </a:prstGeom>
          <a:noFill/>
          <a:ln w="12700" algn="ctr">
            <a:noFill/>
            <a:miter lim="800000"/>
            <a:headEnd/>
            <a:tailEnd/>
          </a:ln>
        </p:spPr>
        <p:txBody>
          <a:bodyPr wrap="square" lIns="89970" tIns="46784" rIns="89970" bIns="46784">
            <a:spAutoFit/>
          </a:bodyPr>
          <a:lstStyle/>
          <a:p>
            <a:pPr eaLnBrk="0" fontAlgn="base" hangingPunct="0">
              <a:spcBef>
                <a:spcPct val="100000"/>
              </a:spcBef>
              <a:spcAft>
                <a:spcPct val="0"/>
              </a:spcAft>
              <a:buClr>
                <a:srgbClr val="F0AB00"/>
              </a:buClr>
              <a:buSzPct val="80000"/>
            </a:pPr>
            <a:r>
              <a:rPr lang="en-US" sz="4400" dirty="0">
                <a:solidFill>
                  <a:schemeClr val="bg1"/>
                </a:solidFill>
              </a:rPr>
              <a:t>6.400+ </a:t>
            </a:r>
            <a:r>
              <a:rPr lang="en-US" sz="1600" dirty="0">
                <a:solidFill>
                  <a:schemeClr val="bg1"/>
                </a:solidFill>
              </a:rPr>
              <a:t>SAP Customers  in the </a:t>
            </a:r>
            <a:br>
              <a:rPr lang="en-US" sz="1600" dirty="0">
                <a:solidFill>
                  <a:schemeClr val="bg1"/>
                </a:solidFill>
              </a:rPr>
            </a:br>
            <a:r>
              <a:rPr lang="en-US" sz="1600" dirty="0">
                <a:solidFill>
                  <a:schemeClr val="bg1"/>
                </a:solidFill>
              </a:rPr>
              <a:t>Industrial Machinery &amp; Components industry</a:t>
            </a:r>
            <a:r>
              <a:rPr lang="en-US" b="1" dirty="0" smtClean="0">
                <a:solidFill>
                  <a:schemeClr val="bg1"/>
                </a:solidFill>
              </a:rPr>
              <a:t/>
            </a:r>
            <a:br>
              <a:rPr lang="en-US" b="1" dirty="0" smtClean="0">
                <a:solidFill>
                  <a:schemeClr val="bg1"/>
                </a:solidFill>
              </a:rPr>
            </a:br>
            <a:r>
              <a:rPr lang="en-US" sz="1600" dirty="0">
                <a:solidFill>
                  <a:schemeClr val="accent1"/>
                </a:solidFill>
              </a:rPr>
              <a:t>in every of the five industry segments</a:t>
            </a:r>
          </a:p>
        </p:txBody>
      </p:sp>
      <p:pic>
        <p:nvPicPr>
          <p:cNvPr id="38" name="Picture 3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803998" y="1308944"/>
            <a:ext cx="2823045" cy="1934263"/>
          </a:xfrm>
          <a:prstGeom prst="rect">
            <a:avLst/>
          </a:prstGeom>
        </p:spPr>
      </p:pic>
    </p:spTree>
    <p:extLst>
      <p:ext uri="{BB962C8B-B14F-4D97-AF65-F5344CB8AC3E}">
        <p14:creationId xmlns:p14="http://schemas.microsoft.com/office/powerpoint/2010/main" val="1173930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Freeform 2"/>
          <p:cNvSpPr>
            <a:spLocks/>
          </p:cNvSpPr>
          <p:nvPr/>
        </p:nvSpPr>
        <p:spPr bwMode="gray">
          <a:xfrm>
            <a:off x="4048125" y="3700077"/>
            <a:ext cx="3352800" cy="1809750"/>
          </a:xfrm>
          <a:custGeom>
            <a:avLst/>
            <a:gdLst>
              <a:gd name="T0" fmla="*/ 2147483647 w 2112"/>
              <a:gd name="T1" fmla="*/ 0 h 1140"/>
              <a:gd name="T2" fmla="*/ 2147483647 w 2112"/>
              <a:gd name="T3" fmla="*/ 0 h 1140"/>
              <a:gd name="T4" fmla="*/ 2147483647 w 2112"/>
              <a:gd name="T5" fmla="*/ 2147483647 h 1140"/>
              <a:gd name="T6" fmla="*/ 2147483647 w 2112"/>
              <a:gd name="T7" fmla="*/ 2147483647 h 1140"/>
              <a:gd name="T8" fmla="*/ 2147483647 w 2112"/>
              <a:gd name="T9" fmla="*/ 2147483647 h 1140"/>
              <a:gd name="T10" fmla="*/ 2147483647 w 2112"/>
              <a:gd name="T11" fmla="*/ 2147483647 h 1140"/>
              <a:gd name="T12" fmla="*/ 2147483647 w 2112"/>
              <a:gd name="T13" fmla="*/ 2147483647 h 1140"/>
              <a:gd name="T14" fmla="*/ 2147483647 w 2112"/>
              <a:gd name="T15" fmla="*/ 2147483647 h 1140"/>
              <a:gd name="T16" fmla="*/ 2147483647 w 2112"/>
              <a:gd name="T17" fmla="*/ 2147483647 h 1140"/>
              <a:gd name="T18" fmla="*/ 2147483647 w 2112"/>
              <a:gd name="T19" fmla="*/ 2147483647 h 1140"/>
              <a:gd name="T20" fmla="*/ 2147483647 w 2112"/>
              <a:gd name="T21" fmla="*/ 2147483647 h 1140"/>
              <a:gd name="T22" fmla="*/ 2147483647 w 2112"/>
              <a:gd name="T23" fmla="*/ 2147483647 h 1140"/>
              <a:gd name="T24" fmla="*/ 2147483647 w 2112"/>
              <a:gd name="T25" fmla="*/ 2147483647 h 1140"/>
              <a:gd name="T26" fmla="*/ 2147483647 w 2112"/>
              <a:gd name="T27" fmla="*/ 2147483647 h 1140"/>
              <a:gd name="T28" fmla="*/ 2147483647 w 2112"/>
              <a:gd name="T29" fmla="*/ 2147483647 h 1140"/>
              <a:gd name="T30" fmla="*/ 2147483647 w 2112"/>
              <a:gd name="T31" fmla="*/ 2147483647 h 1140"/>
              <a:gd name="T32" fmla="*/ 2147483647 w 2112"/>
              <a:gd name="T33" fmla="*/ 2147483647 h 1140"/>
              <a:gd name="T34" fmla="*/ 2147483647 w 2112"/>
              <a:gd name="T35" fmla="*/ 2147483647 h 1140"/>
              <a:gd name="T36" fmla="*/ 2147483647 w 2112"/>
              <a:gd name="T37" fmla="*/ 2147483647 h 1140"/>
              <a:gd name="T38" fmla="*/ 2147483647 w 2112"/>
              <a:gd name="T39" fmla="*/ 2147483647 h 1140"/>
              <a:gd name="T40" fmla="*/ 2147483647 w 2112"/>
              <a:gd name="T41" fmla="*/ 2147483647 h 1140"/>
              <a:gd name="T42" fmla="*/ 2147483647 w 2112"/>
              <a:gd name="T43" fmla="*/ 2147483647 h 1140"/>
              <a:gd name="T44" fmla="*/ 2147483647 w 2112"/>
              <a:gd name="T45" fmla="*/ 2147483647 h 1140"/>
              <a:gd name="T46" fmla="*/ 2147483647 w 2112"/>
              <a:gd name="T47" fmla="*/ 2147483647 h 1140"/>
              <a:gd name="T48" fmla="*/ 2147483647 w 2112"/>
              <a:gd name="T49" fmla="*/ 2147483647 h 1140"/>
              <a:gd name="T50" fmla="*/ 0 w 2112"/>
              <a:gd name="T51" fmla="*/ 2147483647 h 1140"/>
              <a:gd name="T52" fmla="*/ 2147483647 w 2112"/>
              <a:gd name="T53" fmla="*/ 2147483647 h 1140"/>
              <a:gd name="T54" fmla="*/ 2147483647 w 2112"/>
              <a:gd name="T55" fmla="*/ 0 h 11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12"/>
              <a:gd name="T85" fmla="*/ 0 h 1140"/>
              <a:gd name="T86" fmla="*/ 2112 w 2112"/>
              <a:gd name="T87" fmla="*/ 1140 h 114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12" h="1140">
                <a:moveTo>
                  <a:pt x="498" y="0"/>
                </a:moveTo>
                <a:lnTo>
                  <a:pt x="1518" y="0"/>
                </a:lnTo>
                <a:lnTo>
                  <a:pt x="1578" y="96"/>
                </a:lnTo>
                <a:lnTo>
                  <a:pt x="342" y="72"/>
                </a:lnTo>
                <a:lnTo>
                  <a:pt x="1302" y="330"/>
                </a:lnTo>
                <a:lnTo>
                  <a:pt x="1566" y="234"/>
                </a:lnTo>
                <a:lnTo>
                  <a:pt x="2100" y="222"/>
                </a:lnTo>
                <a:lnTo>
                  <a:pt x="2112" y="306"/>
                </a:lnTo>
                <a:lnTo>
                  <a:pt x="1428" y="318"/>
                </a:lnTo>
                <a:lnTo>
                  <a:pt x="1410" y="594"/>
                </a:lnTo>
                <a:lnTo>
                  <a:pt x="1866" y="774"/>
                </a:lnTo>
                <a:lnTo>
                  <a:pt x="1794" y="846"/>
                </a:lnTo>
                <a:lnTo>
                  <a:pt x="1332" y="660"/>
                </a:lnTo>
                <a:lnTo>
                  <a:pt x="1200" y="402"/>
                </a:lnTo>
                <a:lnTo>
                  <a:pt x="318" y="168"/>
                </a:lnTo>
                <a:lnTo>
                  <a:pt x="780" y="618"/>
                </a:lnTo>
                <a:lnTo>
                  <a:pt x="864" y="852"/>
                </a:lnTo>
                <a:lnTo>
                  <a:pt x="1068" y="1104"/>
                </a:lnTo>
                <a:lnTo>
                  <a:pt x="954" y="1140"/>
                </a:lnTo>
                <a:lnTo>
                  <a:pt x="750" y="876"/>
                </a:lnTo>
                <a:lnTo>
                  <a:pt x="666" y="654"/>
                </a:lnTo>
                <a:lnTo>
                  <a:pt x="222" y="228"/>
                </a:lnTo>
                <a:lnTo>
                  <a:pt x="114" y="156"/>
                </a:lnTo>
                <a:lnTo>
                  <a:pt x="246" y="720"/>
                </a:lnTo>
                <a:lnTo>
                  <a:pt x="162" y="942"/>
                </a:lnTo>
                <a:lnTo>
                  <a:pt x="0" y="132"/>
                </a:lnTo>
                <a:lnTo>
                  <a:pt x="156" y="30"/>
                </a:lnTo>
                <a:lnTo>
                  <a:pt x="498" y="0"/>
                </a:lnTo>
                <a:close/>
              </a:path>
            </a:pathLst>
          </a:custGeom>
          <a:solidFill>
            <a:srgbClr val="A7BCC5"/>
          </a:solidFill>
          <a:ln w="9525">
            <a:noFill/>
            <a:round/>
            <a:headEnd/>
            <a:tailEnd/>
          </a:ln>
        </p:spPr>
        <p:txBody>
          <a:bodyPr lIns="91254" tIns="45625" rIns="91254" bIns="45625"/>
          <a:lstStyle/>
          <a:p>
            <a:pPr defTabSz="912546"/>
            <a:endParaRPr>
              <a:solidFill>
                <a:srgbClr val="000000"/>
              </a:solidFill>
            </a:endParaRPr>
          </a:p>
        </p:txBody>
      </p:sp>
      <p:sp>
        <p:nvSpPr>
          <p:cNvPr id="264195" name="Freeform 3"/>
          <p:cNvSpPr>
            <a:spLocks/>
          </p:cNvSpPr>
          <p:nvPr/>
        </p:nvSpPr>
        <p:spPr bwMode="gray">
          <a:xfrm>
            <a:off x="1266837" y="2566590"/>
            <a:ext cx="2905125" cy="1333500"/>
          </a:xfrm>
          <a:custGeom>
            <a:avLst/>
            <a:gdLst>
              <a:gd name="T0" fmla="*/ 2147483647 w 1830"/>
              <a:gd name="T1" fmla="*/ 0 h 840"/>
              <a:gd name="T2" fmla="*/ 2147483647 w 1830"/>
              <a:gd name="T3" fmla="*/ 2147483647 h 840"/>
              <a:gd name="T4" fmla="*/ 2147483647 w 1830"/>
              <a:gd name="T5" fmla="*/ 2147483647 h 840"/>
              <a:gd name="T6" fmla="*/ 0 w 1830"/>
              <a:gd name="T7" fmla="*/ 2147483647 h 840"/>
              <a:gd name="T8" fmla="*/ 2147483647 w 1830"/>
              <a:gd name="T9" fmla="*/ 2147483647 h 840"/>
              <a:gd name="T10" fmla="*/ 2147483647 w 1830"/>
              <a:gd name="T11" fmla="*/ 2147483647 h 840"/>
              <a:gd name="T12" fmla="*/ 2147483647 w 1830"/>
              <a:gd name="T13" fmla="*/ 2147483647 h 840"/>
              <a:gd name="T14" fmla="*/ 2147483647 w 1830"/>
              <a:gd name="T15" fmla="*/ 2147483647 h 840"/>
              <a:gd name="T16" fmla="*/ 2147483647 w 1830"/>
              <a:gd name="T17" fmla="*/ 2147483647 h 840"/>
              <a:gd name="T18" fmla="*/ 2147483647 w 1830"/>
              <a:gd name="T19" fmla="*/ 2147483647 h 840"/>
              <a:gd name="T20" fmla="*/ 2147483647 w 1830"/>
              <a:gd name="T21" fmla="*/ 2147483647 h 840"/>
              <a:gd name="T22" fmla="*/ 2147483647 w 1830"/>
              <a:gd name="T23" fmla="*/ 2147483647 h 840"/>
              <a:gd name="T24" fmla="*/ 2147483647 w 1830"/>
              <a:gd name="T25" fmla="*/ 2147483647 h 840"/>
              <a:gd name="T26" fmla="*/ 2147483647 w 1830"/>
              <a:gd name="T27" fmla="*/ 2147483647 h 840"/>
              <a:gd name="T28" fmla="*/ 2147483647 w 1830"/>
              <a:gd name="T29" fmla="*/ 2147483647 h 840"/>
              <a:gd name="T30" fmla="*/ 2147483647 w 1830"/>
              <a:gd name="T31" fmla="*/ 0 h 8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30"/>
              <a:gd name="T49" fmla="*/ 0 h 840"/>
              <a:gd name="T50" fmla="*/ 1830 w 1830"/>
              <a:gd name="T51" fmla="*/ 840 h 8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30" h="840">
                <a:moveTo>
                  <a:pt x="1524" y="0"/>
                </a:moveTo>
                <a:lnTo>
                  <a:pt x="1830" y="726"/>
                </a:lnTo>
                <a:lnTo>
                  <a:pt x="1758" y="840"/>
                </a:lnTo>
                <a:lnTo>
                  <a:pt x="0" y="810"/>
                </a:lnTo>
                <a:lnTo>
                  <a:pt x="96" y="726"/>
                </a:lnTo>
                <a:lnTo>
                  <a:pt x="1314" y="744"/>
                </a:lnTo>
                <a:lnTo>
                  <a:pt x="1272" y="702"/>
                </a:lnTo>
                <a:lnTo>
                  <a:pt x="156" y="384"/>
                </a:lnTo>
                <a:lnTo>
                  <a:pt x="264" y="336"/>
                </a:lnTo>
                <a:lnTo>
                  <a:pt x="1368" y="636"/>
                </a:lnTo>
                <a:lnTo>
                  <a:pt x="1626" y="738"/>
                </a:lnTo>
                <a:lnTo>
                  <a:pt x="708" y="84"/>
                </a:lnTo>
                <a:lnTo>
                  <a:pt x="828" y="54"/>
                </a:lnTo>
                <a:lnTo>
                  <a:pt x="1680" y="666"/>
                </a:lnTo>
                <a:lnTo>
                  <a:pt x="1416" y="12"/>
                </a:lnTo>
                <a:lnTo>
                  <a:pt x="1524" y="0"/>
                </a:lnTo>
                <a:close/>
              </a:path>
            </a:pathLst>
          </a:custGeom>
          <a:solidFill>
            <a:srgbClr val="A7BCC5"/>
          </a:solidFill>
          <a:ln w="9525">
            <a:noFill/>
            <a:round/>
            <a:headEnd/>
            <a:tailEnd/>
          </a:ln>
        </p:spPr>
        <p:txBody>
          <a:bodyPr lIns="91254" tIns="45625" rIns="91254" bIns="45625"/>
          <a:lstStyle/>
          <a:p>
            <a:pPr defTabSz="912546"/>
            <a:endParaRPr>
              <a:solidFill>
                <a:srgbClr val="000000"/>
              </a:solidFill>
            </a:endParaRPr>
          </a:p>
        </p:txBody>
      </p:sp>
      <p:sp>
        <p:nvSpPr>
          <p:cNvPr id="441347" name="Rectangle 4"/>
          <p:cNvSpPr>
            <a:spLocks noGrp="1" noChangeArrowheads="1"/>
          </p:cNvSpPr>
          <p:nvPr>
            <p:ph type="title" idx="4294967295"/>
          </p:nvPr>
        </p:nvSpPr>
        <p:spPr bwMode="gray"/>
        <p:txBody>
          <a:bodyPr/>
          <a:lstStyle/>
          <a:p>
            <a:r>
              <a:rPr lang="en-US" dirty="0" smtClean="0">
                <a:solidFill>
                  <a:schemeClr val="tx1"/>
                </a:solidFill>
              </a:rPr>
              <a:t>The Next Generation Business Model</a:t>
            </a:r>
            <a:br>
              <a:rPr lang="en-US" dirty="0" smtClean="0">
                <a:solidFill>
                  <a:schemeClr val="tx1"/>
                </a:solidFill>
              </a:rPr>
            </a:br>
            <a:r>
              <a:rPr lang="en-US" dirty="0" smtClean="0">
                <a:solidFill>
                  <a:schemeClr val="tx1"/>
                </a:solidFill>
              </a:rPr>
              <a:t>Solution Provider Network </a:t>
            </a:r>
          </a:p>
        </p:txBody>
      </p:sp>
      <p:grpSp>
        <p:nvGrpSpPr>
          <p:cNvPr id="2" name="Group 5"/>
          <p:cNvGrpSpPr>
            <a:grpSpLocks/>
          </p:cNvGrpSpPr>
          <p:nvPr/>
        </p:nvGrpSpPr>
        <p:grpSpPr bwMode="gray">
          <a:xfrm>
            <a:off x="2895600" y="3360340"/>
            <a:ext cx="2514600" cy="1163638"/>
            <a:chOff x="1824" y="2036"/>
            <a:chExt cx="1584" cy="733"/>
          </a:xfrm>
        </p:grpSpPr>
        <p:grpSp>
          <p:nvGrpSpPr>
            <p:cNvPr id="3" name="Group 6"/>
            <p:cNvGrpSpPr>
              <a:grpSpLocks/>
            </p:cNvGrpSpPr>
            <p:nvPr/>
          </p:nvGrpSpPr>
          <p:grpSpPr bwMode="gray">
            <a:xfrm>
              <a:off x="1824" y="2036"/>
              <a:ext cx="1584" cy="733"/>
              <a:chOff x="2107" y="2248"/>
              <a:chExt cx="1020" cy="473"/>
            </a:xfrm>
          </p:grpSpPr>
          <p:sp>
            <p:nvSpPr>
              <p:cNvPr id="554000" name="Oval 7"/>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554001" name="Oval 8"/>
              <p:cNvSpPr>
                <a:spLocks noChangeArrowheads="1"/>
              </p:cNvSpPr>
              <p:nvPr/>
            </p:nvSpPr>
            <p:spPr bwMode="gray">
              <a:xfrm>
                <a:off x="2206" y="2276"/>
                <a:ext cx="794" cy="331"/>
              </a:xfrm>
              <a:prstGeom prst="ellipse">
                <a:avLst/>
              </a:prstGeom>
              <a:gradFill rotWithShape="1">
                <a:gsLst>
                  <a:gs pos="0">
                    <a:srgbClr val="816E2C"/>
                  </a:gs>
                  <a:gs pos="50000">
                    <a:srgbClr val="A79A6C"/>
                  </a:gs>
                  <a:gs pos="100000">
                    <a:srgbClr val="816E2C"/>
                  </a:gs>
                </a:gsLst>
                <a:lin ang="0" scaled="1"/>
              </a:gradFill>
              <a:ln w="9525">
                <a:noFill/>
                <a:round/>
                <a:headEnd/>
                <a:tailEnd/>
              </a:ln>
            </p:spPr>
            <p:txBody>
              <a:bodyPr wrap="none" anchor="ctr"/>
              <a:lstStyle/>
              <a:p>
                <a:pPr algn="ctr" defTabSz="912546"/>
                <a:endParaRPr>
                  <a:solidFill>
                    <a:srgbClr val="000000"/>
                  </a:solidFill>
                </a:endParaRPr>
              </a:p>
            </p:txBody>
          </p:sp>
          <p:sp>
            <p:nvSpPr>
              <p:cNvPr id="554002" name="Oval 9"/>
              <p:cNvSpPr>
                <a:spLocks noChangeArrowheads="1"/>
              </p:cNvSpPr>
              <p:nvPr/>
            </p:nvSpPr>
            <p:spPr bwMode="gray">
              <a:xfrm>
                <a:off x="2206" y="2248"/>
                <a:ext cx="794" cy="331"/>
              </a:xfrm>
              <a:prstGeom prst="ellipse">
                <a:avLst/>
              </a:prstGeom>
              <a:gradFill rotWithShape="1">
                <a:gsLst>
                  <a:gs pos="0">
                    <a:srgbClr val="94844B"/>
                  </a:gs>
                  <a:gs pos="50000">
                    <a:srgbClr val="D6D0BB"/>
                  </a:gs>
                  <a:gs pos="100000">
                    <a:srgbClr val="94844B"/>
                  </a:gs>
                </a:gsLst>
                <a:lin ang="18900000" scaled="1"/>
              </a:gradFill>
              <a:ln w="9525">
                <a:noFill/>
                <a:round/>
                <a:headEnd/>
                <a:tailEnd/>
              </a:ln>
            </p:spPr>
            <p:txBody>
              <a:bodyPr wrap="none" anchor="ctr"/>
              <a:lstStyle/>
              <a:p>
                <a:pPr algn="ctr" defTabSz="912546"/>
                <a:endParaRPr>
                  <a:solidFill>
                    <a:srgbClr val="000000"/>
                  </a:solidFill>
                </a:endParaRPr>
              </a:p>
            </p:txBody>
          </p:sp>
        </p:grpSp>
        <p:sp>
          <p:nvSpPr>
            <p:cNvPr id="553999" name="Text Box 10"/>
            <p:cNvSpPr txBox="1">
              <a:spLocks noChangeArrowheads="1"/>
            </p:cNvSpPr>
            <p:nvPr/>
          </p:nvSpPr>
          <p:spPr bwMode="gray">
            <a:xfrm>
              <a:off x="2079" y="2351"/>
              <a:ext cx="1002" cy="158"/>
            </a:xfrm>
            <a:prstGeom prst="rect">
              <a:avLst/>
            </a:prstGeom>
            <a:noFill/>
            <a:ln w="9525" algn="ctr">
              <a:noFill/>
              <a:miter lim="800000"/>
              <a:headEnd/>
              <a:tailEnd type="none" w="sm" len="lg"/>
            </a:ln>
          </p:spPr>
          <p:txBody>
            <a:bodyPr wrap="none" lIns="90000" tIns="46800" rIns="90000" bIns="46800">
              <a:spAutoFit/>
            </a:bodyPr>
            <a:lstStyle/>
            <a:p>
              <a:pPr marL="243971" indent="-243971" algn="ctr" defTabSz="912546">
                <a:lnSpc>
                  <a:spcPct val="85000"/>
                </a:lnSpc>
                <a:buClr>
                  <a:srgbClr val="F0AB00"/>
                </a:buClr>
                <a:buSzPct val="80000"/>
              </a:pPr>
              <a:r>
                <a:rPr lang="en-US" sz="1200" b="1" dirty="0">
                  <a:solidFill>
                    <a:srgbClr val="000000"/>
                  </a:solidFill>
                </a:rPr>
                <a:t>IM&amp;C Manufacturer</a:t>
              </a:r>
            </a:p>
          </p:txBody>
        </p:sp>
      </p:grpSp>
      <p:grpSp>
        <p:nvGrpSpPr>
          <p:cNvPr id="4" name="Group 11"/>
          <p:cNvGrpSpPr>
            <a:grpSpLocks/>
          </p:cNvGrpSpPr>
          <p:nvPr/>
        </p:nvGrpSpPr>
        <p:grpSpPr bwMode="gray">
          <a:xfrm>
            <a:off x="5410200" y="1864927"/>
            <a:ext cx="1600200" cy="930275"/>
            <a:chOff x="3744" y="1080"/>
            <a:chExt cx="1008" cy="586"/>
          </a:xfrm>
        </p:grpSpPr>
        <p:grpSp>
          <p:nvGrpSpPr>
            <p:cNvPr id="5" name="Group 12"/>
            <p:cNvGrpSpPr>
              <a:grpSpLocks/>
            </p:cNvGrpSpPr>
            <p:nvPr/>
          </p:nvGrpSpPr>
          <p:grpSpPr bwMode="gray">
            <a:xfrm>
              <a:off x="3744" y="1200"/>
              <a:ext cx="1008" cy="466"/>
              <a:chOff x="2107" y="2248"/>
              <a:chExt cx="1020" cy="473"/>
            </a:xfrm>
          </p:grpSpPr>
          <p:sp>
            <p:nvSpPr>
              <p:cNvPr id="553995" name="Oval 13"/>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553996" name="Oval 14"/>
              <p:cNvSpPr>
                <a:spLocks noChangeArrowheads="1"/>
              </p:cNvSpPr>
              <p:nvPr/>
            </p:nvSpPr>
            <p:spPr bwMode="gray">
              <a:xfrm>
                <a:off x="2206" y="2276"/>
                <a:ext cx="794" cy="331"/>
              </a:xfrm>
              <a:prstGeom prst="ellipse">
                <a:avLst/>
              </a:prstGeom>
              <a:gradFill rotWithShape="1">
                <a:gsLst>
                  <a:gs pos="0">
                    <a:srgbClr val="816E2C"/>
                  </a:gs>
                  <a:gs pos="50000">
                    <a:srgbClr val="A79A6C"/>
                  </a:gs>
                  <a:gs pos="100000">
                    <a:srgbClr val="816E2C"/>
                  </a:gs>
                </a:gsLst>
                <a:lin ang="0" scaled="1"/>
              </a:gradFill>
              <a:ln w="9525">
                <a:noFill/>
                <a:round/>
                <a:headEnd/>
                <a:tailEnd/>
              </a:ln>
            </p:spPr>
            <p:txBody>
              <a:bodyPr wrap="none" anchor="ctr"/>
              <a:lstStyle/>
              <a:p>
                <a:pPr algn="ctr" defTabSz="912546"/>
                <a:endParaRPr>
                  <a:solidFill>
                    <a:srgbClr val="000000"/>
                  </a:solidFill>
                </a:endParaRPr>
              </a:p>
            </p:txBody>
          </p:sp>
          <p:sp>
            <p:nvSpPr>
              <p:cNvPr id="553997" name="Oval 15"/>
              <p:cNvSpPr>
                <a:spLocks noChangeArrowheads="1"/>
              </p:cNvSpPr>
              <p:nvPr/>
            </p:nvSpPr>
            <p:spPr bwMode="gray">
              <a:xfrm>
                <a:off x="2206" y="2248"/>
                <a:ext cx="794" cy="331"/>
              </a:xfrm>
              <a:prstGeom prst="ellipse">
                <a:avLst/>
              </a:prstGeom>
              <a:gradFill rotWithShape="1">
                <a:gsLst>
                  <a:gs pos="0">
                    <a:srgbClr val="94844B"/>
                  </a:gs>
                  <a:gs pos="50000">
                    <a:srgbClr val="D6D0BB"/>
                  </a:gs>
                  <a:gs pos="100000">
                    <a:srgbClr val="94844B"/>
                  </a:gs>
                </a:gsLst>
                <a:lin ang="18900000" scaled="1"/>
              </a:gradFill>
              <a:ln w="9525">
                <a:noFill/>
                <a:round/>
                <a:headEnd/>
                <a:tailEnd/>
              </a:ln>
            </p:spPr>
            <p:txBody>
              <a:bodyPr wrap="none" anchor="ctr"/>
              <a:lstStyle/>
              <a:p>
                <a:pPr algn="ctr" defTabSz="912546"/>
                <a:endParaRPr>
                  <a:solidFill>
                    <a:srgbClr val="000000"/>
                  </a:solidFill>
                </a:endParaRPr>
              </a:p>
            </p:txBody>
          </p:sp>
        </p:grpSp>
        <p:grpSp>
          <p:nvGrpSpPr>
            <p:cNvPr id="6" name="Group 17"/>
            <p:cNvGrpSpPr>
              <a:grpSpLocks/>
            </p:cNvGrpSpPr>
            <p:nvPr/>
          </p:nvGrpSpPr>
          <p:grpSpPr bwMode="gray">
            <a:xfrm rot="-160483">
              <a:off x="3918" y="1080"/>
              <a:ext cx="667" cy="335"/>
              <a:chOff x="3552" y="1700"/>
              <a:chExt cx="1212" cy="553"/>
            </a:xfrm>
          </p:grpSpPr>
          <p:sp>
            <p:nvSpPr>
              <p:cNvPr id="442289" name="Freeform 18"/>
              <p:cNvSpPr>
                <a:spLocks/>
              </p:cNvSpPr>
              <p:nvPr/>
            </p:nvSpPr>
            <p:spPr bwMode="gray">
              <a:xfrm>
                <a:off x="3552" y="1986"/>
                <a:ext cx="1212" cy="264"/>
              </a:xfrm>
              <a:custGeom>
                <a:avLst/>
                <a:gdLst>
                  <a:gd name="T0" fmla="*/ 0 w 1212"/>
                  <a:gd name="T1" fmla="*/ 48 h 264"/>
                  <a:gd name="T2" fmla="*/ 324 w 1212"/>
                  <a:gd name="T3" fmla="*/ 264 h 264"/>
                  <a:gd name="T4" fmla="*/ 882 w 1212"/>
                  <a:gd name="T5" fmla="*/ 222 h 264"/>
                  <a:gd name="T6" fmla="*/ 936 w 1212"/>
                  <a:gd name="T7" fmla="*/ 246 h 264"/>
                  <a:gd name="T8" fmla="*/ 1212 w 1212"/>
                  <a:gd name="T9" fmla="*/ 216 h 264"/>
                  <a:gd name="T10" fmla="*/ 780 w 1212"/>
                  <a:gd name="T11" fmla="*/ 0 h 264"/>
                  <a:gd name="T12" fmla="*/ 0 w 1212"/>
                  <a:gd name="T13" fmla="*/ 48 h 264"/>
                  <a:gd name="T14" fmla="*/ 0 60000 65536"/>
                  <a:gd name="T15" fmla="*/ 0 60000 65536"/>
                  <a:gd name="T16" fmla="*/ 0 60000 65536"/>
                  <a:gd name="T17" fmla="*/ 0 60000 65536"/>
                  <a:gd name="T18" fmla="*/ 0 60000 65536"/>
                  <a:gd name="T19" fmla="*/ 0 60000 65536"/>
                  <a:gd name="T20" fmla="*/ 0 60000 65536"/>
                  <a:gd name="T21" fmla="*/ 0 w 1212"/>
                  <a:gd name="T22" fmla="*/ 0 h 264"/>
                  <a:gd name="T23" fmla="*/ 1212 w 1212"/>
                  <a:gd name="T24" fmla="*/ 264 h 2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2" h="264">
                    <a:moveTo>
                      <a:pt x="0" y="48"/>
                    </a:moveTo>
                    <a:lnTo>
                      <a:pt x="324" y="264"/>
                    </a:lnTo>
                    <a:lnTo>
                      <a:pt x="882" y="222"/>
                    </a:lnTo>
                    <a:cubicBezTo>
                      <a:pt x="944" y="247"/>
                      <a:pt x="964" y="246"/>
                      <a:pt x="936" y="246"/>
                    </a:cubicBezTo>
                    <a:lnTo>
                      <a:pt x="1212" y="216"/>
                    </a:lnTo>
                    <a:lnTo>
                      <a:pt x="780" y="0"/>
                    </a:lnTo>
                    <a:lnTo>
                      <a:pt x="0" y="48"/>
                    </a:lnTo>
                    <a:close/>
                  </a:path>
                </a:pathLst>
              </a:custGeom>
              <a:solidFill>
                <a:srgbClr val="6E6E6E">
                  <a:alpha val="20000"/>
                </a:srgbClr>
              </a:solidFill>
              <a:ln w="9525">
                <a:noFill/>
                <a:round/>
                <a:headEnd/>
                <a:tailEnd/>
              </a:ln>
            </p:spPr>
            <p:txBody>
              <a:bodyPr/>
              <a:lstStyle/>
              <a:p>
                <a:pPr defTabSz="912546"/>
                <a:endParaRPr>
                  <a:solidFill>
                    <a:srgbClr val="000000"/>
                  </a:solidFill>
                </a:endParaRPr>
              </a:p>
            </p:txBody>
          </p:sp>
          <p:grpSp>
            <p:nvGrpSpPr>
              <p:cNvPr id="7" name="Group 19"/>
              <p:cNvGrpSpPr>
                <a:grpSpLocks/>
              </p:cNvGrpSpPr>
              <p:nvPr/>
            </p:nvGrpSpPr>
            <p:grpSpPr bwMode="gray">
              <a:xfrm>
                <a:off x="3600" y="1700"/>
                <a:ext cx="1090" cy="518"/>
                <a:chOff x="3600" y="1700"/>
                <a:chExt cx="1090" cy="518"/>
              </a:xfrm>
            </p:grpSpPr>
            <p:sp>
              <p:nvSpPr>
                <p:cNvPr id="442333" name="Freeform 20"/>
                <p:cNvSpPr>
                  <a:spLocks/>
                </p:cNvSpPr>
                <p:nvPr/>
              </p:nvSpPr>
              <p:spPr bwMode="gray">
                <a:xfrm>
                  <a:off x="3600" y="1864"/>
                  <a:ext cx="1042" cy="352"/>
                </a:xfrm>
                <a:custGeom>
                  <a:avLst/>
                  <a:gdLst>
                    <a:gd name="T0" fmla="*/ 3 w 1042"/>
                    <a:gd name="T1" fmla="*/ 175 h 352"/>
                    <a:gd name="T2" fmla="*/ 312 w 1042"/>
                    <a:gd name="T3" fmla="*/ 352 h 352"/>
                    <a:gd name="T4" fmla="*/ 1026 w 1042"/>
                    <a:gd name="T5" fmla="*/ 298 h 352"/>
                    <a:gd name="T6" fmla="*/ 1042 w 1042"/>
                    <a:gd name="T7" fmla="*/ 140 h 352"/>
                    <a:gd name="T8" fmla="*/ 694 w 1042"/>
                    <a:gd name="T9" fmla="*/ 0 h 352"/>
                    <a:gd name="T10" fmla="*/ 0 w 1042"/>
                    <a:gd name="T11" fmla="*/ 26 h 352"/>
                    <a:gd name="T12" fmla="*/ 3 w 1042"/>
                    <a:gd name="T13" fmla="*/ 175 h 352"/>
                    <a:gd name="T14" fmla="*/ 0 60000 65536"/>
                    <a:gd name="T15" fmla="*/ 0 60000 65536"/>
                    <a:gd name="T16" fmla="*/ 0 60000 65536"/>
                    <a:gd name="T17" fmla="*/ 0 60000 65536"/>
                    <a:gd name="T18" fmla="*/ 0 60000 65536"/>
                    <a:gd name="T19" fmla="*/ 0 60000 65536"/>
                    <a:gd name="T20" fmla="*/ 0 60000 65536"/>
                    <a:gd name="T21" fmla="*/ 0 w 1042"/>
                    <a:gd name="T22" fmla="*/ 0 h 352"/>
                    <a:gd name="T23" fmla="*/ 1042 w 1042"/>
                    <a:gd name="T24" fmla="*/ 352 h 3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2" h="352">
                      <a:moveTo>
                        <a:pt x="3" y="175"/>
                      </a:moveTo>
                      <a:lnTo>
                        <a:pt x="312" y="352"/>
                      </a:lnTo>
                      <a:lnTo>
                        <a:pt x="1026" y="298"/>
                      </a:lnTo>
                      <a:lnTo>
                        <a:pt x="1042" y="140"/>
                      </a:lnTo>
                      <a:lnTo>
                        <a:pt x="694" y="0"/>
                      </a:lnTo>
                      <a:lnTo>
                        <a:pt x="0" y="26"/>
                      </a:lnTo>
                      <a:lnTo>
                        <a:pt x="3" y="175"/>
                      </a:lnTo>
                      <a:close/>
                    </a:path>
                  </a:pathLst>
                </a:custGeom>
                <a:gradFill rotWithShape="1">
                  <a:gsLst>
                    <a:gs pos="0">
                      <a:srgbClr val="87ABB3"/>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442334" name="Freeform 21"/>
                <p:cNvSpPr>
                  <a:spLocks/>
                </p:cNvSpPr>
                <p:nvPr/>
              </p:nvSpPr>
              <p:spPr bwMode="gray">
                <a:xfrm>
                  <a:off x="3602" y="1892"/>
                  <a:ext cx="318" cy="326"/>
                </a:xfrm>
                <a:custGeom>
                  <a:avLst/>
                  <a:gdLst>
                    <a:gd name="T0" fmla="*/ 1 w 318"/>
                    <a:gd name="T1" fmla="*/ 147 h 326"/>
                    <a:gd name="T2" fmla="*/ 310 w 318"/>
                    <a:gd name="T3" fmla="*/ 326 h 326"/>
                    <a:gd name="T4" fmla="*/ 318 w 318"/>
                    <a:gd name="T5" fmla="*/ 140 h 326"/>
                    <a:gd name="T6" fmla="*/ 0 w 318"/>
                    <a:gd name="T7" fmla="*/ 0 h 326"/>
                    <a:gd name="T8" fmla="*/ 1 w 318"/>
                    <a:gd name="T9" fmla="*/ 147 h 326"/>
                    <a:gd name="T10" fmla="*/ 0 60000 65536"/>
                    <a:gd name="T11" fmla="*/ 0 60000 65536"/>
                    <a:gd name="T12" fmla="*/ 0 60000 65536"/>
                    <a:gd name="T13" fmla="*/ 0 60000 65536"/>
                    <a:gd name="T14" fmla="*/ 0 60000 65536"/>
                    <a:gd name="T15" fmla="*/ 0 w 318"/>
                    <a:gd name="T16" fmla="*/ 0 h 326"/>
                    <a:gd name="T17" fmla="*/ 318 w 318"/>
                    <a:gd name="T18" fmla="*/ 326 h 326"/>
                  </a:gdLst>
                  <a:ahLst/>
                  <a:cxnLst>
                    <a:cxn ang="T10">
                      <a:pos x="T0" y="T1"/>
                    </a:cxn>
                    <a:cxn ang="T11">
                      <a:pos x="T2" y="T3"/>
                    </a:cxn>
                    <a:cxn ang="T12">
                      <a:pos x="T4" y="T5"/>
                    </a:cxn>
                    <a:cxn ang="T13">
                      <a:pos x="T6" y="T7"/>
                    </a:cxn>
                    <a:cxn ang="T14">
                      <a:pos x="T8" y="T9"/>
                    </a:cxn>
                  </a:cxnLst>
                  <a:rect l="T15" t="T16" r="T17" b="T18"/>
                  <a:pathLst>
                    <a:path w="318" h="326">
                      <a:moveTo>
                        <a:pt x="1" y="147"/>
                      </a:moveTo>
                      <a:lnTo>
                        <a:pt x="310" y="326"/>
                      </a:lnTo>
                      <a:lnTo>
                        <a:pt x="318" y="140"/>
                      </a:lnTo>
                      <a:lnTo>
                        <a:pt x="0" y="0"/>
                      </a:lnTo>
                      <a:lnTo>
                        <a:pt x="1" y="147"/>
                      </a:lnTo>
                      <a:close/>
                    </a:path>
                  </a:pathLst>
                </a:custGeom>
                <a:gradFill rotWithShape="1">
                  <a:gsLst>
                    <a:gs pos="0">
                      <a:srgbClr val="8ABAC5"/>
                    </a:gs>
                    <a:gs pos="100000">
                      <a:srgbClr val="74ADBA"/>
                    </a:gs>
                  </a:gsLst>
                  <a:lin ang="5400000" scaled="1"/>
                </a:gradFill>
                <a:ln w="9525">
                  <a:noFill/>
                  <a:round/>
                  <a:headEnd/>
                  <a:tailEnd/>
                </a:ln>
              </p:spPr>
              <p:txBody>
                <a:bodyPr/>
                <a:lstStyle/>
                <a:p>
                  <a:pPr defTabSz="912546"/>
                  <a:endParaRPr>
                    <a:solidFill>
                      <a:srgbClr val="000000"/>
                    </a:solidFill>
                  </a:endParaRPr>
                </a:p>
              </p:txBody>
            </p:sp>
            <p:sp>
              <p:nvSpPr>
                <p:cNvPr id="264214" name="Freeform 22"/>
                <p:cNvSpPr>
                  <a:spLocks/>
                </p:cNvSpPr>
                <p:nvPr/>
              </p:nvSpPr>
              <p:spPr bwMode="gray">
                <a:xfrm>
                  <a:off x="3571" y="1846"/>
                  <a:ext cx="1045" cy="172"/>
                </a:xfrm>
                <a:custGeom>
                  <a:avLst/>
                  <a:gdLst/>
                  <a:ahLst/>
                  <a:cxnLst>
                    <a:cxn ang="0">
                      <a:pos x="318" y="172"/>
                    </a:cxn>
                    <a:cxn ang="0">
                      <a:pos x="1042" y="142"/>
                    </a:cxn>
                    <a:cxn ang="0">
                      <a:pos x="692" y="0"/>
                    </a:cxn>
                    <a:cxn ang="0">
                      <a:pos x="0" y="26"/>
                    </a:cxn>
                    <a:cxn ang="0">
                      <a:pos x="318" y="172"/>
                    </a:cxn>
                  </a:cxnLst>
                  <a:rect l="0" t="0" r="r" b="b"/>
                  <a:pathLst>
                    <a:path w="1042" h="172">
                      <a:moveTo>
                        <a:pt x="318" y="172"/>
                      </a:moveTo>
                      <a:lnTo>
                        <a:pt x="1042" y="142"/>
                      </a:lnTo>
                      <a:lnTo>
                        <a:pt x="692" y="0"/>
                      </a:lnTo>
                      <a:lnTo>
                        <a:pt x="0" y="26"/>
                      </a:lnTo>
                      <a:lnTo>
                        <a:pt x="318" y="172"/>
                      </a:lnTo>
                      <a:close/>
                    </a:path>
                  </a:pathLst>
                </a:custGeom>
                <a:gradFill rotWithShape="1">
                  <a:gsLst>
                    <a:gs pos="0">
                      <a:schemeClr val="bg2"/>
                    </a:gs>
                    <a:gs pos="100000">
                      <a:schemeClr val="bg2">
                        <a:gamma/>
                        <a:shade val="66275"/>
                        <a:invGamma/>
                      </a:schemeClr>
                    </a:gs>
                  </a:gsLst>
                  <a:lin ang="2700000" scaled="1"/>
                </a:gradFill>
                <a:ln w="9525">
                  <a:noFill/>
                  <a:round/>
                  <a:headEnd/>
                  <a:tailEnd/>
                </a:ln>
                <a:effectLst/>
              </p:spPr>
              <p:txBody>
                <a:bodyPr/>
                <a:lstStyle/>
                <a:p>
                  <a:pPr defTabSz="912546">
                    <a:defRPr/>
                  </a:pPr>
                  <a:endParaRPr lang="en-US" dirty="0">
                    <a:solidFill>
                      <a:srgbClr val="000000"/>
                    </a:solidFill>
                  </a:endParaRPr>
                </a:p>
              </p:txBody>
            </p:sp>
            <p:sp>
              <p:nvSpPr>
                <p:cNvPr id="442336" name="Freeform 23"/>
                <p:cNvSpPr>
                  <a:spLocks/>
                </p:cNvSpPr>
                <p:nvPr/>
              </p:nvSpPr>
              <p:spPr bwMode="gray">
                <a:xfrm>
                  <a:off x="3632" y="1870"/>
                  <a:ext cx="968" cy="154"/>
                </a:xfrm>
                <a:custGeom>
                  <a:avLst/>
                  <a:gdLst>
                    <a:gd name="T0" fmla="*/ 290 w 968"/>
                    <a:gd name="T1" fmla="*/ 154 h 154"/>
                    <a:gd name="T2" fmla="*/ 968 w 968"/>
                    <a:gd name="T3" fmla="*/ 126 h 154"/>
                    <a:gd name="T4" fmla="*/ 656 w 968"/>
                    <a:gd name="T5" fmla="*/ 0 h 154"/>
                    <a:gd name="T6" fmla="*/ 0 w 968"/>
                    <a:gd name="T7" fmla="*/ 22 h 154"/>
                    <a:gd name="T8" fmla="*/ 290 w 968"/>
                    <a:gd name="T9" fmla="*/ 154 h 154"/>
                    <a:gd name="T10" fmla="*/ 0 60000 65536"/>
                    <a:gd name="T11" fmla="*/ 0 60000 65536"/>
                    <a:gd name="T12" fmla="*/ 0 60000 65536"/>
                    <a:gd name="T13" fmla="*/ 0 60000 65536"/>
                    <a:gd name="T14" fmla="*/ 0 60000 65536"/>
                    <a:gd name="T15" fmla="*/ 0 w 968"/>
                    <a:gd name="T16" fmla="*/ 0 h 154"/>
                    <a:gd name="T17" fmla="*/ 968 w 968"/>
                    <a:gd name="T18" fmla="*/ 154 h 154"/>
                  </a:gdLst>
                  <a:ahLst/>
                  <a:cxnLst>
                    <a:cxn ang="T10">
                      <a:pos x="T0" y="T1"/>
                    </a:cxn>
                    <a:cxn ang="T11">
                      <a:pos x="T2" y="T3"/>
                    </a:cxn>
                    <a:cxn ang="T12">
                      <a:pos x="T4" y="T5"/>
                    </a:cxn>
                    <a:cxn ang="T13">
                      <a:pos x="T6" y="T7"/>
                    </a:cxn>
                    <a:cxn ang="T14">
                      <a:pos x="T8" y="T9"/>
                    </a:cxn>
                  </a:cxnLst>
                  <a:rect l="T15" t="T16" r="T17" b="T18"/>
                  <a:pathLst>
                    <a:path w="968" h="154">
                      <a:moveTo>
                        <a:pt x="290" y="154"/>
                      </a:moveTo>
                      <a:lnTo>
                        <a:pt x="968" y="126"/>
                      </a:lnTo>
                      <a:lnTo>
                        <a:pt x="656" y="0"/>
                      </a:lnTo>
                      <a:lnTo>
                        <a:pt x="0" y="22"/>
                      </a:lnTo>
                      <a:lnTo>
                        <a:pt x="290" y="154"/>
                      </a:lnTo>
                      <a:close/>
                    </a:path>
                  </a:pathLst>
                </a:custGeom>
                <a:gradFill rotWithShape="1">
                  <a:gsLst>
                    <a:gs pos="0">
                      <a:srgbClr val="969696"/>
                    </a:gs>
                    <a:gs pos="100000">
                      <a:srgbClr val="727272"/>
                    </a:gs>
                  </a:gsLst>
                  <a:lin ang="2700000" scaled="1"/>
                </a:gradFill>
                <a:ln w="9525">
                  <a:noFill/>
                  <a:round/>
                  <a:headEnd/>
                  <a:tailEnd/>
                </a:ln>
              </p:spPr>
              <p:txBody>
                <a:bodyPr/>
                <a:lstStyle/>
                <a:p>
                  <a:pPr defTabSz="912546"/>
                  <a:endParaRPr>
                    <a:solidFill>
                      <a:srgbClr val="000000"/>
                    </a:solidFill>
                  </a:endParaRPr>
                </a:p>
              </p:txBody>
            </p:sp>
            <p:sp>
              <p:nvSpPr>
                <p:cNvPr id="442337" name="Freeform 24"/>
                <p:cNvSpPr>
                  <a:spLocks/>
                </p:cNvSpPr>
                <p:nvPr/>
              </p:nvSpPr>
              <p:spPr bwMode="gray">
                <a:xfrm>
                  <a:off x="3688" y="1791"/>
                  <a:ext cx="122" cy="369"/>
                </a:xfrm>
                <a:custGeom>
                  <a:avLst/>
                  <a:gdLst>
                    <a:gd name="T0" fmla="*/ 0 w 122"/>
                    <a:gd name="T1" fmla="*/ 11 h 369"/>
                    <a:gd name="T2" fmla="*/ 64 w 122"/>
                    <a:gd name="T3" fmla="*/ 0 h 369"/>
                    <a:gd name="T4" fmla="*/ 122 w 122"/>
                    <a:gd name="T5" fmla="*/ 59 h 369"/>
                    <a:gd name="T6" fmla="*/ 118 w 122"/>
                    <a:gd name="T7" fmla="*/ 181 h 369"/>
                    <a:gd name="T8" fmla="*/ 112 w 122"/>
                    <a:gd name="T9" fmla="*/ 369 h 369"/>
                    <a:gd name="T10" fmla="*/ 2 w 122"/>
                    <a:gd name="T11" fmla="*/ 303 h 369"/>
                    <a:gd name="T12" fmla="*/ 0 w 122"/>
                    <a:gd name="T13" fmla="*/ 11 h 369"/>
                    <a:gd name="T14" fmla="*/ 0 60000 65536"/>
                    <a:gd name="T15" fmla="*/ 0 60000 65536"/>
                    <a:gd name="T16" fmla="*/ 0 60000 65536"/>
                    <a:gd name="T17" fmla="*/ 0 60000 65536"/>
                    <a:gd name="T18" fmla="*/ 0 60000 65536"/>
                    <a:gd name="T19" fmla="*/ 0 60000 65536"/>
                    <a:gd name="T20" fmla="*/ 0 60000 65536"/>
                    <a:gd name="T21" fmla="*/ 0 w 122"/>
                    <a:gd name="T22" fmla="*/ 0 h 369"/>
                    <a:gd name="T23" fmla="*/ 122 w 122"/>
                    <a:gd name="T24" fmla="*/ 369 h 3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2" h="369">
                      <a:moveTo>
                        <a:pt x="0" y="11"/>
                      </a:moveTo>
                      <a:lnTo>
                        <a:pt x="64" y="0"/>
                      </a:lnTo>
                      <a:lnTo>
                        <a:pt x="122" y="59"/>
                      </a:lnTo>
                      <a:lnTo>
                        <a:pt x="118" y="181"/>
                      </a:lnTo>
                      <a:lnTo>
                        <a:pt x="112" y="369"/>
                      </a:lnTo>
                      <a:lnTo>
                        <a:pt x="2" y="303"/>
                      </a:lnTo>
                      <a:lnTo>
                        <a:pt x="0" y="11"/>
                      </a:lnTo>
                      <a:close/>
                    </a:path>
                  </a:pathLst>
                </a:custGeom>
                <a:solidFill>
                  <a:srgbClr val="74ADBA"/>
                </a:solidFill>
                <a:ln w="9525">
                  <a:noFill/>
                  <a:round/>
                  <a:headEnd/>
                  <a:tailEnd/>
                </a:ln>
              </p:spPr>
              <p:txBody>
                <a:bodyPr/>
                <a:lstStyle/>
                <a:p>
                  <a:pPr defTabSz="912546"/>
                  <a:endParaRPr>
                    <a:solidFill>
                      <a:srgbClr val="000000"/>
                    </a:solidFill>
                  </a:endParaRPr>
                </a:p>
              </p:txBody>
            </p:sp>
            <p:sp>
              <p:nvSpPr>
                <p:cNvPr id="442338" name="Freeform 25"/>
                <p:cNvSpPr>
                  <a:spLocks/>
                </p:cNvSpPr>
                <p:nvPr/>
              </p:nvSpPr>
              <p:spPr bwMode="gray">
                <a:xfrm>
                  <a:off x="3806" y="1836"/>
                  <a:ext cx="180" cy="144"/>
                </a:xfrm>
                <a:custGeom>
                  <a:avLst/>
                  <a:gdLst>
                    <a:gd name="T0" fmla="*/ 26 w 180"/>
                    <a:gd name="T1" fmla="*/ 144 h 144"/>
                    <a:gd name="T2" fmla="*/ 178 w 180"/>
                    <a:gd name="T3" fmla="*/ 138 h 144"/>
                    <a:gd name="T4" fmla="*/ 180 w 180"/>
                    <a:gd name="T5" fmla="*/ 0 h 144"/>
                    <a:gd name="T6" fmla="*/ 2 w 180"/>
                    <a:gd name="T7" fmla="*/ 10 h 144"/>
                    <a:gd name="T8" fmla="*/ 0 w 180"/>
                    <a:gd name="T9" fmla="*/ 142 h 144"/>
                    <a:gd name="T10" fmla="*/ 14 w 180"/>
                    <a:gd name="T11" fmla="*/ 142 h 144"/>
                    <a:gd name="T12" fmla="*/ 26 w 180"/>
                    <a:gd name="T13" fmla="*/ 144 h 144"/>
                    <a:gd name="T14" fmla="*/ 0 60000 65536"/>
                    <a:gd name="T15" fmla="*/ 0 60000 65536"/>
                    <a:gd name="T16" fmla="*/ 0 60000 65536"/>
                    <a:gd name="T17" fmla="*/ 0 60000 65536"/>
                    <a:gd name="T18" fmla="*/ 0 60000 65536"/>
                    <a:gd name="T19" fmla="*/ 0 60000 65536"/>
                    <a:gd name="T20" fmla="*/ 0 60000 65536"/>
                    <a:gd name="T21" fmla="*/ 0 w 180"/>
                    <a:gd name="T22" fmla="*/ 0 h 144"/>
                    <a:gd name="T23" fmla="*/ 180 w 180"/>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0" h="144">
                      <a:moveTo>
                        <a:pt x="26" y="144"/>
                      </a:moveTo>
                      <a:lnTo>
                        <a:pt x="178" y="138"/>
                      </a:lnTo>
                      <a:lnTo>
                        <a:pt x="180" y="0"/>
                      </a:lnTo>
                      <a:lnTo>
                        <a:pt x="2" y="10"/>
                      </a:lnTo>
                      <a:lnTo>
                        <a:pt x="0" y="142"/>
                      </a:lnTo>
                      <a:lnTo>
                        <a:pt x="14" y="142"/>
                      </a:lnTo>
                      <a:lnTo>
                        <a:pt x="26" y="144"/>
                      </a:lnTo>
                      <a:close/>
                    </a:path>
                  </a:pathLst>
                </a:custGeom>
                <a:gradFill rotWithShape="1">
                  <a:gsLst>
                    <a:gs pos="0">
                      <a:srgbClr val="749DA7"/>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264218" name="Freeform 26"/>
                <p:cNvSpPr>
                  <a:spLocks/>
                </p:cNvSpPr>
                <p:nvPr/>
              </p:nvSpPr>
              <p:spPr bwMode="gray">
                <a:xfrm>
                  <a:off x="3642" y="1767"/>
                  <a:ext cx="329" cy="69"/>
                </a:xfrm>
                <a:custGeom>
                  <a:avLst/>
                  <a:gdLst/>
                  <a:ahLst/>
                  <a:cxnLst>
                    <a:cxn ang="0">
                      <a:pos x="2" y="24"/>
                    </a:cxn>
                    <a:cxn ang="0">
                      <a:pos x="68" y="12"/>
                    </a:cxn>
                    <a:cxn ang="0">
                      <a:pos x="134" y="70"/>
                    </a:cxn>
                    <a:cxn ang="0">
                      <a:pos x="330" y="62"/>
                    </a:cxn>
                    <a:cxn ang="0">
                      <a:pos x="242" y="0"/>
                    </a:cxn>
                    <a:cxn ang="0">
                      <a:pos x="68" y="4"/>
                    </a:cxn>
                    <a:cxn ang="0">
                      <a:pos x="0" y="18"/>
                    </a:cxn>
                    <a:cxn ang="0">
                      <a:pos x="2" y="24"/>
                    </a:cxn>
                  </a:cxnLst>
                  <a:rect l="0" t="0" r="r" b="b"/>
                  <a:pathLst>
                    <a:path w="330" h="70">
                      <a:moveTo>
                        <a:pt x="2" y="24"/>
                      </a:moveTo>
                      <a:lnTo>
                        <a:pt x="68" y="12"/>
                      </a:lnTo>
                      <a:lnTo>
                        <a:pt x="134" y="70"/>
                      </a:lnTo>
                      <a:lnTo>
                        <a:pt x="330" y="62"/>
                      </a:lnTo>
                      <a:lnTo>
                        <a:pt x="242" y="0"/>
                      </a:lnTo>
                      <a:lnTo>
                        <a:pt x="68" y="4"/>
                      </a:lnTo>
                      <a:lnTo>
                        <a:pt x="0" y="18"/>
                      </a:lnTo>
                      <a:lnTo>
                        <a:pt x="2" y="24"/>
                      </a:lnTo>
                      <a:close/>
                    </a:path>
                  </a:pathLst>
                </a:custGeom>
                <a:gradFill rotWithShape="1">
                  <a:gsLst>
                    <a:gs pos="0">
                      <a:schemeClr val="bg2"/>
                    </a:gs>
                    <a:gs pos="100000">
                      <a:schemeClr val="bg2">
                        <a:gamma/>
                        <a:shade val="82353"/>
                        <a:invGamma/>
                      </a:schemeClr>
                    </a:gs>
                  </a:gsLst>
                  <a:lin ang="5400000" scaled="1"/>
                </a:gradFill>
                <a:ln w="9525">
                  <a:noFill/>
                  <a:round/>
                  <a:headEnd/>
                  <a:tailEnd/>
                </a:ln>
                <a:effectLst/>
              </p:spPr>
              <p:txBody>
                <a:bodyPr/>
                <a:lstStyle/>
                <a:p>
                  <a:pPr defTabSz="912546">
                    <a:defRPr/>
                  </a:pPr>
                  <a:endParaRPr lang="en-US" dirty="0">
                    <a:solidFill>
                      <a:srgbClr val="000000"/>
                    </a:solidFill>
                  </a:endParaRPr>
                </a:p>
              </p:txBody>
            </p:sp>
            <p:sp>
              <p:nvSpPr>
                <p:cNvPr id="442340" name="Freeform 27"/>
                <p:cNvSpPr>
                  <a:spLocks/>
                </p:cNvSpPr>
                <p:nvPr/>
              </p:nvSpPr>
              <p:spPr bwMode="gray">
                <a:xfrm>
                  <a:off x="3770" y="1702"/>
                  <a:ext cx="25" cy="84"/>
                </a:xfrm>
                <a:custGeom>
                  <a:avLst/>
                  <a:gdLst>
                    <a:gd name="T0" fmla="*/ 0 w 25"/>
                    <a:gd name="T1" fmla="*/ 4 h 84"/>
                    <a:gd name="T2" fmla="*/ 2 w 25"/>
                    <a:gd name="T3" fmla="*/ 22 h 84"/>
                    <a:gd name="T4" fmla="*/ 2 w 25"/>
                    <a:gd name="T5" fmla="*/ 84 h 84"/>
                    <a:gd name="T6" fmla="*/ 24 w 25"/>
                    <a:gd name="T7" fmla="*/ 84 h 84"/>
                    <a:gd name="T8" fmla="*/ 22 w 25"/>
                    <a:gd name="T9" fmla="*/ 6 h 84"/>
                    <a:gd name="T10" fmla="*/ 0 w 25"/>
                    <a:gd name="T11" fmla="*/ 4 h 84"/>
                    <a:gd name="T12" fmla="*/ 0 60000 65536"/>
                    <a:gd name="T13" fmla="*/ 0 60000 65536"/>
                    <a:gd name="T14" fmla="*/ 0 60000 65536"/>
                    <a:gd name="T15" fmla="*/ 0 60000 65536"/>
                    <a:gd name="T16" fmla="*/ 0 60000 65536"/>
                    <a:gd name="T17" fmla="*/ 0 60000 65536"/>
                    <a:gd name="T18" fmla="*/ 0 w 25"/>
                    <a:gd name="T19" fmla="*/ 0 h 84"/>
                    <a:gd name="T20" fmla="*/ 25 w 25"/>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25" h="84">
                      <a:moveTo>
                        <a:pt x="0" y="4"/>
                      </a:moveTo>
                      <a:cubicBezTo>
                        <a:pt x="3" y="15"/>
                        <a:pt x="2" y="9"/>
                        <a:pt x="2" y="22"/>
                      </a:cubicBezTo>
                      <a:lnTo>
                        <a:pt x="2" y="84"/>
                      </a:lnTo>
                      <a:lnTo>
                        <a:pt x="24" y="84"/>
                      </a:lnTo>
                      <a:cubicBezTo>
                        <a:pt x="23" y="58"/>
                        <a:pt x="25" y="32"/>
                        <a:pt x="22" y="6"/>
                      </a:cubicBezTo>
                      <a:cubicBezTo>
                        <a:pt x="21" y="0"/>
                        <a:pt x="3" y="11"/>
                        <a:pt x="0" y="4"/>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2341" name="Freeform 28"/>
                <p:cNvSpPr>
                  <a:spLocks/>
                </p:cNvSpPr>
                <p:nvPr/>
              </p:nvSpPr>
              <p:spPr bwMode="gray">
                <a:xfrm>
                  <a:off x="4129" y="1733"/>
                  <a:ext cx="29" cy="159"/>
                </a:xfrm>
                <a:custGeom>
                  <a:avLst/>
                  <a:gdLst>
                    <a:gd name="T0" fmla="*/ 4 w 29"/>
                    <a:gd name="T1" fmla="*/ 11 h 159"/>
                    <a:gd name="T2" fmla="*/ 4 w 29"/>
                    <a:gd name="T3" fmla="*/ 159 h 159"/>
                    <a:gd name="T4" fmla="*/ 28 w 29"/>
                    <a:gd name="T5" fmla="*/ 159 h 159"/>
                    <a:gd name="T6" fmla="*/ 26 w 29"/>
                    <a:gd name="T7" fmla="*/ 13 h 159"/>
                    <a:gd name="T8" fmla="*/ 4 w 29"/>
                    <a:gd name="T9" fmla="*/ 11 h 159"/>
                    <a:gd name="T10" fmla="*/ 0 60000 65536"/>
                    <a:gd name="T11" fmla="*/ 0 60000 65536"/>
                    <a:gd name="T12" fmla="*/ 0 60000 65536"/>
                    <a:gd name="T13" fmla="*/ 0 60000 65536"/>
                    <a:gd name="T14" fmla="*/ 0 60000 65536"/>
                    <a:gd name="T15" fmla="*/ 0 w 29"/>
                    <a:gd name="T16" fmla="*/ 0 h 159"/>
                    <a:gd name="T17" fmla="*/ 29 w 29"/>
                    <a:gd name="T18" fmla="*/ 159 h 159"/>
                  </a:gdLst>
                  <a:ahLst/>
                  <a:cxnLst>
                    <a:cxn ang="T10">
                      <a:pos x="T0" y="T1"/>
                    </a:cxn>
                    <a:cxn ang="T11">
                      <a:pos x="T2" y="T3"/>
                    </a:cxn>
                    <a:cxn ang="T12">
                      <a:pos x="T4" y="T5"/>
                    </a:cxn>
                    <a:cxn ang="T13">
                      <a:pos x="T6" y="T7"/>
                    </a:cxn>
                    <a:cxn ang="T14">
                      <a:pos x="T8" y="T9"/>
                    </a:cxn>
                  </a:cxnLst>
                  <a:rect l="T15" t="T16" r="T17" b="T18"/>
                  <a:pathLst>
                    <a:path w="29" h="159">
                      <a:moveTo>
                        <a:pt x="4" y="11"/>
                      </a:moveTo>
                      <a:cubicBezTo>
                        <a:pt x="4" y="34"/>
                        <a:pt x="0" y="134"/>
                        <a:pt x="4" y="159"/>
                      </a:cubicBezTo>
                      <a:lnTo>
                        <a:pt x="28" y="159"/>
                      </a:lnTo>
                      <a:cubicBezTo>
                        <a:pt x="27" y="133"/>
                        <a:pt x="29" y="39"/>
                        <a:pt x="26" y="13"/>
                      </a:cubicBezTo>
                      <a:cubicBezTo>
                        <a:pt x="21" y="0"/>
                        <a:pt x="7" y="8"/>
                        <a:pt x="4" y="11"/>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2342" name="Freeform 29"/>
                <p:cNvSpPr>
                  <a:spLocks/>
                </p:cNvSpPr>
                <p:nvPr/>
              </p:nvSpPr>
              <p:spPr bwMode="gray">
                <a:xfrm>
                  <a:off x="4230" y="1705"/>
                  <a:ext cx="66" cy="189"/>
                </a:xfrm>
                <a:custGeom>
                  <a:avLst/>
                  <a:gdLst>
                    <a:gd name="T0" fmla="*/ 6 w 66"/>
                    <a:gd name="T1" fmla="*/ 25 h 189"/>
                    <a:gd name="T2" fmla="*/ 0 w 66"/>
                    <a:gd name="T3" fmla="*/ 173 h 189"/>
                    <a:gd name="T4" fmla="*/ 2 w 66"/>
                    <a:gd name="T5" fmla="*/ 181 h 189"/>
                    <a:gd name="T6" fmla="*/ 14 w 66"/>
                    <a:gd name="T7" fmla="*/ 187 h 189"/>
                    <a:gd name="T8" fmla="*/ 26 w 66"/>
                    <a:gd name="T9" fmla="*/ 189 h 189"/>
                    <a:gd name="T10" fmla="*/ 40 w 66"/>
                    <a:gd name="T11" fmla="*/ 189 h 189"/>
                    <a:gd name="T12" fmla="*/ 54 w 66"/>
                    <a:gd name="T13" fmla="*/ 185 h 189"/>
                    <a:gd name="T14" fmla="*/ 64 w 66"/>
                    <a:gd name="T15" fmla="*/ 181 h 189"/>
                    <a:gd name="T16" fmla="*/ 66 w 66"/>
                    <a:gd name="T17" fmla="*/ 21 h 189"/>
                    <a:gd name="T18" fmla="*/ 6 w 66"/>
                    <a:gd name="T19" fmla="*/ 25 h 1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89"/>
                    <a:gd name="T32" fmla="*/ 66 w 66"/>
                    <a:gd name="T33" fmla="*/ 189 h 1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89">
                      <a:moveTo>
                        <a:pt x="6" y="25"/>
                      </a:moveTo>
                      <a:lnTo>
                        <a:pt x="0" y="173"/>
                      </a:lnTo>
                      <a:lnTo>
                        <a:pt x="2" y="181"/>
                      </a:lnTo>
                      <a:lnTo>
                        <a:pt x="14" y="187"/>
                      </a:lnTo>
                      <a:lnTo>
                        <a:pt x="26" y="189"/>
                      </a:lnTo>
                      <a:lnTo>
                        <a:pt x="40" y="189"/>
                      </a:lnTo>
                      <a:lnTo>
                        <a:pt x="54" y="185"/>
                      </a:lnTo>
                      <a:lnTo>
                        <a:pt x="64" y="181"/>
                      </a:lnTo>
                      <a:cubicBezTo>
                        <a:pt x="63" y="155"/>
                        <a:pt x="66" y="43"/>
                        <a:pt x="66" y="21"/>
                      </a:cubicBezTo>
                      <a:cubicBezTo>
                        <a:pt x="44" y="11"/>
                        <a:pt x="17" y="0"/>
                        <a:pt x="6" y="25"/>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2343" name="Freeform 30"/>
                <p:cNvSpPr>
                  <a:spLocks/>
                </p:cNvSpPr>
                <p:nvPr/>
              </p:nvSpPr>
              <p:spPr bwMode="gray">
                <a:xfrm>
                  <a:off x="3912" y="2160"/>
                  <a:ext cx="548" cy="56"/>
                </a:xfrm>
                <a:custGeom>
                  <a:avLst/>
                  <a:gdLst>
                    <a:gd name="T0" fmla="*/ 0 w 548"/>
                    <a:gd name="T1" fmla="*/ 56 h 56"/>
                    <a:gd name="T2" fmla="*/ 546 w 548"/>
                    <a:gd name="T3" fmla="*/ 14 h 56"/>
                    <a:gd name="T4" fmla="*/ 548 w 548"/>
                    <a:gd name="T5" fmla="*/ 0 h 56"/>
                    <a:gd name="T6" fmla="*/ 2 w 548"/>
                    <a:gd name="T7" fmla="*/ 39 h 56"/>
                    <a:gd name="T8" fmla="*/ 0 w 548"/>
                    <a:gd name="T9" fmla="*/ 56 h 56"/>
                    <a:gd name="T10" fmla="*/ 0 60000 65536"/>
                    <a:gd name="T11" fmla="*/ 0 60000 65536"/>
                    <a:gd name="T12" fmla="*/ 0 60000 65536"/>
                    <a:gd name="T13" fmla="*/ 0 60000 65536"/>
                    <a:gd name="T14" fmla="*/ 0 60000 65536"/>
                    <a:gd name="T15" fmla="*/ 0 w 548"/>
                    <a:gd name="T16" fmla="*/ 0 h 56"/>
                    <a:gd name="T17" fmla="*/ 548 w 548"/>
                    <a:gd name="T18" fmla="*/ 56 h 56"/>
                  </a:gdLst>
                  <a:ahLst/>
                  <a:cxnLst>
                    <a:cxn ang="T10">
                      <a:pos x="T0" y="T1"/>
                    </a:cxn>
                    <a:cxn ang="T11">
                      <a:pos x="T2" y="T3"/>
                    </a:cxn>
                    <a:cxn ang="T12">
                      <a:pos x="T4" y="T5"/>
                    </a:cxn>
                    <a:cxn ang="T13">
                      <a:pos x="T6" y="T7"/>
                    </a:cxn>
                    <a:cxn ang="T14">
                      <a:pos x="T8" y="T9"/>
                    </a:cxn>
                  </a:cxnLst>
                  <a:rect l="T15" t="T16" r="T17" b="T18"/>
                  <a:pathLst>
                    <a:path w="548" h="56">
                      <a:moveTo>
                        <a:pt x="0" y="56"/>
                      </a:moveTo>
                      <a:lnTo>
                        <a:pt x="546" y="14"/>
                      </a:lnTo>
                      <a:lnTo>
                        <a:pt x="548" y="0"/>
                      </a:lnTo>
                      <a:lnTo>
                        <a:pt x="2" y="39"/>
                      </a:lnTo>
                      <a:lnTo>
                        <a:pt x="0" y="56"/>
                      </a:lnTo>
                      <a:close/>
                    </a:path>
                  </a:pathLst>
                </a:custGeom>
                <a:solidFill>
                  <a:srgbClr val="3B6A75"/>
                </a:solidFill>
                <a:ln w="9525">
                  <a:noFill/>
                  <a:round/>
                  <a:headEnd/>
                  <a:tailEnd/>
                </a:ln>
              </p:spPr>
              <p:txBody>
                <a:bodyPr/>
                <a:lstStyle/>
                <a:p>
                  <a:pPr defTabSz="912546"/>
                  <a:endParaRPr>
                    <a:solidFill>
                      <a:srgbClr val="000000"/>
                    </a:solidFill>
                  </a:endParaRPr>
                </a:p>
              </p:txBody>
            </p:sp>
            <p:sp>
              <p:nvSpPr>
                <p:cNvPr id="442344" name="Freeform 31"/>
                <p:cNvSpPr>
                  <a:spLocks/>
                </p:cNvSpPr>
                <p:nvPr/>
              </p:nvSpPr>
              <p:spPr bwMode="gray">
                <a:xfrm>
                  <a:off x="4458" y="2012"/>
                  <a:ext cx="50" cy="190"/>
                </a:xfrm>
                <a:custGeom>
                  <a:avLst/>
                  <a:gdLst>
                    <a:gd name="T0" fmla="*/ 50 w 50"/>
                    <a:gd name="T1" fmla="*/ 20 h 190"/>
                    <a:gd name="T2" fmla="*/ 40 w 50"/>
                    <a:gd name="T3" fmla="*/ 190 h 190"/>
                    <a:gd name="T4" fmla="*/ 0 w 50"/>
                    <a:gd name="T5" fmla="*/ 162 h 190"/>
                    <a:gd name="T6" fmla="*/ 6 w 50"/>
                    <a:gd name="T7" fmla="*/ 0 h 190"/>
                    <a:gd name="T8" fmla="*/ 50 w 50"/>
                    <a:gd name="T9" fmla="*/ 20 h 190"/>
                    <a:gd name="T10" fmla="*/ 0 60000 65536"/>
                    <a:gd name="T11" fmla="*/ 0 60000 65536"/>
                    <a:gd name="T12" fmla="*/ 0 60000 65536"/>
                    <a:gd name="T13" fmla="*/ 0 60000 65536"/>
                    <a:gd name="T14" fmla="*/ 0 60000 65536"/>
                    <a:gd name="T15" fmla="*/ 0 w 50"/>
                    <a:gd name="T16" fmla="*/ 0 h 190"/>
                    <a:gd name="T17" fmla="*/ 50 w 50"/>
                    <a:gd name="T18" fmla="*/ 190 h 190"/>
                  </a:gdLst>
                  <a:ahLst/>
                  <a:cxnLst>
                    <a:cxn ang="T10">
                      <a:pos x="T0" y="T1"/>
                    </a:cxn>
                    <a:cxn ang="T11">
                      <a:pos x="T2" y="T3"/>
                    </a:cxn>
                    <a:cxn ang="T12">
                      <a:pos x="T4" y="T5"/>
                    </a:cxn>
                    <a:cxn ang="T13">
                      <a:pos x="T6" y="T7"/>
                    </a:cxn>
                    <a:cxn ang="T14">
                      <a:pos x="T8" y="T9"/>
                    </a:cxn>
                  </a:cxnLst>
                  <a:rect l="T15" t="T16" r="T17" b="T18"/>
                  <a:pathLst>
                    <a:path w="50" h="190">
                      <a:moveTo>
                        <a:pt x="50" y="20"/>
                      </a:moveTo>
                      <a:lnTo>
                        <a:pt x="40" y="190"/>
                      </a:lnTo>
                      <a:lnTo>
                        <a:pt x="0" y="162"/>
                      </a:lnTo>
                      <a:lnTo>
                        <a:pt x="6" y="0"/>
                      </a:lnTo>
                      <a:lnTo>
                        <a:pt x="50" y="20"/>
                      </a:lnTo>
                      <a:close/>
                    </a:path>
                  </a:pathLst>
                </a:custGeom>
                <a:solidFill>
                  <a:srgbClr val="74ADBA"/>
                </a:solidFill>
                <a:ln w="9525">
                  <a:noFill/>
                  <a:round/>
                  <a:headEnd/>
                  <a:tailEnd/>
                </a:ln>
              </p:spPr>
              <p:txBody>
                <a:bodyPr/>
                <a:lstStyle/>
                <a:p>
                  <a:pPr defTabSz="912546"/>
                  <a:endParaRPr>
                    <a:solidFill>
                      <a:srgbClr val="000000"/>
                    </a:solidFill>
                  </a:endParaRPr>
                </a:p>
              </p:txBody>
            </p:sp>
            <p:sp>
              <p:nvSpPr>
                <p:cNvPr id="442345" name="Freeform 32"/>
                <p:cNvSpPr>
                  <a:spLocks/>
                </p:cNvSpPr>
                <p:nvPr/>
              </p:nvSpPr>
              <p:spPr bwMode="gray">
                <a:xfrm>
                  <a:off x="4496" y="2022"/>
                  <a:ext cx="190" cy="178"/>
                </a:xfrm>
                <a:custGeom>
                  <a:avLst/>
                  <a:gdLst>
                    <a:gd name="T0" fmla="*/ 172 w 190"/>
                    <a:gd name="T1" fmla="*/ 161 h 178"/>
                    <a:gd name="T2" fmla="*/ 190 w 190"/>
                    <a:gd name="T3" fmla="*/ 0 h 178"/>
                    <a:gd name="T4" fmla="*/ 12 w 190"/>
                    <a:gd name="T5" fmla="*/ 10 h 178"/>
                    <a:gd name="T6" fmla="*/ 0 w 190"/>
                    <a:gd name="T7" fmla="*/ 178 h 178"/>
                    <a:gd name="T8" fmla="*/ 172 w 190"/>
                    <a:gd name="T9" fmla="*/ 161 h 178"/>
                    <a:gd name="T10" fmla="*/ 0 60000 65536"/>
                    <a:gd name="T11" fmla="*/ 0 60000 65536"/>
                    <a:gd name="T12" fmla="*/ 0 60000 65536"/>
                    <a:gd name="T13" fmla="*/ 0 60000 65536"/>
                    <a:gd name="T14" fmla="*/ 0 60000 65536"/>
                    <a:gd name="T15" fmla="*/ 0 w 190"/>
                    <a:gd name="T16" fmla="*/ 0 h 178"/>
                    <a:gd name="T17" fmla="*/ 190 w 190"/>
                    <a:gd name="T18" fmla="*/ 178 h 178"/>
                  </a:gdLst>
                  <a:ahLst/>
                  <a:cxnLst>
                    <a:cxn ang="T10">
                      <a:pos x="T0" y="T1"/>
                    </a:cxn>
                    <a:cxn ang="T11">
                      <a:pos x="T2" y="T3"/>
                    </a:cxn>
                    <a:cxn ang="T12">
                      <a:pos x="T4" y="T5"/>
                    </a:cxn>
                    <a:cxn ang="T13">
                      <a:pos x="T6" y="T7"/>
                    </a:cxn>
                    <a:cxn ang="T14">
                      <a:pos x="T8" y="T9"/>
                    </a:cxn>
                  </a:cxnLst>
                  <a:rect l="T15" t="T16" r="T17" b="T18"/>
                  <a:pathLst>
                    <a:path w="190" h="178">
                      <a:moveTo>
                        <a:pt x="172" y="161"/>
                      </a:moveTo>
                      <a:lnTo>
                        <a:pt x="190" y="0"/>
                      </a:lnTo>
                      <a:lnTo>
                        <a:pt x="12" y="10"/>
                      </a:lnTo>
                      <a:lnTo>
                        <a:pt x="0" y="178"/>
                      </a:lnTo>
                      <a:lnTo>
                        <a:pt x="172" y="161"/>
                      </a:lnTo>
                      <a:close/>
                    </a:path>
                  </a:pathLst>
                </a:custGeom>
                <a:gradFill rotWithShape="1">
                  <a:gsLst>
                    <a:gs pos="0">
                      <a:srgbClr val="749DA7"/>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442346" name="Freeform 33"/>
                <p:cNvSpPr>
                  <a:spLocks/>
                </p:cNvSpPr>
                <p:nvPr/>
              </p:nvSpPr>
              <p:spPr bwMode="gray">
                <a:xfrm>
                  <a:off x="4466" y="2002"/>
                  <a:ext cx="224" cy="32"/>
                </a:xfrm>
                <a:custGeom>
                  <a:avLst/>
                  <a:gdLst>
                    <a:gd name="T0" fmla="*/ 0 w 224"/>
                    <a:gd name="T1" fmla="*/ 10 h 32"/>
                    <a:gd name="T2" fmla="*/ 42 w 224"/>
                    <a:gd name="T3" fmla="*/ 32 h 32"/>
                    <a:gd name="T4" fmla="*/ 224 w 224"/>
                    <a:gd name="T5" fmla="*/ 24 h 32"/>
                    <a:gd name="T6" fmla="*/ 176 w 224"/>
                    <a:gd name="T7" fmla="*/ 0 h 32"/>
                    <a:gd name="T8" fmla="*/ 2 w 224"/>
                    <a:gd name="T9" fmla="*/ 10 h 32"/>
                    <a:gd name="T10" fmla="*/ 0 w 224"/>
                    <a:gd name="T11" fmla="*/ 10 h 32"/>
                    <a:gd name="T12" fmla="*/ 0 60000 65536"/>
                    <a:gd name="T13" fmla="*/ 0 60000 65536"/>
                    <a:gd name="T14" fmla="*/ 0 60000 65536"/>
                    <a:gd name="T15" fmla="*/ 0 60000 65536"/>
                    <a:gd name="T16" fmla="*/ 0 60000 65536"/>
                    <a:gd name="T17" fmla="*/ 0 60000 65536"/>
                    <a:gd name="T18" fmla="*/ 0 w 224"/>
                    <a:gd name="T19" fmla="*/ 0 h 32"/>
                    <a:gd name="T20" fmla="*/ 224 w 2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24" h="32">
                      <a:moveTo>
                        <a:pt x="0" y="10"/>
                      </a:moveTo>
                      <a:lnTo>
                        <a:pt x="42" y="32"/>
                      </a:lnTo>
                      <a:lnTo>
                        <a:pt x="224" y="24"/>
                      </a:lnTo>
                      <a:lnTo>
                        <a:pt x="176" y="0"/>
                      </a:lnTo>
                      <a:lnTo>
                        <a:pt x="2" y="10"/>
                      </a:lnTo>
                      <a:lnTo>
                        <a:pt x="0" y="1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47" name="Freeform 34"/>
                <p:cNvSpPr>
                  <a:spLocks/>
                </p:cNvSpPr>
                <p:nvPr/>
              </p:nvSpPr>
              <p:spPr bwMode="gray">
                <a:xfrm>
                  <a:off x="4236" y="1712"/>
                  <a:ext cx="59" cy="23"/>
                </a:xfrm>
                <a:custGeom>
                  <a:avLst/>
                  <a:gdLst>
                    <a:gd name="T0" fmla="*/ 2 w 59"/>
                    <a:gd name="T1" fmla="*/ 12 h 23"/>
                    <a:gd name="T2" fmla="*/ 57 w 59"/>
                    <a:gd name="T3" fmla="*/ 12 h 23"/>
                    <a:gd name="T4" fmla="*/ 2 w 59"/>
                    <a:gd name="T5" fmla="*/ 12 h 23"/>
                    <a:gd name="T6" fmla="*/ 0 60000 65536"/>
                    <a:gd name="T7" fmla="*/ 0 60000 65536"/>
                    <a:gd name="T8" fmla="*/ 0 60000 65536"/>
                    <a:gd name="T9" fmla="*/ 0 w 59"/>
                    <a:gd name="T10" fmla="*/ 0 h 23"/>
                    <a:gd name="T11" fmla="*/ 59 w 59"/>
                    <a:gd name="T12" fmla="*/ 23 h 23"/>
                  </a:gdLst>
                  <a:ahLst/>
                  <a:cxnLst>
                    <a:cxn ang="T6">
                      <a:pos x="T0" y="T1"/>
                    </a:cxn>
                    <a:cxn ang="T7">
                      <a:pos x="T2" y="T3"/>
                    </a:cxn>
                    <a:cxn ang="T8">
                      <a:pos x="T4" y="T5"/>
                    </a:cxn>
                  </a:cxnLst>
                  <a:rect l="T9" t="T10" r="T11" b="T12"/>
                  <a:pathLst>
                    <a:path w="59" h="23">
                      <a:moveTo>
                        <a:pt x="2" y="12"/>
                      </a:moveTo>
                      <a:cubicBezTo>
                        <a:pt x="0" y="21"/>
                        <a:pt x="59" y="23"/>
                        <a:pt x="57" y="12"/>
                      </a:cubicBezTo>
                      <a:cubicBezTo>
                        <a:pt x="57" y="0"/>
                        <a:pt x="0" y="1"/>
                        <a:pt x="2" y="12"/>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48" name="Freeform 35"/>
                <p:cNvSpPr>
                  <a:spLocks/>
                </p:cNvSpPr>
                <p:nvPr/>
              </p:nvSpPr>
              <p:spPr bwMode="gray">
                <a:xfrm>
                  <a:off x="4550" y="1803"/>
                  <a:ext cx="45" cy="195"/>
                </a:xfrm>
                <a:custGeom>
                  <a:avLst/>
                  <a:gdLst>
                    <a:gd name="T0" fmla="*/ 14 w 45"/>
                    <a:gd name="T1" fmla="*/ 13 h 195"/>
                    <a:gd name="T2" fmla="*/ 3 w 45"/>
                    <a:gd name="T3" fmla="*/ 195 h 195"/>
                    <a:gd name="T4" fmla="*/ 30 w 45"/>
                    <a:gd name="T5" fmla="*/ 194 h 195"/>
                    <a:gd name="T6" fmla="*/ 42 w 45"/>
                    <a:gd name="T7" fmla="*/ 13 h 195"/>
                    <a:gd name="T8" fmla="*/ 14 w 45"/>
                    <a:gd name="T9" fmla="*/ 13 h 195"/>
                    <a:gd name="T10" fmla="*/ 0 60000 65536"/>
                    <a:gd name="T11" fmla="*/ 0 60000 65536"/>
                    <a:gd name="T12" fmla="*/ 0 60000 65536"/>
                    <a:gd name="T13" fmla="*/ 0 60000 65536"/>
                    <a:gd name="T14" fmla="*/ 0 60000 65536"/>
                    <a:gd name="T15" fmla="*/ 0 w 45"/>
                    <a:gd name="T16" fmla="*/ 0 h 195"/>
                    <a:gd name="T17" fmla="*/ 45 w 45"/>
                    <a:gd name="T18" fmla="*/ 195 h 195"/>
                  </a:gdLst>
                  <a:ahLst/>
                  <a:cxnLst>
                    <a:cxn ang="T10">
                      <a:pos x="T0" y="T1"/>
                    </a:cxn>
                    <a:cxn ang="T11">
                      <a:pos x="T2" y="T3"/>
                    </a:cxn>
                    <a:cxn ang="T12">
                      <a:pos x="T4" y="T5"/>
                    </a:cxn>
                    <a:cxn ang="T13">
                      <a:pos x="T6" y="T7"/>
                    </a:cxn>
                    <a:cxn ang="T14">
                      <a:pos x="T8" y="T9"/>
                    </a:cxn>
                  </a:cxnLst>
                  <a:rect l="T15" t="T16" r="T17" b="T18"/>
                  <a:pathLst>
                    <a:path w="45" h="195">
                      <a:moveTo>
                        <a:pt x="14" y="13"/>
                      </a:moveTo>
                      <a:cubicBezTo>
                        <a:pt x="14" y="36"/>
                        <a:pt x="0" y="153"/>
                        <a:pt x="3" y="195"/>
                      </a:cubicBezTo>
                      <a:lnTo>
                        <a:pt x="30" y="194"/>
                      </a:lnTo>
                      <a:cubicBezTo>
                        <a:pt x="29" y="168"/>
                        <a:pt x="45" y="39"/>
                        <a:pt x="42" y="13"/>
                      </a:cubicBezTo>
                      <a:cubicBezTo>
                        <a:pt x="27" y="0"/>
                        <a:pt x="17" y="10"/>
                        <a:pt x="14" y="13"/>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2349" name="Freeform 36"/>
                <p:cNvSpPr>
                  <a:spLocks/>
                </p:cNvSpPr>
                <p:nvPr/>
              </p:nvSpPr>
              <p:spPr bwMode="gray">
                <a:xfrm>
                  <a:off x="4566" y="1809"/>
                  <a:ext cx="29" cy="15"/>
                </a:xfrm>
                <a:custGeom>
                  <a:avLst/>
                  <a:gdLst>
                    <a:gd name="T0" fmla="*/ 0 w 29"/>
                    <a:gd name="T1" fmla="*/ 8 h 15"/>
                    <a:gd name="T2" fmla="*/ 29 w 29"/>
                    <a:gd name="T3" fmla="*/ 9 h 15"/>
                    <a:gd name="T4" fmla="*/ 0 w 29"/>
                    <a:gd name="T5" fmla="*/ 8 h 15"/>
                    <a:gd name="T6" fmla="*/ 0 60000 65536"/>
                    <a:gd name="T7" fmla="*/ 0 60000 65536"/>
                    <a:gd name="T8" fmla="*/ 0 60000 65536"/>
                    <a:gd name="T9" fmla="*/ 0 w 29"/>
                    <a:gd name="T10" fmla="*/ 0 h 15"/>
                    <a:gd name="T11" fmla="*/ 29 w 29"/>
                    <a:gd name="T12" fmla="*/ 15 h 15"/>
                  </a:gdLst>
                  <a:ahLst/>
                  <a:cxnLst>
                    <a:cxn ang="T6">
                      <a:pos x="T0" y="T1"/>
                    </a:cxn>
                    <a:cxn ang="T7">
                      <a:pos x="T2" y="T3"/>
                    </a:cxn>
                    <a:cxn ang="T8">
                      <a:pos x="T4" y="T5"/>
                    </a:cxn>
                  </a:cxnLst>
                  <a:rect l="T9" t="T10" r="T11" b="T12"/>
                  <a:pathLst>
                    <a:path w="29" h="15">
                      <a:moveTo>
                        <a:pt x="0" y="8"/>
                      </a:moveTo>
                      <a:cubicBezTo>
                        <a:pt x="2" y="14"/>
                        <a:pt x="29" y="15"/>
                        <a:pt x="29" y="9"/>
                      </a:cubicBezTo>
                      <a:cubicBezTo>
                        <a:pt x="29" y="0"/>
                        <a:pt x="2" y="0"/>
                        <a:pt x="0" y="8"/>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0" name="Freeform 37"/>
                <p:cNvSpPr>
                  <a:spLocks/>
                </p:cNvSpPr>
                <p:nvPr/>
              </p:nvSpPr>
              <p:spPr bwMode="gray">
                <a:xfrm>
                  <a:off x="4133" y="1739"/>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1" name="Freeform 38"/>
                <p:cNvSpPr>
                  <a:spLocks/>
                </p:cNvSpPr>
                <p:nvPr/>
              </p:nvSpPr>
              <p:spPr bwMode="gray">
                <a:xfrm>
                  <a:off x="3772" y="1700"/>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2" name="Freeform 39"/>
                <p:cNvSpPr>
                  <a:spLocks/>
                </p:cNvSpPr>
                <p:nvPr/>
              </p:nvSpPr>
              <p:spPr bwMode="gray">
                <a:xfrm>
                  <a:off x="4469" y="1813"/>
                  <a:ext cx="58" cy="167"/>
                </a:xfrm>
                <a:custGeom>
                  <a:avLst/>
                  <a:gdLst>
                    <a:gd name="T0" fmla="*/ 4 w 66"/>
                    <a:gd name="T1" fmla="*/ 4 h 189"/>
                    <a:gd name="T2" fmla="*/ 0 w 66"/>
                    <a:gd name="T3" fmla="*/ 34 h 189"/>
                    <a:gd name="T4" fmla="*/ 2 w 66"/>
                    <a:gd name="T5" fmla="*/ 36 h 189"/>
                    <a:gd name="T6" fmla="*/ 4 w 66"/>
                    <a:gd name="T7" fmla="*/ 38 h 189"/>
                    <a:gd name="T8" fmla="*/ 5 w 66"/>
                    <a:gd name="T9" fmla="*/ 38 h 189"/>
                    <a:gd name="T10" fmla="*/ 8 w 66"/>
                    <a:gd name="T11" fmla="*/ 38 h 189"/>
                    <a:gd name="T12" fmla="*/ 10 w 66"/>
                    <a:gd name="T13" fmla="*/ 37 h 189"/>
                    <a:gd name="T14" fmla="*/ 11 w 66"/>
                    <a:gd name="T15" fmla="*/ 36 h 189"/>
                    <a:gd name="T16" fmla="*/ 12 w 66"/>
                    <a:gd name="T17" fmla="*/ 4 h 189"/>
                    <a:gd name="T18" fmla="*/ 4 w 66"/>
                    <a:gd name="T19" fmla="*/ 4 h 1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89"/>
                    <a:gd name="T32" fmla="*/ 66 w 66"/>
                    <a:gd name="T33" fmla="*/ 189 h 1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89">
                      <a:moveTo>
                        <a:pt x="6" y="25"/>
                      </a:moveTo>
                      <a:lnTo>
                        <a:pt x="0" y="173"/>
                      </a:lnTo>
                      <a:lnTo>
                        <a:pt x="2" y="181"/>
                      </a:lnTo>
                      <a:lnTo>
                        <a:pt x="14" y="187"/>
                      </a:lnTo>
                      <a:lnTo>
                        <a:pt x="26" y="189"/>
                      </a:lnTo>
                      <a:lnTo>
                        <a:pt x="40" y="189"/>
                      </a:lnTo>
                      <a:lnTo>
                        <a:pt x="54" y="185"/>
                      </a:lnTo>
                      <a:lnTo>
                        <a:pt x="64" y="181"/>
                      </a:lnTo>
                      <a:cubicBezTo>
                        <a:pt x="63" y="155"/>
                        <a:pt x="66" y="43"/>
                        <a:pt x="66" y="21"/>
                      </a:cubicBezTo>
                      <a:cubicBezTo>
                        <a:pt x="44" y="11"/>
                        <a:pt x="17" y="0"/>
                        <a:pt x="6" y="25"/>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2353" name="Freeform 40"/>
                <p:cNvSpPr>
                  <a:spLocks/>
                </p:cNvSpPr>
                <p:nvPr/>
              </p:nvSpPr>
              <p:spPr bwMode="gray">
                <a:xfrm>
                  <a:off x="4474" y="1818"/>
                  <a:ext cx="56" cy="23"/>
                </a:xfrm>
                <a:custGeom>
                  <a:avLst/>
                  <a:gdLst>
                    <a:gd name="T0" fmla="*/ 2 w 56"/>
                    <a:gd name="T1" fmla="*/ 13 h 23"/>
                    <a:gd name="T2" fmla="*/ 54 w 56"/>
                    <a:gd name="T3" fmla="*/ 12 h 23"/>
                    <a:gd name="T4" fmla="*/ 2 w 56"/>
                    <a:gd name="T5" fmla="*/ 13 h 23"/>
                    <a:gd name="T6" fmla="*/ 0 60000 65536"/>
                    <a:gd name="T7" fmla="*/ 0 60000 65536"/>
                    <a:gd name="T8" fmla="*/ 0 60000 65536"/>
                    <a:gd name="T9" fmla="*/ 0 w 56"/>
                    <a:gd name="T10" fmla="*/ 0 h 23"/>
                    <a:gd name="T11" fmla="*/ 56 w 56"/>
                    <a:gd name="T12" fmla="*/ 23 h 23"/>
                  </a:gdLst>
                  <a:ahLst/>
                  <a:cxnLst>
                    <a:cxn ang="T6">
                      <a:pos x="T0" y="T1"/>
                    </a:cxn>
                    <a:cxn ang="T7">
                      <a:pos x="T2" y="T3"/>
                    </a:cxn>
                    <a:cxn ang="T8">
                      <a:pos x="T4" y="T5"/>
                    </a:cxn>
                  </a:cxnLst>
                  <a:rect l="T9" t="T10" r="T11" b="T12"/>
                  <a:pathLst>
                    <a:path w="56" h="23">
                      <a:moveTo>
                        <a:pt x="2" y="13"/>
                      </a:moveTo>
                      <a:cubicBezTo>
                        <a:pt x="0" y="22"/>
                        <a:pt x="56" y="23"/>
                        <a:pt x="54" y="12"/>
                      </a:cubicBezTo>
                      <a:cubicBezTo>
                        <a:pt x="54" y="0"/>
                        <a:pt x="0" y="2"/>
                        <a:pt x="2" y="13"/>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4" name="Freeform 41"/>
                <p:cNvSpPr>
                  <a:spLocks/>
                </p:cNvSpPr>
                <p:nvPr/>
              </p:nvSpPr>
              <p:spPr bwMode="gray">
                <a:xfrm>
                  <a:off x="3962" y="2145"/>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5" name="Freeform 42"/>
                <p:cNvSpPr>
                  <a:spLocks/>
                </p:cNvSpPr>
                <p:nvPr/>
              </p:nvSpPr>
              <p:spPr bwMode="gray">
                <a:xfrm>
                  <a:off x="4058" y="2138"/>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6" name="Freeform 43"/>
                <p:cNvSpPr>
                  <a:spLocks/>
                </p:cNvSpPr>
                <p:nvPr/>
              </p:nvSpPr>
              <p:spPr bwMode="gray">
                <a:xfrm>
                  <a:off x="4154" y="2131"/>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7" name="Freeform 44"/>
                <p:cNvSpPr>
                  <a:spLocks/>
                </p:cNvSpPr>
                <p:nvPr/>
              </p:nvSpPr>
              <p:spPr bwMode="gray">
                <a:xfrm>
                  <a:off x="4250" y="2124"/>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8" name="Freeform 45"/>
                <p:cNvSpPr>
                  <a:spLocks/>
                </p:cNvSpPr>
                <p:nvPr/>
              </p:nvSpPr>
              <p:spPr bwMode="gray">
                <a:xfrm>
                  <a:off x="4346" y="2120"/>
                  <a:ext cx="45" cy="48"/>
                </a:xfrm>
                <a:custGeom>
                  <a:avLst/>
                  <a:gdLst>
                    <a:gd name="T0" fmla="*/ 0 w 45"/>
                    <a:gd name="T1" fmla="*/ 48 h 48"/>
                    <a:gd name="T2" fmla="*/ 43 w 45"/>
                    <a:gd name="T3" fmla="*/ 45 h 48"/>
                    <a:gd name="T4" fmla="*/ 45 w 45"/>
                    <a:gd name="T5" fmla="*/ 0 h 48"/>
                    <a:gd name="T6" fmla="*/ 3 w 45"/>
                    <a:gd name="T7" fmla="*/ 3 h 48"/>
                    <a:gd name="T8" fmla="*/ 0 w 45"/>
                    <a:gd name="T9" fmla="*/ 48 h 48"/>
                    <a:gd name="T10" fmla="*/ 0 60000 65536"/>
                    <a:gd name="T11" fmla="*/ 0 60000 65536"/>
                    <a:gd name="T12" fmla="*/ 0 60000 65536"/>
                    <a:gd name="T13" fmla="*/ 0 60000 65536"/>
                    <a:gd name="T14" fmla="*/ 0 60000 65536"/>
                    <a:gd name="T15" fmla="*/ 0 w 45"/>
                    <a:gd name="T16" fmla="*/ 0 h 48"/>
                    <a:gd name="T17" fmla="*/ 45 w 45"/>
                    <a:gd name="T18" fmla="*/ 48 h 48"/>
                  </a:gdLst>
                  <a:ahLst/>
                  <a:cxnLst>
                    <a:cxn ang="T10">
                      <a:pos x="T0" y="T1"/>
                    </a:cxn>
                    <a:cxn ang="T11">
                      <a:pos x="T2" y="T3"/>
                    </a:cxn>
                    <a:cxn ang="T12">
                      <a:pos x="T4" y="T5"/>
                    </a:cxn>
                    <a:cxn ang="T13">
                      <a:pos x="T6" y="T7"/>
                    </a:cxn>
                    <a:cxn ang="T14">
                      <a:pos x="T8" y="T9"/>
                    </a:cxn>
                  </a:cxnLst>
                  <a:rect l="T15" t="T16" r="T17" b="T18"/>
                  <a:pathLst>
                    <a:path w="45" h="48">
                      <a:moveTo>
                        <a:pt x="0" y="48"/>
                      </a:moveTo>
                      <a:lnTo>
                        <a:pt x="43" y="45"/>
                      </a:lnTo>
                      <a:lnTo>
                        <a:pt x="45" y="0"/>
                      </a:lnTo>
                      <a:lnTo>
                        <a:pt x="3" y="3"/>
                      </a:lnTo>
                      <a:lnTo>
                        <a:pt x="0" y="48"/>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2359" name="Freeform 46"/>
                <p:cNvSpPr>
                  <a:spLocks/>
                </p:cNvSpPr>
                <p:nvPr/>
              </p:nvSpPr>
              <p:spPr bwMode="gray">
                <a:xfrm>
                  <a:off x="4522" y="2055"/>
                  <a:ext cx="65" cy="14"/>
                </a:xfrm>
                <a:custGeom>
                  <a:avLst/>
                  <a:gdLst>
                    <a:gd name="T0" fmla="*/ 0 w 65"/>
                    <a:gd name="T1" fmla="*/ 14 h 14"/>
                    <a:gd name="T2" fmla="*/ 65 w 65"/>
                    <a:gd name="T3" fmla="*/ 12 h 14"/>
                    <a:gd name="T4" fmla="*/ 65 w 65"/>
                    <a:gd name="T5" fmla="*/ 0 h 14"/>
                    <a:gd name="T6" fmla="*/ 0 w 65"/>
                    <a:gd name="T7" fmla="*/ 1 h 14"/>
                    <a:gd name="T8" fmla="*/ 0 w 65"/>
                    <a:gd name="T9" fmla="*/ 14 h 14"/>
                    <a:gd name="T10" fmla="*/ 0 60000 65536"/>
                    <a:gd name="T11" fmla="*/ 0 60000 65536"/>
                    <a:gd name="T12" fmla="*/ 0 60000 65536"/>
                    <a:gd name="T13" fmla="*/ 0 60000 65536"/>
                    <a:gd name="T14" fmla="*/ 0 60000 65536"/>
                    <a:gd name="T15" fmla="*/ 0 w 65"/>
                    <a:gd name="T16" fmla="*/ 0 h 14"/>
                    <a:gd name="T17" fmla="*/ 65 w 65"/>
                    <a:gd name="T18" fmla="*/ 14 h 14"/>
                  </a:gdLst>
                  <a:ahLst/>
                  <a:cxnLst>
                    <a:cxn ang="T10">
                      <a:pos x="T0" y="T1"/>
                    </a:cxn>
                    <a:cxn ang="T11">
                      <a:pos x="T2" y="T3"/>
                    </a:cxn>
                    <a:cxn ang="T12">
                      <a:pos x="T4" y="T5"/>
                    </a:cxn>
                    <a:cxn ang="T13">
                      <a:pos x="T6" y="T7"/>
                    </a:cxn>
                    <a:cxn ang="T14">
                      <a:pos x="T8" y="T9"/>
                    </a:cxn>
                  </a:cxnLst>
                  <a:rect l="T15" t="T16" r="T17" b="T18"/>
                  <a:pathLst>
                    <a:path w="65" h="14">
                      <a:moveTo>
                        <a:pt x="0" y="14"/>
                      </a:moveTo>
                      <a:lnTo>
                        <a:pt x="65" y="12"/>
                      </a:lnTo>
                      <a:lnTo>
                        <a:pt x="65" y="0"/>
                      </a:lnTo>
                      <a:lnTo>
                        <a:pt x="0" y="1"/>
                      </a:lnTo>
                      <a:lnTo>
                        <a:pt x="0" y="14"/>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0" name="Freeform 47"/>
                <p:cNvSpPr>
                  <a:spLocks/>
                </p:cNvSpPr>
                <p:nvPr/>
              </p:nvSpPr>
              <p:spPr bwMode="gray">
                <a:xfrm>
                  <a:off x="4604" y="2052"/>
                  <a:ext cx="65" cy="14"/>
                </a:xfrm>
                <a:custGeom>
                  <a:avLst/>
                  <a:gdLst>
                    <a:gd name="T0" fmla="*/ 0 w 65"/>
                    <a:gd name="T1" fmla="*/ 14 h 14"/>
                    <a:gd name="T2" fmla="*/ 65 w 65"/>
                    <a:gd name="T3" fmla="*/ 12 h 14"/>
                    <a:gd name="T4" fmla="*/ 65 w 65"/>
                    <a:gd name="T5" fmla="*/ 0 h 14"/>
                    <a:gd name="T6" fmla="*/ 0 w 65"/>
                    <a:gd name="T7" fmla="*/ 1 h 14"/>
                    <a:gd name="T8" fmla="*/ 0 w 65"/>
                    <a:gd name="T9" fmla="*/ 14 h 14"/>
                    <a:gd name="T10" fmla="*/ 0 60000 65536"/>
                    <a:gd name="T11" fmla="*/ 0 60000 65536"/>
                    <a:gd name="T12" fmla="*/ 0 60000 65536"/>
                    <a:gd name="T13" fmla="*/ 0 60000 65536"/>
                    <a:gd name="T14" fmla="*/ 0 60000 65536"/>
                    <a:gd name="T15" fmla="*/ 0 w 65"/>
                    <a:gd name="T16" fmla="*/ 0 h 14"/>
                    <a:gd name="T17" fmla="*/ 65 w 65"/>
                    <a:gd name="T18" fmla="*/ 14 h 14"/>
                  </a:gdLst>
                  <a:ahLst/>
                  <a:cxnLst>
                    <a:cxn ang="T10">
                      <a:pos x="T0" y="T1"/>
                    </a:cxn>
                    <a:cxn ang="T11">
                      <a:pos x="T2" y="T3"/>
                    </a:cxn>
                    <a:cxn ang="T12">
                      <a:pos x="T4" y="T5"/>
                    </a:cxn>
                    <a:cxn ang="T13">
                      <a:pos x="T6" y="T7"/>
                    </a:cxn>
                    <a:cxn ang="T14">
                      <a:pos x="T8" y="T9"/>
                    </a:cxn>
                  </a:cxnLst>
                  <a:rect l="T15" t="T16" r="T17" b="T18"/>
                  <a:pathLst>
                    <a:path w="65" h="14">
                      <a:moveTo>
                        <a:pt x="0" y="14"/>
                      </a:moveTo>
                      <a:lnTo>
                        <a:pt x="65" y="12"/>
                      </a:lnTo>
                      <a:lnTo>
                        <a:pt x="65" y="0"/>
                      </a:lnTo>
                      <a:lnTo>
                        <a:pt x="0" y="1"/>
                      </a:lnTo>
                      <a:lnTo>
                        <a:pt x="0" y="14"/>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1" name="Freeform 48"/>
                <p:cNvSpPr>
                  <a:spLocks/>
                </p:cNvSpPr>
                <p:nvPr/>
              </p:nvSpPr>
              <p:spPr bwMode="gray">
                <a:xfrm>
                  <a:off x="3942" y="2027"/>
                  <a:ext cx="506" cy="31"/>
                </a:xfrm>
                <a:custGeom>
                  <a:avLst/>
                  <a:gdLst>
                    <a:gd name="T0" fmla="*/ 506 w 506"/>
                    <a:gd name="T1" fmla="*/ 0 h 31"/>
                    <a:gd name="T2" fmla="*/ 506 w 506"/>
                    <a:gd name="T3" fmla="*/ 9 h 31"/>
                    <a:gd name="T4" fmla="*/ 0 w 506"/>
                    <a:gd name="T5" fmla="*/ 31 h 31"/>
                    <a:gd name="T6" fmla="*/ 0 w 506"/>
                    <a:gd name="T7" fmla="*/ 21 h 31"/>
                    <a:gd name="T8" fmla="*/ 506 w 506"/>
                    <a:gd name="T9" fmla="*/ 0 h 31"/>
                    <a:gd name="T10" fmla="*/ 0 60000 65536"/>
                    <a:gd name="T11" fmla="*/ 0 60000 65536"/>
                    <a:gd name="T12" fmla="*/ 0 60000 65536"/>
                    <a:gd name="T13" fmla="*/ 0 60000 65536"/>
                    <a:gd name="T14" fmla="*/ 0 60000 65536"/>
                    <a:gd name="T15" fmla="*/ 0 w 506"/>
                    <a:gd name="T16" fmla="*/ 0 h 31"/>
                    <a:gd name="T17" fmla="*/ 506 w 506"/>
                    <a:gd name="T18" fmla="*/ 31 h 31"/>
                  </a:gdLst>
                  <a:ahLst/>
                  <a:cxnLst>
                    <a:cxn ang="T10">
                      <a:pos x="T0" y="T1"/>
                    </a:cxn>
                    <a:cxn ang="T11">
                      <a:pos x="T2" y="T3"/>
                    </a:cxn>
                    <a:cxn ang="T12">
                      <a:pos x="T4" y="T5"/>
                    </a:cxn>
                    <a:cxn ang="T13">
                      <a:pos x="T6" y="T7"/>
                    </a:cxn>
                    <a:cxn ang="T14">
                      <a:pos x="T8" y="T9"/>
                    </a:cxn>
                  </a:cxnLst>
                  <a:rect l="T15" t="T16" r="T17" b="T18"/>
                  <a:pathLst>
                    <a:path w="506" h="31">
                      <a:moveTo>
                        <a:pt x="506" y="0"/>
                      </a:moveTo>
                      <a:lnTo>
                        <a:pt x="506" y="9"/>
                      </a:lnTo>
                      <a:lnTo>
                        <a:pt x="0" y="31"/>
                      </a:lnTo>
                      <a:lnTo>
                        <a:pt x="0" y="21"/>
                      </a:lnTo>
                      <a:lnTo>
                        <a:pt x="506" y="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2" name="Freeform 49"/>
                <p:cNvSpPr>
                  <a:spLocks/>
                </p:cNvSpPr>
                <p:nvPr/>
              </p:nvSpPr>
              <p:spPr bwMode="gray">
                <a:xfrm>
                  <a:off x="3855" y="1869"/>
                  <a:ext cx="86" cy="117"/>
                </a:xfrm>
                <a:custGeom>
                  <a:avLst/>
                  <a:gdLst>
                    <a:gd name="T0" fmla="*/ 16 w 86"/>
                    <a:gd name="T1" fmla="*/ 5 h 117"/>
                    <a:gd name="T2" fmla="*/ 17 w 86"/>
                    <a:gd name="T3" fmla="*/ 35 h 117"/>
                    <a:gd name="T4" fmla="*/ 17 w 86"/>
                    <a:gd name="T5" fmla="*/ 99 h 117"/>
                    <a:gd name="T6" fmla="*/ 17 w 86"/>
                    <a:gd name="T7" fmla="*/ 116 h 117"/>
                    <a:gd name="T8" fmla="*/ 29 w 86"/>
                    <a:gd name="T9" fmla="*/ 113 h 117"/>
                    <a:gd name="T10" fmla="*/ 29 w 86"/>
                    <a:gd name="T11" fmla="*/ 14 h 117"/>
                    <a:gd name="T12" fmla="*/ 41 w 86"/>
                    <a:gd name="T13" fmla="*/ 15 h 117"/>
                    <a:gd name="T14" fmla="*/ 43 w 86"/>
                    <a:gd name="T15" fmla="*/ 113 h 117"/>
                    <a:gd name="T16" fmla="*/ 55 w 86"/>
                    <a:gd name="T17" fmla="*/ 114 h 117"/>
                    <a:gd name="T18" fmla="*/ 53 w 86"/>
                    <a:gd name="T19" fmla="*/ 14 h 117"/>
                    <a:gd name="T20" fmla="*/ 69 w 86"/>
                    <a:gd name="T21" fmla="*/ 14 h 117"/>
                    <a:gd name="T22" fmla="*/ 69 w 86"/>
                    <a:gd name="T23" fmla="*/ 114 h 117"/>
                    <a:gd name="T24" fmla="*/ 82 w 86"/>
                    <a:gd name="T25" fmla="*/ 116 h 117"/>
                    <a:gd name="T26" fmla="*/ 80 w 86"/>
                    <a:gd name="T27" fmla="*/ 99 h 117"/>
                    <a:gd name="T28" fmla="*/ 74 w 86"/>
                    <a:gd name="T29" fmla="*/ 5 h 117"/>
                    <a:gd name="T30" fmla="*/ 50 w 86"/>
                    <a:gd name="T31" fmla="*/ 6 h 117"/>
                    <a:gd name="T32" fmla="*/ 32 w 86"/>
                    <a:gd name="T33" fmla="*/ 3 h 117"/>
                    <a:gd name="T34" fmla="*/ 17 w 86"/>
                    <a:gd name="T35" fmla="*/ 0 h 117"/>
                    <a:gd name="T36" fmla="*/ 4 w 86"/>
                    <a:gd name="T37" fmla="*/ 5 h 117"/>
                    <a:gd name="T38" fmla="*/ 14 w 86"/>
                    <a:gd name="T39" fmla="*/ 12 h 117"/>
                    <a:gd name="T40" fmla="*/ 16 w 86"/>
                    <a:gd name="T41" fmla="*/ 5 h 1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117"/>
                    <a:gd name="T65" fmla="*/ 86 w 86"/>
                    <a:gd name="T66" fmla="*/ 117 h 1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117">
                      <a:moveTo>
                        <a:pt x="16" y="5"/>
                      </a:moveTo>
                      <a:cubicBezTo>
                        <a:pt x="17" y="34"/>
                        <a:pt x="17" y="24"/>
                        <a:pt x="17" y="35"/>
                      </a:cubicBezTo>
                      <a:lnTo>
                        <a:pt x="17" y="99"/>
                      </a:lnTo>
                      <a:cubicBezTo>
                        <a:pt x="16" y="116"/>
                        <a:pt x="10" y="116"/>
                        <a:pt x="17" y="116"/>
                      </a:cubicBezTo>
                      <a:lnTo>
                        <a:pt x="29" y="113"/>
                      </a:lnTo>
                      <a:lnTo>
                        <a:pt x="29" y="14"/>
                      </a:lnTo>
                      <a:lnTo>
                        <a:pt x="41" y="15"/>
                      </a:lnTo>
                      <a:cubicBezTo>
                        <a:pt x="42" y="48"/>
                        <a:pt x="41" y="80"/>
                        <a:pt x="43" y="113"/>
                      </a:cubicBezTo>
                      <a:cubicBezTo>
                        <a:pt x="43" y="117"/>
                        <a:pt x="55" y="114"/>
                        <a:pt x="55" y="114"/>
                      </a:cubicBezTo>
                      <a:cubicBezTo>
                        <a:pt x="54" y="81"/>
                        <a:pt x="52" y="47"/>
                        <a:pt x="53" y="14"/>
                      </a:cubicBezTo>
                      <a:cubicBezTo>
                        <a:pt x="53" y="9"/>
                        <a:pt x="63" y="15"/>
                        <a:pt x="69" y="14"/>
                      </a:cubicBezTo>
                      <a:cubicBezTo>
                        <a:pt x="66" y="48"/>
                        <a:pt x="67" y="74"/>
                        <a:pt x="69" y="114"/>
                      </a:cubicBezTo>
                      <a:cubicBezTo>
                        <a:pt x="64" y="108"/>
                        <a:pt x="80" y="117"/>
                        <a:pt x="82" y="116"/>
                      </a:cubicBezTo>
                      <a:cubicBezTo>
                        <a:pt x="84" y="115"/>
                        <a:pt x="80" y="99"/>
                        <a:pt x="80" y="99"/>
                      </a:cubicBezTo>
                      <a:cubicBezTo>
                        <a:pt x="77" y="60"/>
                        <a:pt x="86" y="6"/>
                        <a:pt x="74" y="5"/>
                      </a:cubicBezTo>
                      <a:cubicBezTo>
                        <a:pt x="68" y="2"/>
                        <a:pt x="53" y="0"/>
                        <a:pt x="50" y="6"/>
                      </a:cubicBezTo>
                      <a:cubicBezTo>
                        <a:pt x="43" y="1"/>
                        <a:pt x="40" y="2"/>
                        <a:pt x="32" y="3"/>
                      </a:cubicBezTo>
                      <a:cubicBezTo>
                        <a:pt x="26" y="8"/>
                        <a:pt x="24" y="2"/>
                        <a:pt x="17" y="0"/>
                      </a:cubicBezTo>
                      <a:cubicBezTo>
                        <a:pt x="13" y="2"/>
                        <a:pt x="8" y="3"/>
                        <a:pt x="4" y="5"/>
                      </a:cubicBezTo>
                      <a:cubicBezTo>
                        <a:pt x="0" y="14"/>
                        <a:pt x="7" y="14"/>
                        <a:pt x="14" y="12"/>
                      </a:cubicBezTo>
                      <a:cubicBezTo>
                        <a:pt x="16" y="7"/>
                        <a:pt x="16" y="9"/>
                        <a:pt x="16" y="5"/>
                      </a:cubicBez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3" name="Freeform 50"/>
                <p:cNvSpPr>
                  <a:spLocks/>
                </p:cNvSpPr>
                <p:nvPr/>
              </p:nvSpPr>
              <p:spPr bwMode="gray">
                <a:xfrm>
                  <a:off x="3860" y="1866"/>
                  <a:ext cx="86" cy="117"/>
                </a:xfrm>
                <a:custGeom>
                  <a:avLst/>
                  <a:gdLst>
                    <a:gd name="T0" fmla="*/ 16 w 86"/>
                    <a:gd name="T1" fmla="*/ 5 h 117"/>
                    <a:gd name="T2" fmla="*/ 17 w 86"/>
                    <a:gd name="T3" fmla="*/ 35 h 117"/>
                    <a:gd name="T4" fmla="*/ 17 w 86"/>
                    <a:gd name="T5" fmla="*/ 99 h 117"/>
                    <a:gd name="T6" fmla="*/ 17 w 86"/>
                    <a:gd name="T7" fmla="*/ 116 h 117"/>
                    <a:gd name="T8" fmla="*/ 29 w 86"/>
                    <a:gd name="T9" fmla="*/ 113 h 117"/>
                    <a:gd name="T10" fmla="*/ 29 w 86"/>
                    <a:gd name="T11" fmla="*/ 14 h 117"/>
                    <a:gd name="T12" fmla="*/ 41 w 86"/>
                    <a:gd name="T13" fmla="*/ 15 h 117"/>
                    <a:gd name="T14" fmla="*/ 43 w 86"/>
                    <a:gd name="T15" fmla="*/ 113 h 117"/>
                    <a:gd name="T16" fmla="*/ 55 w 86"/>
                    <a:gd name="T17" fmla="*/ 114 h 117"/>
                    <a:gd name="T18" fmla="*/ 53 w 86"/>
                    <a:gd name="T19" fmla="*/ 14 h 117"/>
                    <a:gd name="T20" fmla="*/ 69 w 86"/>
                    <a:gd name="T21" fmla="*/ 14 h 117"/>
                    <a:gd name="T22" fmla="*/ 69 w 86"/>
                    <a:gd name="T23" fmla="*/ 114 h 117"/>
                    <a:gd name="T24" fmla="*/ 82 w 86"/>
                    <a:gd name="T25" fmla="*/ 116 h 117"/>
                    <a:gd name="T26" fmla="*/ 80 w 86"/>
                    <a:gd name="T27" fmla="*/ 99 h 117"/>
                    <a:gd name="T28" fmla="*/ 74 w 86"/>
                    <a:gd name="T29" fmla="*/ 5 h 117"/>
                    <a:gd name="T30" fmla="*/ 50 w 86"/>
                    <a:gd name="T31" fmla="*/ 6 h 117"/>
                    <a:gd name="T32" fmla="*/ 32 w 86"/>
                    <a:gd name="T33" fmla="*/ 3 h 117"/>
                    <a:gd name="T34" fmla="*/ 17 w 86"/>
                    <a:gd name="T35" fmla="*/ 0 h 117"/>
                    <a:gd name="T36" fmla="*/ 4 w 86"/>
                    <a:gd name="T37" fmla="*/ 5 h 117"/>
                    <a:gd name="T38" fmla="*/ 14 w 86"/>
                    <a:gd name="T39" fmla="*/ 12 h 117"/>
                    <a:gd name="T40" fmla="*/ 16 w 86"/>
                    <a:gd name="T41" fmla="*/ 5 h 1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117"/>
                    <a:gd name="T65" fmla="*/ 86 w 86"/>
                    <a:gd name="T66" fmla="*/ 117 h 1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117">
                      <a:moveTo>
                        <a:pt x="16" y="5"/>
                      </a:moveTo>
                      <a:cubicBezTo>
                        <a:pt x="17" y="34"/>
                        <a:pt x="17" y="24"/>
                        <a:pt x="17" y="35"/>
                      </a:cubicBezTo>
                      <a:lnTo>
                        <a:pt x="17" y="99"/>
                      </a:lnTo>
                      <a:cubicBezTo>
                        <a:pt x="16" y="116"/>
                        <a:pt x="10" y="116"/>
                        <a:pt x="17" y="116"/>
                      </a:cubicBezTo>
                      <a:lnTo>
                        <a:pt x="29" y="113"/>
                      </a:lnTo>
                      <a:lnTo>
                        <a:pt x="29" y="14"/>
                      </a:lnTo>
                      <a:lnTo>
                        <a:pt x="41" y="15"/>
                      </a:lnTo>
                      <a:cubicBezTo>
                        <a:pt x="42" y="48"/>
                        <a:pt x="41" y="80"/>
                        <a:pt x="43" y="113"/>
                      </a:cubicBezTo>
                      <a:cubicBezTo>
                        <a:pt x="43" y="117"/>
                        <a:pt x="55" y="114"/>
                        <a:pt x="55" y="114"/>
                      </a:cubicBezTo>
                      <a:cubicBezTo>
                        <a:pt x="54" y="81"/>
                        <a:pt x="52" y="47"/>
                        <a:pt x="53" y="14"/>
                      </a:cubicBezTo>
                      <a:cubicBezTo>
                        <a:pt x="53" y="9"/>
                        <a:pt x="63" y="15"/>
                        <a:pt x="69" y="14"/>
                      </a:cubicBezTo>
                      <a:cubicBezTo>
                        <a:pt x="66" y="48"/>
                        <a:pt x="67" y="74"/>
                        <a:pt x="69" y="114"/>
                      </a:cubicBezTo>
                      <a:cubicBezTo>
                        <a:pt x="64" y="108"/>
                        <a:pt x="80" y="117"/>
                        <a:pt x="82" y="116"/>
                      </a:cubicBezTo>
                      <a:cubicBezTo>
                        <a:pt x="84" y="115"/>
                        <a:pt x="80" y="99"/>
                        <a:pt x="80" y="99"/>
                      </a:cubicBezTo>
                      <a:cubicBezTo>
                        <a:pt x="77" y="60"/>
                        <a:pt x="86" y="6"/>
                        <a:pt x="74" y="5"/>
                      </a:cubicBezTo>
                      <a:cubicBezTo>
                        <a:pt x="68" y="2"/>
                        <a:pt x="53" y="0"/>
                        <a:pt x="50" y="6"/>
                      </a:cubicBezTo>
                      <a:cubicBezTo>
                        <a:pt x="43" y="1"/>
                        <a:pt x="40" y="2"/>
                        <a:pt x="32" y="3"/>
                      </a:cubicBezTo>
                      <a:cubicBezTo>
                        <a:pt x="26" y="8"/>
                        <a:pt x="24" y="2"/>
                        <a:pt x="17" y="0"/>
                      </a:cubicBezTo>
                      <a:cubicBezTo>
                        <a:pt x="13" y="2"/>
                        <a:pt x="8" y="3"/>
                        <a:pt x="4" y="5"/>
                      </a:cubicBezTo>
                      <a:cubicBezTo>
                        <a:pt x="0" y="14"/>
                        <a:pt x="7" y="14"/>
                        <a:pt x="14" y="12"/>
                      </a:cubicBezTo>
                      <a:cubicBezTo>
                        <a:pt x="16" y="7"/>
                        <a:pt x="16" y="9"/>
                        <a:pt x="16" y="5"/>
                      </a:cubicBezTo>
                      <a:close/>
                    </a:path>
                  </a:pathLst>
                </a:custGeom>
                <a:solidFill>
                  <a:srgbClr val="969696"/>
                </a:solidFill>
                <a:ln w="9525">
                  <a:noFill/>
                  <a:round/>
                  <a:headEnd/>
                  <a:tailEnd/>
                </a:ln>
              </p:spPr>
              <p:txBody>
                <a:bodyPr/>
                <a:lstStyle/>
                <a:p>
                  <a:pPr defTabSz="912546"/>
                  <a:endParaRPr>
                    <a:solidFill>
                      <a:srgbClr val="000000"/>
                    </a:solidFill>
                  </a:endParaRPr>
                </a:p>
              </p:txBody>
            </p:sp>
            <p:sp>
              <p:nvSpPr>
                <p:cNvPr id="442364" name="Freeform 51"/>
                <p:cNvSpPr>
                  <a:spLocks/>
                </p:cNvSpPr>
                <p:nvPr/>
              </p:nvSpPr>
              <p:spPr bwMode="gray">
                <a:xfrm>
                  <a:off x="3807" y="1844"/>
                  <a:ext cx="194" cy="12"/>
                </a:xfrm>
                <a:custGeom>
                  <a:avLst/>
                  <a:gdLst>
                    <a:gd name="T0" fmla="*/ 194 w 194"/>
                    <a:gd name="T1" fmla="*/ 0 h 12"/>
                    <a:gd name="T2" fmla="*/ 192 w 194"/>
                    <a:gd name="T3" fmla="*/ 6 h 12"/>
                    <a:gd name="T4" fmla="*/ 0 w 194"/>
                    <a:gd name="T5" fmla="*/ 12 h 12"/>
                    <a:gd name="T6" fmla="*/ 0 w 194"/>
                    <a:gd name="T7" fmla="*/ 6 h 12"/>
                    <a:gd name="T8" fmla="*/ 194 w 194"/>
                    <a:gd name="T9" fmla="*/ 0 h 12"/>
                    <a:gd name="T10" fmla="*/ 0 60000 65536"/>
                    <a:gd name="T11" fmla="*/ 0 60000 65536"/>
                    <a:gd name="T12" fmla="*/ 0 60000 65536"/>
                    <a:gd name="T13" fmla="*/ 0 60000 65536"/>
                    <a:gd name="T14" fmla="*/ 0 60000 65536"/>
                    <a:gd name="T15" fmla="*/ 0 w 194"/>
                    <a:gd name="T16" fmla="*/ 0 h 12"/>
                    <a:gd name="T17" fmla="*/ 194 w 194"/>
                    <a:gd name="T18" fmla="*/ 12 h 12"/>
                  </a:gdLst>
                  <a:ahLst/>
                  <a:cxnLst>
                    <a:cxn ang="T10">
                      <a:pos x="T0" y="T1"/>
                    </a:cxn>
                    <a:cxn ang="T11">
                      <a:pos x="T2" y="T3"/>
                    </a:cxn>
                    <a:cxn ang="T12">
                      <a:pos x="T4" y="T5"/>
                    </a:cxn>
                    <a:cxn ang="T13">
                      <a:pos x="T6" y="T7"/>
                    </a:cxn>
                    <a:cxn ang="T14">
                      <a:pos x="T8" y="T9"/>
                    </a:cxn>
                  </a:cxnLst>
                  <a:rect l="T15" t="T16" r="T17" b="T18"/>
                  <a:pathLst>
                    <a:path w="194" h="12">
                      <a:moveTo>
                        <a:pt x="194" y="0"/>
                      </a:moveTo>
                      <a:lnTo>
                        <a:pt x="192" y="6"/>
                      </a:lnTo>
                      <a:lnTo>
                        <a:pt x="0" y="12"/>
                      </a:lnTo>
                      <a:lnTo>
                        <a:pt x="0" y="6"/>
                      </a:lnTo>
                      <a:lnTo>
                        <a:pt x="194" y="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5" name="Freeform 52"/>
                <p:cNvSpPr>
                  <a:spLocks/>
                </p:cNvSpPr>
                <p:nvPr/>
              </p:nvSpPr>
              <p:spPr bwMode="gray">
                <a:xfrm>
                  <a:off x="3713" y="2042"/>
                  <a:ext cx="60" cy="99"/>
                </a:xfrm>
                <a:custGeom>
                  <a:avLst/>
                  <a:gdLst>
                    <a:gd name="T0" fmla="*/ 60 w 60"/>
                    <a:gd name="T1" fmla="*/ 32 h 99"/>
                    <a:gd name="T2" fmla="*/ 0 w 60"/>
                    <a:gd name="T3" fmla="*/ 0 h 99"/>
                    <a:gd name="T4" fmla="*/ 0 w 60"/>
                    <a:gd name="T5" fmla="*/ 66 h 99"/>
                    <a:gd name="T6" fmla="*/ 57 w 60"/>
                    <a:gd name="T7" fmla="*/ 99 h 99"/>
                    <a:gd name="T8" fmla="*/ 60 w 60"/>
                    <a:gd name="T9" fmla="*/ 32 h 99"/>
                    <a:gd name="T10" fmla="*/ 0 60000 65536"/>
                    <a:gd name="T11" fmla="*/ 0 60000 65536"/>
                    <a:gd name="T12" fmla="*/ 0 60000 65536"/>
                    <a:gd name="T13" fmla="*/ 0 60000 65536"/>
                    <a:gd name="T14" fmla="*/ 0 60000 65536"/>
                    <a:gd name="T15" fmla="*/ 0 w 60"/>
                    <a:gd name="T16" fmla="*/ 0 h 99"/>
                    <a:gd name="T17" fmla="*/ 60 w 60"/>
                    <a:gd name="T18" fmla="*/ 99 h 99"/>
                  </a:gdLst>
                  <a:ahLst/>
                  <a:cxnLst>
                    <a:cxn ang="T10">
                      <a:pos x="T0" y="T1"/>
                    </a:cxn>
                    <a:cxn ang="T11">
                      <a:pos x="T2" y="T3"/>
                    </a:cxn>
                    <a:cxn ang="T12">
                      <a:pos x="T4" y="T5"/>
                    </a:cxn>
                    <a:cxn ang="T13">
                      <a:pos x="T6" y="T7"/>
                    </a:cxn>
                    <a:cxn ang="T14">
                      <a:pos x="T8" y="T9"/>
                    </a:cxn>
                  </a:cxnLst>
                  <a:rect l="T15" t="T16" r="T17" b="T18"/>
                  <a:pathLst>
                    <a:path w="60" h="99">
                      <a:moveTo>
                        <a:pt x="60" y="32"/>
                      </a:moveTo>
                      <a:lnTo>
                        <a:pt x="0" y="0"/>
                      </a:lnTo>
                      <a:lnTo>
                        <a:pt x="0" y="66"/>
                      </a:lnTo>
                      <a:lnTo>
                        <a:pt x="57" y="99"/>
                      </a:lnTo>
                      <a:lnTo>
                        <a:pt x="60" y="32"/>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2366" name="Freeform 53"/>
                <p:cNvSpPr>
                  <a:spLocks/>
                </p:cNvSpPr>
                <p:nvPr/>
              </p:nvSpPr>
              <p:spPr bwMode="gray">
                <a:xfrm>
                  <a:off x="3812" y="2006"/>
                  <a:ext cx="88" cy="51"/>
                </a:xfrm>
                <a:custGeom>
                  <a:avLst/>
                  <a:gdLst>
                    <a:gd name="T0" fmla="*/ 88 w 88"/>
                    <a:gd name="T1" fmla="*/ 40 h 51"/>
                    <a:gd name="T2" fmla="*/ 87 w 88"/>
                    <a:gd name="T3" fmla="*/ 51 h 51"/>
                    <a:gd name="T4" fmla="*/ 0 w 88"/>
                    <a:gd name="T5" fmla="*/ 10 h 51"/>
                    <a:gd name="T6" fmla="*/ 0 w 88"/>
                    <a:gd name="T7" fmla="*/ 0 h 51"/>
                    <a:gd name="T8" fmla="*/ 88 w 88"/>
                    <a:gd name="T9" fmla="*/ 40 h 51"/>
                    <a:gd name="T10" fmla="*/ 0 60000 65536"/>
                    <a:gd name="T11" fmla="*/ 0 60000 65536"/>
                    <a:gd name="T12" fmla="*/ 0 60000 65536"/>
                    <a:gd name="T13" fmla="*/ 0 60000 65536"/>
                    <a:gd name="T14" fmla="*/ 0 60000 65536"/>
                    <a:gd name="T15" fmla="*/ 0 w 88"/>
                    <a:gd name="T16" fmla="*/ 0 h 51"/>
                    <a:gd name="T17" fmla="*/ 88 w 88"/>
                    <a:gd name="T18" fmla="*/ 51 h 51"/>
                  </a:gdLst>
                  <a:ahLst/>
                  <a:cxnLst>
                    <a:cxn ang="T10">
                      <a:pos x="T0" y="T1"/>
                    </a:cxn>
                    <a:cxn ang="T11">
                      <a:pos x="T2" y="T3"/>
                    </a:cxn>
                    <a:cxn ang="T12">
                      <a:pos x="T4" y="T5"/>
                    </a:cxn>
                    <a:cxn ang="T13">
                      <a:pos x="T6" y="T7"/>
                    </a:cxn>
                    <a:cxn ang="T14">
                      <a:pos x="T8" y="T9"/>
                    </a:cxn>
                  </a:cxnLst>
                  <a:rect l="T15" t="T16" r="T17" b="T18"/>
                  <a:pathLst>
                    <a:path w="88" h="51">
                      <a:moveTo>
                        <a:pt x="88" y="40"/>
                      </a:moveTo>
                      <a:lnTo>
                        <a:pt x="87" y="51"/>
                      </a:lnTo>
                      <a:lnTo>
                        <a:pt x="0" y="10"/>
                      </a:lnTo>
                      <a:lnTo>
                        <a:pt x="0" y="0"/>
                      </a:lnTo>
                      <a:lnTo>
                        <a:pt x="88" y="40"/>
                      </a:lnTo>
                      <a:close/>
                    </a:path>
                  </a:pathLst>
                </a:custGeom>
                <a:solidFill>
                  <a:srgbClr val="808080"/>
                </a:solidFill>
                <a:ln w="9525">
                  <a:noFill/>
                  <a:round/>
                  <a:headEnd/>
                  <a:tailEnd/>
                </a:ln>
              </p:spPr>
              <p:txBody>
                <a:bodyPr/>
                <a:lstStyle/>
                <a:p>
                  <a:pPr defTabSz="912546"/>
                  <a:endParaRPr>
                    <a:solidFill>
                      <a:srgbClr val="000000"/>
                    </a:solidFill>
                  </a:endParaRPr>
                </a:p>
              </p:txBody>
            </p:sp>
            <p:sp>
              <p:nvSpPr>
                <p:cNvPr id="442367" name="Freeform 54"/>
                <p:cNvSpPr>
                  <a:spLocks/>
                </p:cNvSpPr>
                <p:nvPr/>
              </p:nvSpPr>
              <p:spPr bwMode="gray">
                <a:xfrm>
                  <a:off x="3612" y="1913"/>
                  <a:ext cx="66" cy="42"/>
                </a:xfrm>
                <a:custGeom>
                  <a:avLst/>
                  <a:gdLst>
                    <a:gd name="T0" fmla="*/ 66 w 66"/>
                    <a:gd name="T1" fmla="*/ 33 h 42"/>
                    <a:gd name="T2" fmla="*/ 65 w 66"/>
                    <a:gd name="T3" fmla="*/ 42 h 42"/>
                    <a:gd name="T4" fmla="*/ 0 w 66"/>
                    <a:gd name="T5" fmla="*/ 7 h 42"/>
                    <a:gd name="T6" fmla="*/ 0 w 66"/>
                    <a:gd name="T7" fmla="*/ 0 h 42"/>
                    <a:gd name="T8" fmla="*/ 66 w 66"/>
                    <a:gd name="T9" fmla="*/ 33 h 42"/>
                    <a:gd name="T10" fmla="*/ 0 60000 65536"/>
                    <a:gd name="T11" fmla="*/ 0 60000 65536"/>
                    <a:gd name="T12" fmla="*/ 0 60000 65536"/>
                    <a:gd name="T13" fmla="*/ 0 60000 65536"/>
                    <a:gd name="T14" fmla="*/ 0 60000 65536"/>
                    <a:gd name="T15" fmla="*/ 0 w 66"/>
                    <a:gd name="T16" fmla="*/ 0 h 42"/>
                    <a:gd name="T17" fmla="*/ 66 w 66"/>
                    <a:gd name="T18" fmla="*/ 42 h 42"/>
                  </a:gdLst>
                  <a:ahLst/>
                  <a:cxnLst>
                    <a:cxn ang="T10">
                      <a:pos x="T0" y="T1"/>
                    </a:cxn>
                    <a:cxn ang="T11">
                      <a:pos x="T2" y="T3"/>
                    </a:cxn>
                    <a:cxn ang="T12">
                      <a:pos x="T4" y="T5"/>
                    </a:cxn>
                    <a:cxn ang="T13">
                      <a:pos x="T6" y="T7"/>
                    </a:cxn>
                    <a:cxn ang="T14">
                      <a:pos x="T8" y="T9"/>
                    </a:cxn>
                  </a:cxnLst>
                  <a:rect l="T15" t="T16" r="T17" b="T18"/>
                  <a:pathLst>
                    <a:path w="66" h="42">
                      <a:moveTo>
                        <a:pt x="66" y="33"/>
                      </a:moveTo>
                      <a:lnTo>
                        <a:pt x="65" y="42"/>
                      </a:lnTo>
                      <a:lnTo>
                        <a:pt x="0" y="7"/>
                      </a:lnTo>
                      <a:lnTo>
                        <a:pt x="0" y="0"/>
                      </a:lnTo>
                      <a:lnTo>
                        <a:pt x="66" y="33"/>
                      </a:lnTo>
                      <a:close/>
                    </a:path>
                  </a:pathLst>
                </a:custGeom>
                <a:solidFill>
                  <a:srgbClr val="808080"/>
                </a:solidFill>
                <a:ln w="9525">
                  <a:noFill/>
                  <a:round/>
                  <a:headEnd/>
                  <a:tailEnd/>
                </a:ln>
              </p:spPr>
              <p:txBody>
                <a:bodyPr/>
                <a:lstStyle/>
                <a:p>
                  <a:pPr defTabSz="912546"/>
                  <a:endParaRPr>
                    <a:solidFill>
                      <a:srgbClr val="000000"/>
                    </a:solidFill>
                  </a:endParaRPr>
                </a:p>
              </p:txBody>
            </p:sp>
            <p:sp>
              <p:nvSpPr>
                <p:cNvPr id="553984" name="Freeform 55"/>
                <p:cNvSpPr>
                  <a:spLocks/>
                </p:cNvSpPr>
                <p:nvPr/>
              </p:nvSpPr>
              <p:spPr bwMode="gray">
                <a:xfrm>
                  <a:off x="3716" y="1843"/>
                  <a:ext cx="17" cy="51"/>
                </a:xfrm>
                <a:custGeom>
                  <a:avLst/>
                  <a:gdLst>
                    <a:gd name="T0" fmla="*/ 17 w 17"/>
                    <a:gd name="T1" fmla="*/ 6 h 51"/>
                    <a:gd name="T2" fmla="*/ 0 w 17"/>
                    <a:gd name="T3" fmla="*/ 0 h 51"/>
                    <a:gd name="T4" fmla="*/ 1 w 17"/>
                    <a:gd name="T5" fmla="*/ 43 h 51"/>
                    <a:gd name="T6" fmla="*/ 16 w 17"/>
                    <a:gd name="T7" fmla="*/ 51 h 51"/>
                    <a:gd name="T8" fmla="*/ 17 w 17"/>
                    <a:gd name="T9" fmla="*/ 6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17" y="6"/>
                      </a:moveTo>
                      <a:lnTo>
                        <a:pt x="0" y="0"/>
                      </a:lnTo>
                      <a:lnTo>
                        <a:pt x="1" y="43"/>
                      </a:lnTo>
                      <a:lnTo>
                        <a:pt x="16" y="51"/>
                      </a:lnTo>
                      <a:lnTo>
                        <a:pt x="17"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85" name="Freeform 56"/>
                <p:cNvSpPr>
                  <a:spLocks/>
                </p:cNvSpPr>
                <p:nvPr/>
              </p:nvSpPr>
              <p:spPr bwMode="gray">
                <a:xfrm>
                  <a:off x="3756" y="1859"/>
                  <a:ext cx="18" cy="54"/>
                </a:xfrm>
                <a:custGeom>
                  <a:avLst/>
                  <a:gdLst>
                    <a:gd name="T0" fmla="*/ 18 w 18"/>
                    <a:gd name="T1" fmla="*/ 6 h 54"/>
                    <a:gd name="T2" fmla="*/ 0 w 18"/>
                    <a:gd name="T3" fmla="*/ 0 h 54"/>
                    <a:gd name="T4" fmla="*/ 0 w 18"/>
                    <a:gd name="T5" fmla="*/ 48 h 54"/>
                    <a:gd name="T6" fmla="*/ 16 w 18"/>
                    <a:gd name="T7" fmla="*/ 54 h 54"/>
                    <a:gd name="T8" fmla="*/ 18 w 18"/>
                    <a:gd name="T9" fmla="*/ 6 h 54"/>
                    <a:gd name="T10" fmla="*/ 0 60000 65536"/>
                    <a:gd name="T11" fmla="*/ 0 60000 65536"/>
                    <a:gd name="T12" fmla="*/ 0 60000 65536"/>
                    <a:gd name="T13" fmla="*/ 0 60000 65536"/>
                    <a:gd name="T14" fmla="*/ 0 60000 65536"/>
                    <a:gd name="T15" fmla="*/ 0 w 18"/>
                    <a:gd name="T16" fmla="*/ 0 h 54"/>
                    <a:gd name="T17" fmla="*/ 18 w 18"/>
                    <a:gd name="T18" fmla="*/ 54 h 54"/>
                  </a:gdLst>
                  <a:ahLst/>
                  <a:cxnLst>
                    <a:cxn ang="T10">
                      <a:pos x="T0" y="T1"/>
                    </a:cxn>
                    <a:cxn ang="T11">
                      <a:pos x="T2" y="T3"/>
                    </a:cxn>
                    <a:cxn ang="T12">
                      <a:pos x="T4" y="T5"/>
                    </a:cxn>
                    <a:cxn ang="T13">
                      <a:pos x="T6" y="T7"/>
                    </a:cxn>
                    <a:cxn ang="T14">
                      <a:pos x="T8" y="T9"/>
                    </a:cxn>
                  </a:cxnLst>
                  <a:rect l="T15" t="T16" r="T17" b="T18"/>
                  <a:pathLst>
                    <a:path w="18" h="54">
                      <a:moveTo>
                        <a:pt x="18" y="6"/>
                      </a:moveTo>
                      <a:lnTo>
                        <a:pt x="0" y="0"/>
                      </a:lnTo>
                      <a:lnTo>
                        <a:pt x="0" y="48"/>
                      </a:lnTo>
                      <a:lnTo>
                        <a:pt x="16" y="54"/>
                      </a:lnTo>
                      <a:lnTo>
                        <a:pt x="18"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86" name="Freeform 57"/>
                <p:cNvSpPr>
                  <a:spLocks/>
                </p:cNvSpPr>
                <p:nvPr/>
              </p:nvSpPr>
              <p:spPr bwMode="gray">
                <a:xfrm>
                  <a:off x="3618" y="2025"/>
                  <a:ext cx="14" cy="32"/>
                </a:xfrm>
                <a:custGeom>
                  <a:avLst/>
                  <a:gdLst>
                    <a:gd name="T0" fmla="*/ 14 w 14"/>
                    <a:gd name="T1" fmla="*/ 8 h 32"/>
                    <a:gd name="T2" fmla="*/ 0 w 14"/>
                    <a:gd name="T3" fmla="*/ 0 h 32"/>
                    <a:gd name="T4" fmla="*/ 0 w 14"/>
                    <a:gd name="T5" fmla="*/ 23 h 32"/>
                    <a:gd name="T6" fmla="*/ 14 w 14"/>
                    <a:gd name="T7" fmla="*/ 32 h 32"/>
                    <a:gd name="T8" fmla="*/ 14 w 14"/>
                    <a:gd name="T9" fmla="*/ 8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8"/>
                      </a:moveTo>
                      <a:lnTo>
                        <a:pt x="0" y="0"/>
                      </a:lnTo>
                      <a:lnTo>
                        <a:pt x="0" y="23"/>
                      </a:lnTo>
                      <a:lnTo>
                        <a:pt x="14" y="32"/>
                      </a:lnTo>
                      <a:lnTo>
                        <a:pt x="14" y="8"/>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87" name="Freeform 58"/>
                <p:cNvSpPr>
                  <a:spLocks/>
                </p:cNvSpPr>
                <p:nvPr/>
              </p:nvSpPr>
              <p:spPr bwMode="gray">
                <a:xfrm>
                  <a:off x="3642" y="2040"/>
                  <a:ext cx="15" cy="32"/>
                </a:xfrm>
                <a:custGeom>
                  <a:avLst/>
                  <a:gdLst>
                    <a:gd name="T0" fmla="*/ 15 w 15"/>
                    <a:gd name="T1" fmla="*/ 6 h 32"/>
                    <a:gd name="T2" fmla="*/ 2 w 15"/>
                    <a:gd name="T3" fmla="*/ 0 h 32"/>
                    <a:gd name="T4" fmla="*/ 0 w 15"/>
                    <a:gd name="T5" fmla="*/ 24 h 32"/>
                    <a:gd name="T6" fmla="*/ 15 w 15"/>
                    <a:gd name="T7" fmla="*/ 32 h 32"/>
                    <a:gd name="T8" fmla="*/ 15 w 15"/>
                    <a:gd name="T9" fmla="*/ 6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6"/>
                      </a:moveTo>
                      <a:lnTo>
                        <a:pt x="2" y="0"/>
                      </a:lnTo>
                      <a:lnTo>
                        <a:pt x="0" y="24"/>
                      </a:lnTo>
                      <a:lnTo>
                        <a:pt x="15" y="32"/>
                      </a:lnTo>
                      <a:lnTo>
                        <a:pt x="15"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88" name="Freeform 59"/>
                <p:cNvSpPr>
                  <a:spLocks/>
                </p:cNvSpPr>
                <p:nvPr/>
              </p:nvSpPr>
              <p:spPr bwMode="gray">
                <a:xfrm>
                  <a:off x="3668" y="2052"/>
                  <a:ext cx="16" cy="36"/>
                </a:xfrm>
                <a:custGeom>
                  <a:avLst/>
                  <a:gdLst>
                    <a:gd name="T0" fmla="*/ 13 w 16"/>
                    <a:gd name="T1" fmla="*/ 6 h 36"/>
                    <a:gd name="T2" fmla="*/ 0 w 16"/>
                    <a:gd name="T3" fmla="*/ 0 h 36"/>
                    <a:gd name="T4" fmla="*/ 1 w 16"/>
                    <a:gd name="T5" fmla="*/ 28 h 36"/>
                    <a:gd name="T6" fmla="*/ 16 w 16"/>
                    <a:gd name="T7" fmla="*/ 36 h 36"/>
                    <a:gd name="T8" fmla="*/ 13 w 16"/>
                    <a:gd name="T9" fmla="*/ 6 h 36"/>
                    <a:gd name="T10" fmla="*/ 0 60000 65536"/>
                    <a:gd name="T11" fmla="*/ 0 60000 65536"/>
                    <a:gd name="T12" fmla="*/ 0 60000 65536"/>
                    <a:gd name="T13" fmla="*/ 0 60000 65536"/>
                    <a:gd name="T14" fmla="*/ 0 60000 65536"/>
                    <a:gd name="T15" fmla="*/ 0 w 16"/>
                    <a:gd name="T16" fmla="*/ 0 h 36"/>
                    <a:gd name="T17" fmla="*/ 16 w 16"/>
                    <a:gd name="T18" fmla="*/ 36 h 36"/>
                  </a:gdLst>
                  <a:ahLst/>
                  <a:cxnLst>
                    <a:cxn ang="T10">
                      <a:pos x="T0" y="T1"/>
                    </a:cxn>
                    <a:cxn ang="T11">
                      <a:pos x="T2" y="T3"/>
                    </a:cxn>
                    <a:cxn ang="T12">
                      <a:pos x="T4" y="T5"/>
                    </a:cxn>
                    <a:cxn ang="T13">
                      <a:pos x="T6" y="T7"/>
                    </a:cxn>
                    <a:cxn ang="T14">
                      <a:pos x="T8" y="T9"/>
                    </a:cxn>
                  </a:cxnLst>
                  <a:rect l="T15" t="T16" r="T17" b="T18"/>
                  <a:pathLst>
                    <a:path w="16" h="36">
                      <a:moveTo>
                        <a:pt x="13" y="6"/>
                      </a:moveTo>
                      <a:lnTo>
                        <a:pt x="0" y="0"/>
                      </a:lnTo>
                      <a:lnTo>
                        <a:pt x="1" y="28"/>
                      </a:lnTo>
                      <a:lnTo>
                        <a:pt x="16" y="36"/>
                      </a:lnTo>
                      <a:lnTo>
                        <a:pt x="13"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89" name="Freeform 60"/>
                <p:cNvSpPr>
                  <a:spLocks/>
                </p:cNvSpPr>
                <p:nvPr/>
              </p:nvSpPr>
              <p:spPr bwMode="gray">
                <a:xfrm>
                  <a:off x="3808" y="2130"/>
                  <a:ext cx="17" cy="38"/>
                </a:xfrm>
                <a:custGeom>
                  <a:avLst/>
                  <a:gdLst>
                    <a:gd name="T0" fmla="*/ 183 w 14"/>
                    <a:gd name="T1" fmla="*/ 77 h 32"/>
                    <a:gd name="T2" fmla="*/ 0 w 14"/>
                    <a:gd name="T3" fmla="*/ 0 h 32"/>
                    <a:gd name="T4" fmla="*/ 0 w 14"/>
                    <a:gd name="T5" fmla="*/ 211 h 32"/>
                    <a:gd name="T6" fmla="*/ 183 w 14"/>
                    <a:gd name="T7" fmla="*/ 298 h 32"/>
                    <a:gd name="T8" fmla="*/ 183 w 14"/>
                    <a:gd name="T9" fmla="*/ 7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8"/>
                      </a:moveTo>
                      <a:lnTo>
                        <a:pt x="0" y="0"/>
                      </a:lnTo>
                      <a:lnTo>
                        <a:pt x="0" y="23"/>
                      </a:lnTo>
                      <a:lnTo>
                        <a:pt x="14" y="32"/>
                      </a:lnTo>
                      <a:lnTo>
                        <a:pt x="14" y="8"/>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90" name="Freeform 61"/>
                <p:cNvSpPr>
                  <a:spLocks/>
                </p:cNvSpPr>
                <p:nvPr/>
              </p:nvSpPr>
              <p:spPr bwMode="gray">
                <a:xfrm>
                  <a:off x="3836" y="2148"/>
                  <a:ext cx="18" cy="37"/>
                </a:xfrm>
                <a:custGeom>
                  <a:avLst/>
                  <a:gdLst>
                    <a:gd name="T0" fmla="*/ 158 w 15"/>
                    <a:gd name="T1" fmla="*/ 39 h 32"/>
                    <a:gd name="T2" fmla="*/ 2 w 15"/>
                    <a:gd name="T3" fmla="*/ 0 h 32"/>
                    <a:gd name="T4" fmla="*/ 0 w 15"/>
                    <a:gd name="T5" fmla="*/ 160 h 32"/>
                    <a:gd name="T6" fmla="*/ 158 w 15"/>
                    <a:gd name="T7" fmla="*/ 214 h 32"/>
                    <a:gd name="T8" fmla="*/ 158 w 15"/>
                    <a:gd name="T9" fmla="*/ 39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6"/>
                      </a:moveTo>
                      <a:lnTo>
                        <a:pt x="2" y="0"/>
                      </a:lnTo>
                      <a:lnTo>
                        <a:pt x="0" y="24"/>
                      </a:lnTo>
                      <a:lnTo>
                        <a:pt x="15" y="32"/>
                      </a:lnTo>
                      <a:lnTo>
                        <a:pt x="15"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91" name="Freeform 62"/>
                <p:cNvSpPr>
                  <a:spLocks/>
                </p:cNvSpPr>
                <p:nvPr/>
              </p:nvSpPr>
              <p:spPr bwMode="gray">
                <a:xfrm>
                  <a:off x="3868" y="2163"/>
                  <a:ext cx="19" cy="41"/>
                </a:xfrm>
                <a:custGeom>
                  <a:avLst/>
                  <a:gdLst>
                    <a:gd name="T0" fmla="*/ 19 w 19"/>
                    <a:gd name="T1" fmla="*/ 6 h 41"/>
                    <a:gd name="T2" fmla="*/ 1 w 19"/>
                    <a:gd name="T3" fmla="*/ 0 h 41"/>
                    <a:gd name="T4" fmla="*/ 0 w 19"/>
                    <a:gd name="T5" fmla="*/ 32 h 41"/>
                    <a:gd name="T6" fmla="*/ 18 w 19"/>
                    <a:gd name="T7" fmla="*/ 41 h 41"/>
                    <a:gd name="T8" fmla="*/ 19 w 19"/>
                    <a:gd name="T9" fmla="*/ 6 h 41"/>
                    <a:gd name="T10" fmla="*/ 0 60000 65536"/>
                    <a:gd name="T11" fmla="*/ 0 60000 65536"/>
                    <a:gd name="T12" fmla="*/ 0 60000 65536"/>
                    <a:gd name="T13" fmla="*/ 0 60000 65536"/>
                    <a:gd name="T14" fmla="*/ 0 60000 65536"/>
                    <a:gd name="T15" fmla="*/ 0 w 19"/>
                    <a:gd name="T16" fmla="*/ 0 h 41"/>
                    <a:gd name="T17" fmla="*/ 19 w 19"/>
                    <a:gd name="T18" fmla="*/ 41 h 41"/>
                  </a:gdLst>
                  <a:ahLst/>
                  <a:cxnLst>
                    <a:cxn ang="T10">
                      <a:pos x="T0" y="T1"/>
                    </a:cxn>
                    <a:cxn ang="T11">
                      <a:pos x="T2" y="T3"/>
                    </a:cxn>
                    <a:cxn ang="T12">
                      <a:pos x="T4" y="T5"/>
                    </a:cxn>
                    <a:cxn ang="T13">
                      <a:pos x="T6" y="T7"/>
                    </a:cxn>
                    <a:cxn ang="T14">
                      <a:pos x="T8" y="T9"/>
                    </a:cxn>
                  </a:cxnLst>
                  <a:rect l="T15" t="T16" r="T17" b="T18"/>
                  <a:pathLst>
                    <a:path w="19" h="41">
                      <a:moveTo>
                        <a:pt x="19" y="6"/>
                      </a:moveTo>
                      <a:lnTo>
                        <a:pt x="1" y="0"/>
                      </a:lnTo>
                      <a:lnTo>
                        <a:pt x="0" y="32"/>
                      </a:lnTo>
                      <a:lnTo>
                        <a:pt x="18" y="41"/>
                      </a:lnTo>
                      <a:lnTo>
                        <a:pt x="19"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553992" name="Freeform 63"/>
                <p:cNvSpPr>
                  <a:spLocks/>
                </p:cNvSpPr>
                <p:nvPr/>
              </p:nvSpPr>
              <p:spPr bwMode="gray">
                <a:xfrm>
                  <a:off x="4643" y="2156"/>
                  <a:ext cx="15" cy="30"/>
                </a:xfrm>
                <a:custGeom>
                  <a:avLst/>
                  <a:gdLst>
                    <a:gd name="T0" fmla="*/ 0 w 15"/>
                    <a:gd name="T1" fmla="*/ 30 h 30"/>
                    <a:gd name="T2" fmla="*/ 12 w 15"/>
                    <a:gd name="T3" fmla="*/ 29 h 30"/>
                    <a:gd name="T4" fmla="*/ 15 w 15"/>
                    <a:gd name="T5" fmla="*/ 0 h 30"/>
                    <a:gd name="T6" fmla="*/ 3 w 15"/>
                    <a:gd name="T7" fmla="*/ 0 h 30"/>
                    <a:gd name="T8" fmla="*/ 0 w 15"/>
                    <a:gd name="T9" fmla="*/ 30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0" y="30"/>
                      </a:moveTo>
                      <a:lnTo>
                        <a:pt x="12" y="29"/>
                      </a:lnTo>
                      <a:lnTo>
                        <a:pt x="15" y="0"/>
                      </a:lnTo>
                      <a:lnTo>
                        <a:pt x="3" y="0"/>
                      </a:lnTo>
                      <a:lnTo>
                        <a:pt x="0" y="30"/>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553993" name="Freeform 64"/>
                <p:cNvSpPr>
                  <a:spLocks/>
                </p:cNvSpPr>
                <p:nvPr/>
              </p:nvSpPr>
              <p:spPr bwMode="gray">
                <a:xfrm>
                  <a:off x="4080" y="1740"/>
                  <a:ext cx="29" cy="159"/>
                </a:xfrm>
                <a:custGeom>
                  <a:avLst/>
                  <a:gdLst>
                    <a:gd name="T0" fmla="*/ 4 w 29"/>
                    <a:gd name="T1" fmla="*/ 11 h 159"/>
                    <a:gd name="T2" fmla="*/ 4 w 29"/>
                    <a:gd name="T3" fmla="*/ 159 h 159"/>
                    <a:gd name="T4" fmla="*/ 28 w 29"/>
                    <a:gd name="T5" fmla="*/ 159 h 159"/>
                    <a:gd name="T6" fmla="*/ 26 w 29"/>
                    <a:gd name="T7" fmla="*/ 13 h 159"/>
                    <a:gd name="T8" fmla="*/ 4 w 29"/>
                    <a:gd name="T9" fmla="*/ 11 h 159"/>
                    <a:gd name="T10" fmla="*/ 0 60000 65536"/>
                    <a:gd name="T11" fmla="*/ 0 60000 65536"/>
                    <a:gd name="T12" fmla="*/ 0 60000 65536"/>
                    <a:gd name="T13" fmla="*/ 0 60000 65536"/>
                    <a:gd name="T14" fmla="*/ 0 60000 65536"/>
                    <a:gd name="T15" fmla="*/ 0 w 29"/>
                    <a:gd name="T16" fmla="*/ 0 h 159"/>
                    <a:gd name="T17" fmla="*/ 29 w 29"/>
                    <a:gd name="T18" fmla="*/ 159 h 159"/>
                  </a:gdLst>
                  <a:ahLst/>
                  <a:cxnLst>
                    <a:cxn ang="T10">
                      <a:pos x="T0" y="T1"/>
                    </a:cxn>
                    <a:cxn ang="T11">
                      <a:pos x="T2" y="T3"/>
                    </a:cxn>
                    <a:cxn ang="T12">
                      <a:pos x="T4" y="T5"/>
                    </a:cxn>
                    <a:cxn ang="T13">
                      <a:pos x="T6" y="T7"/>
                    </a:cxn>
                    <a:cxn ang="T14">
                      <a:pos x="T8" y="T9"/>
                    </a:cxn>
                  </a:cxnLst>
                  <a:rect l="T15" t="T16" r="T17" b="T18"/>
                  <a:pathLst>
                    <a:path w="29" h="159">
                      <a:moveTo>
                        <a:pt x="4" y="11"/>
                      </a:moveTo>
                      <a:cubicBezTo>
                        <a:pt x="4" y="34"/>
                        <a:pt x="0" y="134"/>
                        <a:pt x="4" y="159"/>
                      </a:cubicBezTo>
                      <a:lnTo>
                        <a:pt x="28" y="159"/>
                      </a:lnTo>
                      <a:cubicBezTo>
                        <a:pt x="27" y="133"/>
                        <a:pt x="29" y="39"/>
                        <a:pt x="26" y="13"/>
                      </a:cubicBezTo>
                      <a:cubicBezTo>
                        <a:pt x="21" y="0"/>
                        <a:pt x="7" y="8"/>
                        <a:pt x="4" y="11"/>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553994" name="Freeform 65"/>
                <p:cNvSpPr>
                  <a:spLocks/>
                </p:cNvSpPr>
                <p:nvPr/>
              </p:nvSpPr>
              <p:spPr bwMode="gray">
                <a:xfrm>
                  <a:off x="4084" y="1746"/>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grpSp>
          <p:grpSp>
            <p:nvGrpSpPr>
              <p:cNvPr id="8" name="Group 66"/>
              <p:cNvGrpSpPr>
                <a:grpSpLocks/>
              </p:cNvGrpSpPr>
              <p:nvPr/>
            </p:nvGrpSpPr>
            <p:grpSpPr bwMode="gray">
              <a:xfrm rot="214580" flipH="1">
                <a:off x="4278" y="2164"/>
                <a:ext cx="144" cy="69"/>
                <a:chOff x="1878" y="3183"/>
                <a:chExt cx="322" cy="137"/>
              </a:xfrm>
            </p:grpSpPr>
            <p:sp>
              <p:nvSpPr>
                <p:cNvPr id="442320" name="Freeform 67"/>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2321" name="Freeform 68"/>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2322" name="Freeform 69"/>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2323" name="Freeform 70"/>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324" name="Freeform 71"/>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2325" name="Freeform 72"/>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2326" name="Freeform 73"/>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2327" name="Freeform 74"/>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28" name="Freeform 75"/>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29" name="Freeform 76"/>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30" name="Freeform 77"/>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31" name="Freeform 78"/>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32" name="Freeform 79"/>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nvGrpSpPr>
              <p:cNvPr id="9" name="Group 80"/>
              <p:cNvGrpSpPr>
                <a:grpSpLocks/>
              </p:cNvGrpSpPr>
              <p:nvPr/>
            </p:nvGrpSpPr>
            <p:grpSpPr bwMode="gray">
              <a:xfrm rot="214580" flipH="1">
                <a:off x="4176" y="2170"/>
                <a:ext cx="144" cy="69"/>
                <a:chOff x="1878" y="3183"/>
                <a:chExt cx="322" cy="137"/>
              </a:xfrm>
            </p:grpSpPr>
            <p:sp>
              <p:nvSpPr>
                <p:cNvPr id="442307" name="Freeform 81"/>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2308" name="Freeform 82"/>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2309" name="Freeform 83"/>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2310" name="Freeform 84"/>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311" name="Freeform 85"/>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2312" name="Freeform 86"/>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2313" name="Freeform 87"/>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2314" name="Freeform 88"/>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15" name="Freeform 89"/>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16" name="Freeform 90"/>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17" name="Freeform 91"/>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18" name="Freeform 92"/>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19" name="Freeform 93"/>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nvGrpSpPr>
              <p:cNvPr id="10" name="Group 94"/>
              <p:cNvGrpSpPr>
                <a:grpSpLocks/>
              </p:cNvGrpSpPr>
              <p:nvPr/>
            </p:nvGrpSpPr>
            <p:grpSpPr bwMode="gray">
              <a:xfrm rot="214580" flipH="1">
                <a:off x="3984" y="2184"/>
                <a:ext cx="144" cy="69"/>
                <a:chOff x="1878" y="3183"/>
                <a:chExt cx="322" cy="137"/>
              </a:xfrm>
            </p:grpSpPr>
            <p:sp>
              <p:nvSpPr>
                <p:cNvPr id="442294" name="Freeform 95"/>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2295" name="Freeform 96"/>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2296" name="Freeform 97"/>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2297" name="Freeform 98"/>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298" name="Freeform 99"/>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2299" name="Freeform 100"/>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2300" name="Freeform 101"/>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2301" name="Freeform 102"/>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02" name="Freeform 103"/>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03" name="Freeform 104"/>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04" name="Freeform 105"/>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05" name="Freeform 106"/>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2306" name="Freeform 107"/>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sp>
          <p:nvSpPr>
            <p:cNvPr id="442287" name="Text Box 16"/>
            <p:cNvSpPr txBox="1">
              <a:spLocks noChangeArrowheads="1"/>
            </p:cNvSpPr>
            <p:nvPr/>
          </p:nvSpPr>
          <p:spPr bwMode="gray">
            <a:xfrm>
              <a:off x="3941" y="1396"/>
              <a:ext cx="588" cy="150"/>
            </a:xfrm>
            <a:prstGeom prst="rect">
              <a:avLst/>
            </a:prstGeom>
            <a:noFill/>
            <a:ln w="9525" algn="ctr">
              <a:noFill/>
              <a:miter lim="800000"/>
              <a:headEnd/>
              <a:tailEnd type="none" w="sm" len="lg"/>
            </a:ln>
          </p:spPr>
          <p:txBody>
            <a:bodyPr wrap="none" lIns="90000" tIns="46800" rIns="90000" bIns="46800">
              <a:spAutoFit/>
            </a:bodyPr>
            <a:lstStyle/>
            <a:p>
              <a:pPr marL="243971" indent="-243971" algn="ctr" defTabSz="912546">
                <a:lnSpc>
                  <a:spcPct val="85000"/>
                </a:lnSpc>
                <a:buClr>
                  <a:srgbClr val="F0AB00"/>
                </a:buClr>
                <a:buSzPct val="80000"/>
              </a:pPr>
              <a:r>
                <a:rPr lang="en-US" sz="1100" b="1" dirty="0">
                  <a:solidFill>
                    <a:srgbClr val="000000"/>
                  </a:solidFill>
                </a:rPr>
                <a:t>Competitor</a:t>
              </a:r>
            </a:p>
          </p:txBody>
        </p:sp>
      </p:grpSp>
      <p:sp>
        <p:nvSpPr>
          <p:cNvPr id="264300" name="Freeform 108"/>
          <p:cNvSpPr>
            <a:spLocks/>
          </p:cNvSpPr>
          <p:nvPr/>
        </p:nvSpPr>
        <p:spPr bwMode="gray">
          <a:xfrm>
            <a:off x="1628775" y="4119177"/>
            <a:ext cx="2071688" cy="1238250"/>
          </a:xfrm>
          <a:custGeom>
            <a:avLst/>
            <a:gdLst>
              <a:gd name="T0" fmla="*/ 2147483647 w 1305"/>
              <a:gd name="T1" fmla="*/ 2147483647 h 780"/>
              <a:gd name="T2" fmla="*/ 2147483647 w 1305"/>
              <a:gd name="T3" fmla="*/ 2147483647 h 780"/>
              <a:gd name="T4" fmla="*/ 2147483647 w 1305"/>
              <a:gd name="T5" fmla="*/ 2147483647 h 780"/>
              <a:gd name="T6" fmla="*/ 2147483647 w 1305"/>
              <a:gd name="T7" fmla="*/ 2147483647 h 780"/>
              <a:gd name="T8" fmla="*/ 2147483647 w 1305"/>
              <a:gd name="T9" fmla="*/ 2147483647 h 780"/>
              <a:gd name="T10" fmla="*/ 2147483647 w 1305"/>
              <a:gd name="T11" fmla="*/ 2147483647 h 780"/>
              <a:gd name="T12" fmla="*/ 2147483647 w 1305"/>
              <a:gd name="T13" fmla="*/ 2147483647 h 780"/>
              <a:gd name="T14" fmla="*/ 2147483647 w 1305"/>
              <a:gd name="T15" fmla="*/ 2147483647 h 780"/>
              <a:gd name="T16" fmla="*/ 2147483647 w 1305"/>
              <a:gd name="T17" fmla="*/ 0 h 780"/>
              <a:gd name="T18" fmla="*/ 2147483647 w 1305"/>
              <a:gd name="T19" fmla="*/ 2147483647 h 7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05"/>
              <a:gd name="T31" fmla="*/ 0 h 780"/>
              <a:gd name="T32" fmla="*/ 1305 w 1305"/>
              <a:gd name="T33" fmla="*/ 780 h 7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05" h="780">
                <a:moveTo>
                  <a:pt x="1305" y="27"/>
                </a:moveTo>
                <a:cubicBezTo>
                  <a:pt x="1059" y="189"/>
                  <a:pt x="840" y="336"/>
                  <a:pt x="468" y="564"/>
                </a:cubicBezTo>
                <a:cubicBezTo>
                  <a:pt x="654" y="588"/>
                  <a:pt x="864" y="690"/>
                  <a:pt x="1188" y="528"/>
                </a:cubicBezTo>
                <a:cubicBezTo>
                  <a:pt x="1188" y="528"/>
                  <a:pt x="1194" y="585"/>
                  <a:pt x="1206" y="636"/>
                </a:cubicBezTo>
                <a:cubicBezTo>
                  <a:pt x="786" y="780"/>
                  <a:pt x="492" y="720"/>
                  <a:pt x="246" y="576"/>
                </a:cubicBezTo>
                <a:cubicBezTo>
                  <a:pt x="0" y="432"/>
                  <a:pt x="0" y="300"/>
                  <a:pt x="120" y="84"/>
                </a:cubicBezTo>
                <a:cubicBezTo>
                  <a:pt x="186" y="87"/>
                  <a:pt x="198" y="54"/>
                  <a:pt x="252" y="90"/>
                </a:cubicBezTo>
                <a:cubicBezTo>
                  <a:pt x="162" y="180"/>
                  <a:pt x="66" y="384"/>
                  <a:pt x="348" y="516"/>
                </a:cubicBezTo>
                <a:cubicBezTo>
                  <a:pt x="804" y="234"/>
                  <a:pt x="888" y="192"/>
                  <a:pt x="1194" y="0"/>
                </a:cubicBezTo>
                <a:cubicBezTo>
                  <a:pt x="1221" y="6"/>
                  <a:pt x="1245" y="18"/>
                  <a:pt x="1305" y="27"/>
                </a:cubicBezTo>
                <a:close/>
              </a:path>
            </a:pathLst>
          </a:custGeom>
          <a:solidFill>
            <a:srgbClr val="FFDA7D">
              <a:alpha val="59999"/>
            </a:srgbClr>
          </a:solidFill>
          <a:ln w="9525">
            <a:noFill/>
            <a:round/>
            <a:headEnd/>
            <a:tailEnd/>
          </a:ln>
        </p:spPr>
        <p:txBody>
          <a:bodyPr lIns="91254" tIns="45625" rIns="91254" bIns="45625"/>
          <a:lstStyle/>
          <a:p>
            <a:pPr defTabSz="912546"/>
            <a:endParaRPr>
              <a:solidFill>
                <a:srgbClr val="000000"/>
              </a:solidFill>
            </a:endParaRPr>
          </a:p>
        </p:txBody>
      </p:sp>
      <p:sp>
        <p:nvSpPr>
          <p:cNvPr id="264301" name="Freeform 109"/>
          <p:cNvSpPr>
            <a:spLocks/>
          </p:cNvSpPr>
          <p:nvPr/>
        </p:nvSpPr>
        <p:spPr bwMode="gray">
          <a:xfrm>
            <a:off x="600075" y="2233227"/>
            <a:ext cx="3962400" cy="2247900"/>
          </a:xfrm>
          <a:custGeom>
            <a:avLst/>
            <a:gdLst>
              <a:gd name="T0" fmla="*/ 2147483647 w 2496"/>
              <a:gd name="T1" fmla="*/ 2147483647 h 1416"/>
              <a:gd name="T2" fmla="*/ 2147483647 w 2496"/>
              <a:gd name="T3" fmla="*/ 2147483647 h 1416"/>
              <a:gd name="T4" fmla="*/ 2147483647 w 2496"/>
              <a:gd name="T5" fmla="*/ 2147483647 h 1416"/>
              <a:gd name="T6" fmla="*/ 2147483647 w 2496"/>
              <a:gd name="T7" fmla="*/ 2147483647 h 1416"/>
              <a:gd name="T8" fmla="*/ 2147483647 w 2496"/>
              <a:gd name="T9" fmla="*/ 2147483647 h 1416"/>
              <a:gd name="T10" fmla="*/ 2147483647 w 2496"/>
              <a:gd name="T11" fmla="*/ 2147483647 h 1416"/>
              <a:gd name="T12" fmla="*/ 2147483647 w 2496"/>
              <a:gd name="T13" fmla="*/ 2147483647 h 1416"/>
              <a:gd name="T14" fmla="*/ 2147483647 w 2496"/>
              <a:gd name="T15" fmla="*/ 2147483647 h 1416"/>
              <a:gd name="T16" fmla="*/ 2147483647 w 2496"/>
              <a:gd name="T17" fmla="*/ 2147483647 h 1416"/>
              <a:gd name="T18" fmla="*/ 2147483647 w 2496"/>
              <a:gd name="T19" fmla="*/ 2147483647 h 1416"/>
              <a:gd name="T20" fmla="*/ 2147483647 w 2496"/>
              <a:gd name="T21" fmla="*/ 2147483647 h 1416"/>
              <a:gd name="T22" fmla="*/ 2147483647 w 2496"/>
              <a:gd name="T23" fmla="*/ 2147483647 h 1416"/>
              <a:gd name="T24" fmla="*/ 2147483647 w 2496"/>
              <a:gd name="T25" fmla="*/ 2147483647 h 1416"/>
              <a:gd name="T26" fmla="*/ 2147483647 w 2496"/>
              <a:gd name="T27" fmla="*/ 2147483647 h 1416"/>
              <a:gd name="T28" fmla="*/ 2147483647 w 2496"/>
              <a:gd name="T29" fmla="*/ 2147483647 h 1416"/>
              <a:gd name="T30" fmla="*/ 2147483647 w 2496"/>
              <a:gd name="T31" fmla="*/ 2147483647 h 1416"/>
              <a:gd name="T32" fmla="*/ 2147483647 w 2496"/>
              <a:gd name="T33" fmla="*/ 2147483647 h 14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96"/>
              <a:gd name="T52" fmla="*/ 0 h 1416"/>
              <a:gd name="T53" fmla="*/ 2496 w 2496"/>
              <a:gd name="T54" fmla="*/ 1416 h 14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96" h="1416">
                <a:moveTo>
                  <a:pt x="1734" y="1122"/>
                </a:moveTo>
                <a:lnTo>
                  <a:pt x="1530" y="1122"/>
                </a:lnTo>
                <a:cubicBezTo>
                  <a:pt x="1530" y="1122"/>
                  <a:pt x="1563" y="1137"/>
                  <a:pt x="1596" y="1152"/>
                </a:cubicBezTo>
                <a:cubicBezTo>
                  <a:pt x="1434" y="1188"/>
                  <a:pt x="750" y="1350"/>
                  <a:pt x="372" y="1110"/>
                </a:cubicBezTo>
                <a:cubicBezTo>
                  <a:pt x="207" y="1003"/>
                  <a:pt x="58" y="669"/>
                  <a:pt x="744" y="342"/>
                </a:cubicBezTo>
                <a:cubicBezTo>
                  <a:pt x="1248" y="96"/>
                  <a:pt x="1924" y="134"/>
                  <a:pt x="2142" y="282"/>
                </a:cubicBezTo>
                <a:cubicBezTo>
                  <a:pt x="2292" y="378"/>
                  <a:pt x="2316" y="480"/>
                  <a:pt x="2310" y="558"/>
                </a:cubicBezTo>
                <a:cubicBezTo>
                  <a:pt x="2271" y="555"/>
                  <a:pt x="2232" y="552"/>
                  <a:pt x="2232" y="552"/>
                </a:cubicBezTo>
                <a:lnTo>
                  <a:pt x="2334" y="660"/>
                </a:lnTo>
                <a:lnTo>
                  <a:pt x="2496" y="576"/>
                </a:lnTo>
                <a:cubicBezTo>
                  <a:pt x="2496" y="576"/>
                  <a:pt x="2463" y="573"/>
                  <a:pt x="2430" y="570"/>
                </a:cubicBezTo>
                <a:cubicBezTo>
                  <a:pt x="2430" y="570"/>
                  <a:pt x="2495" y="374"/>
                  <a:pt x="2202" y="216"/>
                </a:cubicBezTo>
                <a:cubicBezTo>
                  <a:pt x="1896" y="54"/>
                  <a:pt x="1308" y="0"/>
                  <a:pt x="660" y="294"/>
                </a:cubicBezTo>
                <a:cubicBezTo>
                  <a:pt x="56" y="562"/>
                  <a:pt x="0" y="996"/>
                  <a:pt x="264" y="1164"/>
                </a:cubicBezTo>
                <a:cubicBezTo>
                  <a:pt x="503" y="1314"/>
                  <a:pt x="912" y="1416"/>
                  <a:pt x="1668" y="1212"/>
                </a:cubicBezTo>
                <a:cubicBezTo>
                  <a:pt x="1698" y="1230"/>
                  <a:pt x="1728" y="1248"/>
                  <a:pt x="1728" y="1248"/>
                </a:cubicBezTo>
                <a:lnTo>
                  <a:pt x="1734" y="1122"/>
                </a:lnTo>
                <a:close/>
              </a:path>
            </a:pathLst>
          </a:custGeom>
          <a:solidFill>
            <a:srgbClr val="C9D7B9"/>
          </a:solidFill>
          <a:ln w="9525">
            <a:noFill/>
            <a:round/>
            <a:headEnd/>
            <a:tailEnd/>
          </a:ln>
        </p:spPr>
        <p:txBody>
          <a:bodyPr lIns="91254" tIns="45625" rIns="91254" bIns="45625"/>
          <a:lstStyle/>
          <a:p>
            <a:pPr defTabSz="912546"/>
            <a:endParaRPr>
              <a:solidFill>
                <a:srgbClr val="000000"/>
              </a:solidFill>
            </a:endParaRPr>
          </a:p>
        </p:txBody>
      </p:sp>
      <p:grpSp>
        <p:nvGrpSpPr>
          <p:cNvPr id="11" name="Group 110"/>
          <p:cNvGrpSpPr>
            <a:grpSpLocks/>
          </p:cNvGrpSpPr>
          <p:nvPr/>
        </p:nvGrpSpPr>
        <p:grpSpPr bwMode="gray">
          <a:xfrm>
            <a:off x="152400" y="3480990"/>
            <a:ext cx="1573213" cy="681038"/>
            <a:chOff x="2107" y="2248"/>
            <a:chExt cx="1020" cy="473"/>
          </a:xfrm>
        </p:grpSpPr>
        <p:sp>
          <p:nvSpPr>
            <p:cNvPr id="442283" name="Oval 111"/>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2284" name="Oval 112"/>
            <p:cNvSpPr>
              <a:spLocks noChangeArrowheads="1"/>
            </p:cNvSpPr>
            <p:nvPr/>
          </p:nvSpPr>
          <p:spPr bwMode="gray">
            <a:xfrm>
              <a:off x="2206" y="2276"/>
              <a:ext cx="794" cy="331"/>
            </a:xfrm>
            <a:prstGeom prst="ellipse">
              <a:avLst/>
            </a:prstGeom>
            <a:gradFill rotWithShape="1">
              <a:gsLst>
                <a:gs pos="0">
                  <a:srgbClr val="235091"/>
                </a:gs>
                <a:gs pos="50000">
                  <a:srgbClr val="5D7EAE"/>
                </a:gs>
                <a:gs pos="100000">
                  <a:srgbClr val="235091"/>
                </a:gs>
              </a:gsLst>
              <a:lin ang="0" scaled="1"/>
            </a:gradFill>
            <a:ln w="9525">
              <a:noFill/>
              <a:round/>
              <a:headEnd/>
              <a:tailEnd/>
            </a:ln>
          </p:spPr>
          <p:txBody>
            <a:bodyPr wrap="none" anchor="ctr"/>
            <a:lstStyle/>
            <a:p>
              <a:pPr algn="ctr" defTabSz="912546"/>
              <a:endParaRPr>
                <a:solidFill>
                  <a:srgbClr val="000000"/>
                </a:solidFill>
              </a:endParaRPr>
            </a:p>
          </p:txBody>
        </p:sp>
        <p:sp>
          <p:nvSpPr>
            <p:cNvPr id="442285" name="Oval 113"/>
            <p:cNvSpPr>
              <a:spLocks noChangeArrowheads="1"/>
            </p:cNvSpPr>
            <p:nvPr/>
          </p:nvSpPr>
          <p:spPr bwMode="gray">
            <a:xfrm>
              <a:off x="2206" y="2248"/>
              <a:ext cx="794" cy="331"/>
            </a:xfrm>
            <a:prstGeom prst="ellipse">
              <a:avLst/>
            </a:prstGeom>
            <a:gradFill rotWithShape="1">
              <a:gsLst>
                <a:gs pos="0">
                  <a:srgbClr val="235091"/>
                </a:gs>
                <a:gs pos="50000">
                  <a:srgbClr val="97ACCB"/>
                </a:gs>
                <a:gs pos="100000">
                  <a:srgbClr val="235091"/>
                </a:gs>
              </a:gsLst>
              <a:lin ang="18900000" scaled="1"/>
            </a:gradFill>
            <a:ln w="9525">
              <a:noFill/>
              <a:round/>
              <a:headEnd/>
              <a:tailEnd/>
            </a:ln>
          </p:spPr>
          <p:txBody>
            <a:bodyPr wrap="none" anchor="ctr"/>
            <a:lstStyle/>
            <a:p>
              <a:pPr algn="ctr" defTabSz="912546"/>
              <a:endParaRPr>
                <a:solidFill>
                  <a:srgbClr val="000000"/>
                </a:solidFill>
              </a:endParaRPr>
            </a:p>
          </p:txBody>
        </p:sp>
      </p:grpSp>
      <p:grpSp>
        <p:nvGrpSpPr>
          <p:cNvPr id="12" name="Group 114"/>
          <p:cNvGrpSpPr>
            <a:grpSpLocks/>
          </p:cNvGrpSpPr>
          <p:nvPr/>
        </p:nvGrpSpPr>
        <p:grpSpPr bwMode="gray">
          <a:xfrm>
            <a:off x="1501775" y="2326878"/>
            <a:ext cx="1485900" cy="642937"/>
            <a:chOff x="2107" y="2248"/>
            <a:chExt cx="1020" cy="473"/>
          </a:xfrm>
        </p:grpSpPr>
        <p:sp>
          <p:nvSpPr>
            <p:cNvPr id="442280" name="Oval 115"/>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2281" name="Oval 116"/>
            <p:cNvSpPr>
              <a:spLocks noChangeArrowheads="1"/>
            </p:cNvSpPr>
            <p:nvPr/>
          </p:nvSpPr>
          <p:spPr bwMode="gray">
            <a:xfrm>
              <a:off x="2206" y="2276"/>
              <a:ext cx="794" cy="331"/>
            </a:xfrm>
            <a:prstGeom prst="ellipse">
              <a:avLst/>
            </a:prstGeom>
            <a:gradFill rotWithShape="1">
              <a:gsLst>
                <a:gs pos="0">
                  <a:srgbClr val="235091"/>
                </a:gs>
                <a:gs pos="50000">
                  <a:srgbClr val="5D7EAE"/>
                </a:gs>
                <a:gs pos="100000">
                  <a:srgbClr val="235091"/>
                </a:gs>
              </a:gsLst>
              <a:lin ang="0" scaled="1"/>
            </a:gradFill>
            <a:ln w="9525">
              <a:noFill/>
              <a:round/>
              <a:headEnd/>
              <a:tailEnd/>
            </a:ln>
          </p:spPr>
          <p:txBody>
            <a:bodyPr wrap="none" anchor="ctr"/>
            <a:lstStyle/>
            <a:p>
              <a:pPr algn="ctr" defTabSz="912546"/>
              <a:endParaRPr>
                <a:solidFill>
                  <a:srgbClr val="000000"/>
                </a:solidFill>
              </a:endParaRPr>
            </a:p>
          </p:txBody>
        </p:sp>
        <p:sp>
          <p:nvSpPr>
            <p:cNvPr id="442282" name="Oval 117"/>
            <p:cNvSpPr>
              <a:spLocks noChangeArrowheads="1"/>
            </p:cNvSpPr>
            <p:nvPr/>
          </p:nvSpPr>
          <p:spPr bwMode="gray">
            <a:xfrm>
              <a:off x="2206" y="2248"/>
              <a:ext cx="794" cy="331"/>
            </a:xfrm>
            <a:prstGeom prst="ellipse">
              <a:avLst/>
            </a:prstGeom>
            <a:gradFill rotWithShape="1">
              <a:gsLst>
                <a:gs pos="0">
                  <a:srgbClr val="235091"/>
                </a:gs>
                <a:gs pos="50000">
                  <a:srgbClr val="97ACCB"/>
                </a:gs>
                <a:gs pos="100000">
                  <a:srgbClr val="235091"/>
                </a:gs>
              </a:gsLst>
              <a:lin ang="18900000" scaled="1"/>
            </a:gradFill>
            <a:ln w="9525">
              <a:noFill/>
              <a:round/>
              <a:headEnd/>
              <a:tailEnd/>
            </a:ln>
          </p:spPr>
          <p:txBody>
            <a:bodyPr wrap="none" anchor="ctr"/>
            <a:lstStyle/>
            <a:p>
              <a:pPr algn="ctr" defTabSz="912546"/>
              <a:endParaRPr>
                <a:solidFill>
                  <a:srgbClr val="000000"/>
                </a:solidFill>
              </a:endParaRPr>
            </a:p>
          </p:txBody>
        </p:sp>
      </p:grpSp>
      <p:grpSp>
        <p:nvGrpSpPr>
          <p:cNvPr id="13" name="Group 118"/>
          <p:cNvGrpSpPr>
            <a:grpSpLocks/>
          </p:cNvGrpSpPr>
          <p:nvPr/>
        </p:nvGrpSpPr>
        <p:grpSpPr bwMode="gray">
          <a:xfrm>
            <a:off x="2819400" y="2185590"/>
            <a:ext cx="1428750" cy="617538"/>
            <a:chOff x="2107" y="2248"/>
            <a:chExt cx="1020" cy="473"/>
          </a:xfrm>
        </p:grpSpPr>
        <p:sp>
          <p:nvSpPr>
            <p:cNvPr id="442277" name="Oval 119"/>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2278" name="Oval 120"/>
            <p:cNvSpPr>
              <a:spLocks noChangeArrowheads="1"/>
            </p:cNvSpPr>
            <p:nvPr/>
          </p:nvSpPr>
          <p:spPr bwMode="gray">
            <a:xfrm>
              <a:off x="2206" y="2276"/>
              <a:ext cx="794" cy="331"/>
            </a:xfrm>
            <a:prstGeom prst="ellipse">
              <a:avLst/>
            </a:prstGeom>
            <a:gradFill rotWithShape="1">
              <a:gsLst>
                <a:gs pos="0">
                  <a:srgbClr val="235091"/>
                </a:gs>
                <a:gs pos="50000">
                  <a:srgbClr val="5D7EAE"/>
                </a:gs>
                <a:gs pos="100000">
                  <a:srgbClr val="235091"/>
                </a:gs>
              </a:gsLst>
              <a:lin ang="0" scaled="1"/>
            </a:gradFill>
            <a:ln w="9525">
              <a:noFill/>
              <a:round/>
              <a:headEnd/>
              <a:tailEnd/>
            </a:ln>
          </p:spPr>
          <p:txBody>
            <a:bodyPr wrap="none" anchor="ctr"/>
            <a:lstStyle/>
            <a:p>
              <a:pPr algn="ctr" defTabSz="912546"/>
              <a:endParaRPr>
                <a:solidFill>
                  <a:srgbClr val="000000"/>
                </a:solidFill>
              </a:endParaRPr>
            </a:p>
          </p:txBody>
        </p:sp>
        <p:sp>
          <p:nvSpPr>
            <p:cNvPr id="442279" name="Oval 121"/>
            <p:cNvSpPr>
              <a:spLocks noChangeArrowheads="1"/>
            </p:cNvSpPr>
            <p:nvPr/>
          </p:nvSpPr>
          <p:spPr bwMode="gray">
            <a:xfrm>
              <a:off x="2206" y="2248"/>
              <a:ext cx="794" cy="331"/>
            </a:xfrm>
            <a:prstGeom prst="ellipse">
              <a:avLst/>
            </a:prstGeom>
            <a:gradFill rotWithShape="1">
              <a:gsLst>
                <a:gs pos="0">
                  <a:srgbClr val="235091"/>
                </a:gs>
                <a:gs pos="50000">
                  <a:srgbClr val="97ACCB"/>
                </a:gs>
                <a:gs pos="100000">
                  <a:srgbClr val="235091"/>
                </a:gs>
              </a:gsLst>
              <a:lin ang="18900000" scaled="1"/>
            </a:gradFill>
            <a:ln w="9525">
              <a:noFill/>
              <a:round/>
              <a:headEnd/>
              <a:tailEnd/>
            </a:ln>
          </p:spPr>
          <p:txBody>
            <a:bodyPr wrap="none" anchor="ctr"/>
            <a:lstStyle/>
            <a:p>
              <a:pPr algn="ctr" defTabSz="912546"/>
              <a:endParaRPr>
                <a:solidFill>
                  <a:srgbClr val="000000"/>
                </a:solidFill>
              </a:endParaRPr>
            </a:p>
          </p:txBody>
        </p:sp>
      </p:grpSp>
      <p:grpSp>
        <p:nvGrpSpPr>
          <p:cNvPr id="14" name="Group 122"/>
          <p:cNvGrpSpPr>
            <a:grpSpLocks/>
          </p:cNvGrpSpPr>
          <p:nvPr/>
        </p:nvGrpSpPr>
        <p:grpSpPr bwMode="gray">
          <a:xfrm rot="282125">
            <a:off x="3341700" y="2947602"/>
            <a:ext cx="1508125" cy="969963"/>
            <a:chOff x="820" y="3026"/>
            <a:chExt cx="582" cy="375"/>
          </a:xfrm>
        </p:grpSpPr>
        <p:grpSp>
          <p:nvGrpSpPr>
            <p:cNvPr id="15" name="Group 123"/>
            <p:cNvGrpSpPr>
              <a:grpSpLocks/>
            </p:cNvGrpSpPr>
            <p:nvPr/>
          </p:nvGrpSpPr>
          <p:grpSpPr bwMode="gray">
            <a:xfrm rot="-153540">
              <a:off x="820" y="3026"/>
              <a:ext cx="582" cy="375"/>
              <a:chOff x="2580" y="2432"/>
              <a:chExt cx="918" cy="592"/>
            </a:xfrm>
          </p:grpSpPr>
          <p:sp>
            <p:nvSpPr>
              <p:cNvPr id="442238" name="Freeform 124"/>
              <p:cNvSpPr>
                <a:spLocks/>
              </p:cNvSpPr>
              <p:nvPr/>
            </p:nvSpPr>
            <p:spPr bwMode="gray">
              <a:xfrm>
                <a:off x="2580" y="2748"/>
                <a:ext cx="918" cy="276"/>
              </a:xfrm>
              <a:custGeom>
                <a:avLst/>
                <a:gdLst>
                  <a:gd name="T0" fmla="*/ 174 w 918"/>
                  <a:gd name="T1" fmla="*/ 276 h 276"/>
                  <a:gd name="T2" fmla="*/ 0 w 918"/>
                  <a:gd name="T3" fmla="*/ 102 h 276"/>
                  <a:gd name="T4" fmla="*/ 768 w 918"/>
                  <a:gd name="T5" fmla="*/ 0 h 276"/>
                  <a:gd name="T6" fmla="*/ 918 w 918"/>
                  <a:gd name="T7" fmla="*/ 126 h 276"/>
                  <a:gd name="T8" fmla="*/ 174 w 918"/>
                  <a:gd name="T9" fmla="*/ 276 h 276"/>
                  <a:gd name="T10" fmla="*/ 0 60000 65536"/>
                  <a:gd name="T11" fmla="*/ 0 60000 65536"/>
                  <a:gd name="T12" fmla="*/ 0 60000 65536"/>
                  <a:gd name="T13" fmla="*/ 0 60000 65536"/>
                  <a:gd name="T14" fmla="*/ 0 60000 65536"/>
                  <a:gd name="T15" fmla="*/ 0 w 918"/>
                  <a:gd name="T16" fmla="*/ 0 h 276"/>
                  <a:gd name="T17" fmla="*/ 918 w 918"/>
                  <a:gd name="T18" fmla="*/ 276 h 276"/>
                </a:gdLst>
                <a:ahLst/>
                <a:cxnLst>
                  <a:cxn ang="T10">
                    <a:pos x="T0" y="T1"/>
                  </a:cxn>
                  <a:cxn ang="T11">
                    <a:pos x="T2" y="T3"/>
                  </a:cxn>
                  <a:cxn ang="T12">
                    <a:pos x="T4" y="T5"/>
                  </a:cxn>
                  <a:cxn ang="T13">
                    <a:pos x="T6" y="T7"/>
                  </a:cxn>
                  <a:cxn ang="T14">
                    <a:pos x="T8" y="T9"/>
                  </a:cxn>
                </a:cxnLst>
                <a:rect l="T15" t="T16" r="T17" b="T18"/>
                <a:pathLst>
                  <a:path w="918" h="276">
                    <a:moveTo>
                      <a:pt x="174" y="276"/>
                    </a:moveTo>
                    <a:lnTo>
                      <a:pt x="0" y="102"/>
                    </a:lnTo>
                    <a:lnTo>
                      <a:pt x="768" y="0"/>
                    </a:lnTo>
                    <a:lnTo>
                      <a:pt x="918" y="126"/>
                    </a:lnTo>
                    <a:lnTo>
                      <a:pt x="174" y="276"/>
                    </a:lnTo>
                    <a:close/>
                  </a:path>
                </a:pathLst>
              </a:custGeom>
              <a:gradFill rotWithShape="1">
                <a:gsLst>
                  <a:gs pos="0">
                    <a:srgbClr val="878787">
                      <a:alpha val="56000"/>
                    </a:srgbClr>
                  </a:gs>
                  <a:gs pos="100000">
                    <a:srgbClr val="767676">
                      <a:alpha val="10001"/>
                    </a:srgbClr>
                  </a:gs>
                </a:gsLst>
                <a:lin ang="2700000" scaled="1"/>
              </a:gradFill>
              <a:ln w="9525">
                <a:noFill/>
                <a:round/>
                <a:headEnd/>
                <a:tailEnd/>
              </a:ln>
            </p:spPr>
            <p:txBody>
              <a:bodyPr wrap="none" anchor="ctr"/>
              <a:lstStyle/>
              <a:p>
                <a:pPr defTabSz="912546"/>
                <a:endParaRPr>
                  <a:solidFill>
                    <a:srgbClr val="000000"/>
                  </a:solidFill>
                </a:endParaRPr>
              </a:p>
            </p:txBody>
          </p:sp>
          <p:grpSp>
            <p:nvGrpSpPr>
              <p:cNvPr id="16" name="Group 125"/>
              <p:cNvGrpSpPr>
                <a:grpSpLocks/>
              </p:cNvGrpSpPr>
              <p:nvPr/>
            </p:nvGrpSpPr>
            <p:grpSpPr bwMode="gray">
              <a:xfrm>
                <a:off x="2580" y="2432"/>
                <a:ext cx="781" cy="571"/>
                <a:chOff x="3230" y="1121"/>
                <a:chExt cx="1560" cy="1115"/>
              </a:xfrm>
            </p:grpSpPr>
            <p:sp>
              <p:nvSpPr>
                <p:cNvPr id="264318" name="Freeform 126"/>
                <p:cNvSpPr>
                  <a:spLocks/>
                </p:cNvSpPr>
                <p:nvPr/>
              </p:nvSpPr>
              <p:spPr bwMode="gray">
                <a:xfrm>
                  <a:off x="3203" y="1326"/>
                  <a:ext cx="318" cy="882"/>
                </a:xfrm>
                <a:custGeom>
                  <a:avLst/>
                  <a:gdLst/>
                  <a:ahLst/>
                  <a:cxnLst>
                    <a:cxn ang="0">
                      <a:pos x="62" y="616"/>
                    </a:cxn>
                    <a:cxn ang="0">
                      <a:pos x="0" y="0"/>
                    </a:cxn>
                    <a:cxn ang="0">
                      <a:pos x="270" y="188"/>
                    </a:cxn>
                    <a:cxn ang="0">
                      <a:pos x="316" y="882"/>
                    </a:cxn>
                    <a:cxn ang="0">
                      <a:pos x="64" y="616"/>
                    </a:cxn>
                  </a:cxnLst>
                  <a:rect l="0" t="0" r="r" b="b"/>
                  <a:pathLst>
                    <a:path w="316" h="882">
                      <a:moveTo>
                        <a:pt x="62" y="616"/>
                      </a:moveTo>
                      <a:lnTo>
                        <a:pt x="0" y="0"/>
                      </a:lnTo>
                      <a:lnTo>
                        <a:pt x="270" y="188"/>
                      </a:lnTo>
                      <a:lnTo>
                        <a:pt x="316" y="882"/>
                      </a:lnTo>
                      <a:lnTo>
                        <a:pt x="64" y="616"/>
                      </a:lnTo>
                    </a:path>
                  </a:pathLst>
                </a:custGeom>
                <a:gradFill rotWithShape="1">
                  <a:gsLst>
                    <a:gs pos="0">
                      <a:schemeClr val="folHlink"/>
                    </a:gs>
                    <a:gs pos="100000">
                      <a:schemeClr val="folHlink">
                        <a:gamma/>
                        <a:shade val="66275"/>
                        <a:invGamma/>
                      </a:schemeClr>
                    </a:gs>
                  </a:gsLst>
                  <a:path path="rect">
                    <a:fillToRect l="100000" b="100000"/>
                  </a:path>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264319" name="Freeform 127"/>
                <p:cNvSpPr>
                  <a:spLocks/>
                </p:cNvSpPr>
                <p:nvPr/>
              </p:nvSpPr>
              <p:spPr bwMode="gray">
                <a:xfrm>
                  <a:off x="3861" y="1471"/>
                  <a:ext cx="901" cy="255"/>
                </a:xfrm>
                <a:custGeom>
                  <a:avLst/>
                  <a:gdLst/>
                  <a:ahLst/>
                  <a:cxnLst>
                    <a:cxn ang="0">
                      <a:pos x="272" y="254"/>
                    </a:cxn>
                    <a:cxn ang="0">
                      <a:pos x="902" y="152"/>
                    </a:cxn>
                    <a:cxn ang="0">
                      <a:pos x="574" y="0"/>
                    </a:cxn>
                    <a:cxn ang="0">
                      <a:pos x="0" y="86"/>
                    </a:cxn>
                    <a:cxn ang="0">
                      <a:pos x="272" y="254"/>
                    </a:cxn>
                  </a:cxnLst>
                  <a:rect l="0" t="0" r="r" b="b"/>
                  <a:pathLst>
                    <a:path w="902" h="254">
                      <a:moveTo>
                        <a:pt x="272" y="254"/>
                      </a:moveTo>
                      <a:lnTo>
                        <a:pt x="902" y="152"/>
                      </a:lnTo>
                      <a:lnTo>
                        <a:pt x="574" y="0"/>
                      </a:lnTo>
                      <a:lnTo>
                        <a:pt x="0" y="86"/>
                      </a:lnTo>
                      <a:lnTo>
                        <a:pt x="272" y="254"/>
                      </a:lnTo>
                      <a:close/>
                    </a:path>
                  </a:pathLst>
                </a:custGeom>
                <a:gradFill rotWithShape="1">
                  <a:gsLst>
                    <a:gs pos="0">
                      <a:schemeClr val="bg2"/>
                    </a:gs>
                    <a:gs pos="100000">
                      <a:schemeClr val="bg2">
                        <a:gamma/>
                        <a:tint val="63922"/>
                        <a:invGamma/>
                      </a:schemeClr>
                    </a:gs>
                  </a:gsLst>
                  <a:path path="rect">
                    <a:fillToRect r="100000" b="100000"/>
                  </a:path>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264320" name="Freeform 128"/>
                <p:cNvSpPr>
                  <a:spLocks/>
                </p:cNvSpPr>
                <p:nvPr/>
              </p:nvSpPr>
              <p:spPr bwMode="gray">
                <a:xfrm>
                  <a:off x="3932" y="1478"/>
                  <a:ext cx="778" cy="229"/>
                </a:xfrm>
                <a:custGeom>
                  <a:avLst/>
                  <a:gdLst/>
                  <a:ahLst/>
                  <a:cxnLst>
                    <a:cxn ang="0">
                      <a:pos x="158" y="228"/>
                    </a:cxn>
                    <a:cxn ang="0">
                      <a:pos x="778" y="132"/>
                    </a:cxn>
                    <a:cxn ang="0">
                      <a:pos x="496" y="0"/>
                    </a:cxn>
                    <a:cxn ang="0">
                      <a:pos x="0" y="76"/>
                    </a:cxn>
                    <a:cxn ang="0">
                      <a:pos x="158" y="228"/>
                    </a:cxn>
                  </a:cxnLst>
                  <a:rect l="0" t="0" r="r" b="b"/>
                  <a:pathLst>
                    <a:path w="778" h="228">
                      <a:moveTo>
                        <a:pt x="158" y="228"/>
                      </a:moveTo>
                      <a:lnTo>
                        <a:pt x="778" y="132"/>
                      </a:lnTo>
                      <a:lnTo>
                        <a:pt x="496" y="0"/>
                      </a:lnTo>
                      <a:lnTo>
                        <a:pt x="0" y="76"/>
                      </a:lnTo>
                      <a:lnTo>
                        <a:pt x="158" y="228"/>
                      </a:lnTo>
                      <a:close/>
                    </a:path>
                  </a:pathLst>
                </a:custGeom>
                <a:gradFill rotWithShape="1">
                  <a:gsLst>
                    <a:gs pos="0">
                      <a:schemeClr val="bg2"/>
                    </a:gs>
                    <a:gs pos="100000">
                      <a:schemeClr val="bg2">
                        <a:gamma/>
                        <a:shade val="89020"/>
                        <a:invGamma/>
                      </a:schemeClr>
                    </a:gs>
                  </a:gsLst>
                  <a:path path="rect">
                    <a:fillToRect l="100000" t="100000"/>
                  </a:path>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2243" name="Freeform 129"/>
                <p:cNvSpPr>
                  <a:spLocks/>
                </p:cNvSpPr>
                <p:nvPr/>
              </p:nvSpPr>
              <p:spPr bwMode="gray">
                <a:xfrm>
                  <a:off x="3502" y="1440"/>
                  <a:ext cx="1288" cy="796"/>
                </a:xfrm>
                <a:custGeom>
                  <a:avLst/>
                  <a:gdLst>
                    <a:gd name="T0" fmla="*/ 670 w 1288"/>
                    <a:gd name="T1" fmla="*/ 0 h 796"/>
                    <a:gd name="T2" fmla="*/ 658 w 1288"/>
                    <a:gd name="T3" fmla="*/ 300 h 796"/>
                    <a:gd name="T4" fmla="*/ 1288 w 1288"/>
                    <a:gd name="T5" fmla="*/ 198 h 796"/>
                    <a:gd name="T6" fmla="*/ 1244 w 1288"/>
                    <a:gd name="T7" fmla="*/ 518 h 796"/>
                    <a:gd name="T8" fmla="*/ 58 w 1288"/>
                    <a:gd name="T9" fmla="*/ 792 h 796"/>
                    <a:gd name="T10" fmla="*/ 44 w 1288"/>
                    <a:gd name="T11" fmla="*/ 796 h 796"/>
                    <a:gd name="T12" fmla="*/ 0 w 1288"/>
                    <a:gd name="T13" fmla="*/ 96 h 796"/>
                    <a:gd name="T14" fmla="*/ 670 w 1288"/>
                    <a:gd name="T15" fmla="*/ 0 h 796"/>
                    <a:gd name="T16" fmla="*/ 0 60000 65536"/>
                    <a:gd name="T17" fmla="*/ 0 60000 65536"/>
                    <a:gd name="T18" fmla="*/ 0 60000 65536"/>
                    <a:gd name="T19" fmla="*/ 0 60000 65536"/>
                    <a:gd name="T20" fmla="*/ 0 60000 65536"/>
                    <a:gd name="T21" fmla="*/ 0 60000 65536"/>
                    <a:gd name="T22" fmla="*/ 0 60000 65536"/>
                    <a:gd name="T23" fmla="*/ 0 60000 65536"/>
                    <a:gd name="T24" fmla="*/ 0 w 1288"/>
                    <a:gd name="T25" fmla="*/ 0 h 796"/>
                    <a:gd name="T26" fmla="*/ 1288 w 1288"/>
                    <a:gd name="T27" fmla="*/ 796 h 7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8" h="796">
                      <a:moveTo>
                        <a:pt x="670" y="0"/>
                      </a:moveTo>
                      <a:lnTo>
                        <a:pt x="658" y="300"/>
                      </a:lnTo>
                      <a:lnTo>
                        <a:pt x="1288" y="198"/>
                      </a:lnTo>
                      <a:lnTo>
                        <a:pt x="1244" y="518"/>
                      </a:lnTo>
                      <a:cubicBezTo>
                        <a:pt x="1080" y="562"/>
                        <a:pt x="258" y="748"/>
                        <a:pt x="58" y="792"/>
                      </a:cubicBezTo>
                      <a:lnTo>
                        <a:pt x="44" y="796"/>
                      </a:lnTo>
                      <a:lnTo>
                        <a:pt x="0" y="96"/>
                      </a:lnTo>
                      <a:lnTo>
                        <a:pt x="670" y="0"/>
                      </a:lnTo>
                      <a:close/>
                    </a:path>
                  </a:pathLst>
                </a:custGeom>
                <a:gradFill rotWithShape="1">
                  <a:gsLst>
                    <a:gs pos="0">
                      <a:srgbClr val="999999"/>
                    </a:gs>
                    <a:gs pos="100000">
                      <a:srgbClr val="939393"/>
                    </a:gs>
                  </a:gsLst>
                  <a:path path="rect">
                    <a:fillToRect r="100000" b="100000"/>
                  </a:path>
                </a:gradFill>
                <a:ln w="9525">
                  <a:noFill/>
                  <a:round/>
                  <a:headEnd/>
                  <a:tailEnd/>
                </a:ln>
              </p:spPr>
              <p:txBody>
                <a:bodyPr wrap="none" anchor="ctr"/>
                <a:lstStyle/>
                <a:p>
                  <a:pPr defTabSz="912546"/>
                  <a:endParaRPr>
                    <a:solidFill>
                      <a:srgbClr val="000000"/>
                    </a:solidFill>
                  </a:endParaRPr>
                </a:p>
              </p:txBody>
            </p:sp>
            <p:sp>
              <p:nvSpPr>
                <p:cNvPr id="264322" name="Freeform 130"/>
                <p:cNvSpPr>
                  <a:spLocks/>
                </p:cNvSpPr>
                <p:nvPr/>
              </p:nvSpPr>
              <p:spPr bwMode="gray">
                <a:xfrm>
                  <a:off x="3202" y="1255"/>
                  <a:ext cx="946" cy="261"/>
                </a:xfrm>
                <a:custGeom>
                  <a:avLst/>
                  <a:gdLst/>
                  <a:ahLst/>
                  <a:cxnLst>
                    <a:cxn ang="0">
                      <a:pos x="0" y="78"/>
                    </a:cxn>
                    <a:cxn ang="0">
                      <a:pos x="270" y="264"/>
                    </a:cxn>
                    <a:cxn ang="0">
                      <a:pos x="946" y="166"/>
                    </a:cxn>
                    <a:cxn ang="0">
                      <a:pos x="620" y="0"/>
                    </a:cxn>
                    <a:cxn ang="0">
                      <a:pos x="0" y="78"/>
                    </a:cxn>
                    <a:cxn ang="0">
                      <a:pos x="0" y="78"/>
                    </a:cxn>
                  </a:cxnLst>
                  <a:rect l="0" t="0" r="r" b="b"/>
                  <a:pathLst>
                    <a:path w="946" h="264">
                      <a:moveTo>
                        <a:pt x="0" y="78"/>
                      </a:moveTo>
                      <a:lnTo>
                        <a:pt x="270" y="264"/>
                      </a:lnTo>
                      <a:lnTo>
                        <a:pt x="946" y="166"/>
                      </a:lnTo>
                      <a:lnTo>
                        <a:pt x="620" y="0"/>
                      </a:lnTo>
                      <a:lnTo>
                        <a:pt x="0" y="78"/>
                      </a:lnTo>
                      <a:lnTo>
                        <a:pt x="0" y="78"/>
                      </a:lnTo>
                      <a:close/>
                    </a:path>
                  </a:pathLst>
                </a:custGeom>
                <a:gradFill rotWithShape="1">
                  <a:gsLst>
                    <a:gs pos="0">
                      <a:schemeClr val="bg2"/>
                    </a:gs>
                    <a:gs pos="100000">
                      <a:schemeClr val="bg2">
                        <a:gamma/>
                        <a:tint val="63922"/>
                        <a:invGamma/>
                      </a:schemeClr>
                    </a:gs>
                  </a:gsLst>
                  <a:path path="rect">
                    <a:fillToRect r="100000" b="100000"/>
                  </a:path>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264323" name="Freeform 131"/>
                <p:cNvSpPr>
                  <a:spLocks/>
                </p:cNvSpPr>
                <p:nvPr/>
              </p:nvSpPr>
              <p:spPr bwMode="gray">
                <a:xfrm>
                  <a:off x="3239" y="1267"/>
                  <a:ext cx="859" cy="233"/>
                </a:xfrm>
                <a:custGeom>
                  <a:avLst/>
                  <a:gdLst/>
                  <a:ahLst/>
                  <a:cxnLst>
                    <a:cxn ang="0">
                      <a:pos x="240" y="232"/>
                    </a:cxn>
                    <a:cxn ang="0">
                      <a:pos x="860" y="142"/>
                    </a:cxn>
                    <a:cxn ang="0">
                      <a:pos x="578" y="0"/>
                    </a:cxn>
                    <a:cxn ang="0">
                      <a:pos x="0" y="72"/>
                    </a:cxn>
                    <a:cxn ang="0">
                      <a:pos x="240" y="232"/>
                    </a:cxn>
                  </a:cxnLst>
                  <a:rect l="0" t="0" r="r" b="b"/>
                  <a:pathLst>
                    <a:path w="860" h="232">
                      <a:moveTo>
                        <a:pt x="240" y="232"/>
                      </a:moveTo>
                      <a:lnTo>
                        <a:pt x="860" y="142"/>
                      </a:lnTo>
                      <a:lnTo>
                        <a:pt x="578" y="0"/>
                      </a:lnTo>
                      <a:lnTo>
                        <a:pt x="0" y="72"/>
                      </a:lnTo>
                      <a:lnTo>
                        <a:pt x="240" y="232"/>
                      </a:lnTo>
                      <a:close/>
                    </a:path>
                  </a:pathLst>
                </a:custGeom>
                <a:gradFill rotWithShape="1">
                  <a:gsLst>
                    <a:gs pos="0">
                      <a:schemeClr val="bg2"/>
                    </a:gs>
                    <a:gs pos="100000">
                      <a:schemeClr val="bg2">
                        <a:gamma/>
                        <a:shade val="89020"/>
                        <a:invGamma/>
                      </a:schemeClr>
                    </a:gs>
                  </a:gsLst>
                  <a:path path="rect">
                    <a:fillToRect l="100000" t="100000"/>
                  </a:path>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2246" name="Freeform 132"/>
                <p:cNvSpPr>
                  <a:spLocks/>
                </p:cNvSpPr>
                <p:nvPr/>
              </p:nvSpPr>
              <p:spPr bwMode="gray">
                <a:xfrm>
                  <a:off x="3844" y="1290"/>
                  <a:ext cx="282" cy="148"/>
                </a:xfrm>
                <a:custGeom>
                  <a:avLst/>
                  <a:gdLst>
                    <a:gd name="T0" fmla="*/ 250 w 282"/>
                    <a:gd name="T1" fmla="*/ 148 h 148"/>
                    <a:gd name="T2" fmla="*/ 282 w 282"/>
                    <a:gd name="T3" fmla="*/ 142 h 148"/>
                    <a:gd name="T4" fmla="*/ 0 w 282"/>
                    <a:gd name="T5" fmla="*/ 0 h 148"/>
                    <a:gd name="T6" fmla="*/ 0 w 282"/>
                    <a:gd name="T7" fmla="*/ 16 h 148"/>
                    <a:gd name="T8" fmla="*/ 250 w 282"/>
                    <a:gd name="T9" fmla="*/ 148 h 148"/>
                    <a:gd name="T10" fmla="*/ 0 60000 65536"/>
                    <a:gd name="T11" fmla="*/ 0 60000 65536"/>
                    <a:gd name="T12" fmla="*/ 0 60000 65536"/>
                    <a:gd name="T13" fmla="*/ 0 60000 65536"/>
                    <a:gd name="T14" fmla="*/ 0 60000 65536"/>
                    <a:gd name="T15" fmla="*/ 0 w 282"/>
                    <a:gd name="T16" fmla="*/ 0 h 148"/>
                    <a:gd name="T17" fmla="*/ 282 w 282"/>
                    <a:gd name="T18" fmla="*/ 148 h 148"/>
                  </a:gdLst>
                  <a:ahLst/>
                  <a:cxnLst>
                    <a:cxn ang="T10">
                      <a:pos x="T0" y="T1"/>
                    </a:cxn>
                    <a:cxn ang="T11">
                      <a:pos x="T2" y="T3"/>
                    </a:cxn>
                    <a:cxn ang="T12">
                      <a:pos x="T4" y="T5"/>
                    </a:cxn>
                    <a:cxn ang="T13">
                      <a:pos x="T6" y="T7"/>
                    </a:cxn>
                    <a:cxn ang="T14">
                      <a:pos x="T8" y="T9"/>
                    </a:cxn>
                  </a:cxnLst>
                  <a:rect l="T15" t="T16" r="T17" b="T18"/>
                  <a:pathLst>
                    <a:path w="282" h="148">
                      <a:moveTo>
                        <a:pt x="250" y="148"/>
                      </a:moveTo>
                      <a:lnTo>
                        <a:pt x="282" y="142"/>
                      </a:lnTo>
                      <a:lnTo>
                        <a:pt x="0" y="0"/>
                      </a:lnTo>
                      <a:lnTo>
                        <a:pt x="0" y="16"/>
                      </a:lnTo>
                      <a:lnTo>
                        <a:pt x="250" y="148"/>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47" name="Freeform 133"/>
                <p:cNvSpPr>
                  <a:spLocks/>
                </p:cNvSpPr>
                <p:nvPr/>
              </p:nvSpPr>
              <p:spPr bwMode="gray">
                <a:xfrm>
                  <a:off x="3266" y="1290"/>
                  <a:ext cx="578" cy="86"/>
                </a:xfrm>
                <a:custGeom>
                  <a:avLst/>
                  <a:gdLst>
                    <a:gd name="T0" fmla="*/ 20 w 578"/>
                    <a:gd name="T1" fmla="*/ 86 h 86"/>
                    <a:gd name="T2" fmla="*/ 578 w 578"/>
                    <a:gd name="T3" fmla="*/ 14 h 86"/>
                    <a:gd name="T4" fmla="*/ 578 w 578"/>
                    <a:gd name="T5" fmla="*/ 0 h 86"/>
                    <a:gd name="T6" fmla="*/ 0 w 578"/>
                    <a:gd name="T7" fmla="*/ 72 h 86"/>
                    <a:gd name="T8" fmla="*/ 20 w 578"/>
                    <a:gd name="T9" fmla="*/ 86 h 86"/>
                    <a:gd name="T10" fmla="*/ 0 60000 65536"/>
                    <a:gd name="T11" fmla="*/ 0 60000 65536"/>
                    <a:gd name="T12" fmla="*/ 0 60000 65536"/>
                    <a:gd name="T13" fmla="*/ 0 60000 65536"/>
                    <a:gd name="T14" fmla="*/ 0 60000 65536"/>
                    <a:gd name="T15" fmla="*/ 0 w 578"/>
                    <a:gd name="T16" fmla="*/ 0 h 86"/>
                    <a:gd name="T17" fmla="*/ 578 w 578"/>
                    <a:gd name="T18" fmla="*/ 86 h 86"/>
                  </a:gdLst>
                  <a:ahLst/>
                  <a:cxnLst>
                    <a:cxn ang="T10">
                      <a:pos x="T0" y="T1"/>
                    </a:cxn>
                    <a:cxn ang="T11">
                      <a:pos x="T2" y="T3"/>
                    </a:cxn>
                    <a:cxn ang="T12">
                      <a:pos x="T4" y="T5"/>
                    </a:cxn>
                    <a:cxn ang="T13">
                      <a:pos x="T6" y="T7"/>
                    </a:cxn>
                    <a:cxn ang="T14">
                      <a:pos x="T8" y="T9"/>
                    </a:cxn>
                  </a:cxnLst>
                  <a:rect l="T15" t="T16" r="T17" b="T18"/>
                  <a:pathLst>
                    <a:path w="578" h="86">
                      <a:moveTo>
                        <a:pt x="20" y="86"/>
                      </a:moveTo>
                      <a:lnTo>
                        <a:pt x="578" y="14"/>
                      </a:lnTo>
                      <a:lnTo>
                        <a:pt x="578" y="0"/>
                      </a:lnTo>
                      <a:lnTo>
                        <a:pt x="0" y="72"/>
                      </a:lnTo>
                      <a:lnTo>
                        <a:pt x="20" y="86"/>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48" name="Freeform 134"/>
                <p:cNvSpPr>
                  <a:spLocks/>
                </p:cNvSpPr>
                <p:nvPr/>
              </p:nvSpPr>
              <p:spPr bwMode="gray">
                <a:xfrm>
                  <a:off x="4454" y="1498"/>
                  <a:ext cx="282" cy="138"/>
                </a:xfrm>
                <a:custGeom>
                  <a:avLst/>
                  <a:gdLst>
                    <a:gd name="T0" fmla="*/ 250 w 282"/>
                    <a:gd name="T1" fmla="*/ 138 h 138"/>
                    <a:gd name="T2" fmla="*/ 282 w 282"/>
                    <a:gd name="T3" fmla="*/ 132 h 138"/>
                    <a:gd name="T4" fmla="*/ 0 w 282"/>
                    <a:gd name="T5" fmla="*/ 0 h 138"/>
                    <a:gd name="T6" fmla="*/ 0 w 282"/>
                    <a:gd name="T7" fmla="*/ 18 h 138"/>
                    <a:gd name="T8" fmla="*/ 250 w 282"/>
                    <a:gd name="T9" fmla="*/ 138 h 138"/>
                    <a:gd name="T10" fmla="*/ 0 60000 65536"/>
                    <a:gd name="T11" fmla="*/ 0 60000 65536"/>
                    <a:gd name="T12" fmla="*/ 0 60000 65536"/>
                    <a:gd name="T13" fmla="*/ 0 60000 65536"/>
                    <a:gd name="T14" fmla="*/ 0 60000 65536"/>
                    <a:gd name="T15" fmla="*/ 0 w 282"/>
                    <a:gd name="T16" fmla="*/ 0 h 138"/>
                    <a:gd name="T17" fmla="*/ 282 w 282"/>
                    <a:gd name="T18" fmla="*/ 138 h 138"/>
                  </a:gdLst>
                  <a:ahLst/>
                  <a:cxnLst>
                    <a:cxn ang="T10">
                      <a:pos x="T0" y="T1"/>
                    </a:cxn>
                    <a:cxn ang="T11">
                      <a:pos x="T2" y="T3"/>
                    </a:cxn>
                    <a:cxn ang="T12">
                      <a:pos x="T4" y="T5"/>
                    </a:cxn>
                    <a:cxn ang="T13">
                      <a:pos x="T6" y="T7"/>
                    </a:cxn>
                    <a:cxn ang="T14">
                      <a:pos x="T8" y="T9"/>
                    </a:cxn>
                  </a:cxnLst>
                  <a:rect l="T15" t="T16" r="T17" b="T18"/>
                  <a:pathLst>
                    <a:path w="282" h="138">
                      <a:moveTo>
                        <a:pt x="250" y="138"/>
                      </a:moveTo>
                      <a:lnTo>
                        <a:pt x="282" y="132"/>
                      </a:lnTo>
                      <a:lnTo>
                        <a:pt x="0" y="0"/>
                      </a:lnTo>
                      <a:lnTo>
                        <a:pt x="0" y="18"/>
                      </a:lnTo>
                      <a:lnTo>
                        <a:pt x="250" y="138"/>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49" name="Freeform 135"/>
                <p:cNvSpPr>
                  <a:spLocks/>
                </p:cNvSpPr>
                <p:nvPr/>
              </p:nvSpPr>
              <p:spPr bwMode="gray">
                <a:xfrm>
                  <a:off x="4164" y="1500"/>
                  <a:ext cx="292" cy="60"/>
                </a:xfrm>
                <a:custGeom>
                  <a:avLst/>
                  <a:gdLst>
                    <a:gd name="T0" fmla="*/ 0 w 292"/>
                    <a:gd name="T1" fmla="*/ 60 h 60"/>
                    <a:gd name="T2" fmla="*/ 292 w 292"/>
                    <a:gd name="T3" fmla="*/ 14 h 60"/>
                    <a:gd name="T4" fmla="*/ 292 w 292"/>
                    <a:gd name="T5" fmla="*/ 0 h 60"/>
                    <a:gd name="T6" fmla="*/ 0 w 292"/>
                    <a:gd name="T7" fmla="*/ 44 h 60"/>
                    <a:gd name="T8" fmla="*/ 0 w 292"/>
                    <a:gd name="T9" fmla="*/ 60 h 60"/>
                    <a:gd name="T10" fmla="*/ 0 60000 65536"/>
                    <a:gd name="T11" fmla="*/ 0 60000 65536"/>
                    <a:gd name="T12" fmla="*/ 0 60000 65536"/>
                    <a:gd name="T13" fmla="*/ 0 60000 65536"/>
                    <a:gd name="T14" fmla="*/ 0 60000 65536"/>
                    <a:gd name="T15" fmla="*/ 0 w 292"/>
                    <a:gd name="T16" fmla="*/ 0 h 60"/>
                    <a:gd name="T17" fmla="*/ 292 w 292"/>
                    <a:gd name="T18" fmla="*/ 60 h 60"/>
                  </a:gdLst>
                  <a:ahLst/>
                  <a:cxnLst>
                    <a:cxn ang="T10">
                      <a:pos x="T0" y="T1"/>
                    </a:cxn>
                    <a:cxn ang="T11">
                      <a:pos x="T2" y="T3"/>
                    </a:cxn>
                    <a:cxn ang="T12">
                      <a:pos x="T4" y="T5"/>
                    </a:cxn>
                    <a:cxn ang="T13">
                      <a:pos x="T6" y="T7"/>
                    </a:cxn>
                    <a:cxn ang="T14">
                      <a:pos x="T8" y="T9"/>
                    </a:cxn>
                  </a:cxnLst>
                  <a:rect l="T15" t="T16" r="T17" b="T18"/>
                  <a:pathLst>
                    <a:path w="292" h="60">
                      <a:moveTo>
                        <a:pt x="0" y="60"/>
                      </a:moveTo>
                      <a:lnTo>
                        <a:pt x="292" y="14"/>
                      </a:lnTo>
                      <a:lnTo>
                        <a:pt x="292" y="0"/>
                      </a:lnTo>
                      <a:lnTo>
                        <a:pt x="0" y="44"/>
                      </a:lnTo>
                      <a:lnTo>
                        <a:pt x="0" y="60"/>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50" name="Freeform 136"/>
                <p:cNvSpPr>
                  <a:spLocks/>
                </p:cNvSpPr>
                <p:nvPr/>
              </p:nvSpPr>
              <p:spPr bwMode="gray">
                <a:xfrm>
                  <a:off x="3504" y="1486"/>
                  <a:ext cx="666" cy="184"/>
                </a:xfrm>
                <a:custGeom>
                  <a:avLst/>
                  <a:gdLst>
                    <a:gd name="T0" fmla="*/ 666 w 666"/>
                    <a:gd name="T1" fmla="*/ 0 h 184"/>
                    <a:gd name="T2" fmla="*/ 662 w 666"/>
                    <a:gd name="T3" fmla="*/ 80 h 184"/>
                    <a:gd name="T4" fmla="*/ 6 w 666"/>
                    <a:gd name="T5" fmla="*/ 184 h 184"/>
                    <a:gd name="T6" fmla="*/ 0 w 666"/>
                    <a:gd name="T7" fmla="*/ 100 h 184"/>
                    <a:gd name="T8" fmla="*/ 666 w 666"/>
                    <a:gd name="T9" fmla="*/ 0 h 184"/>
                    <a:gd name="T10" fmla="*/ 0 60000 65536"/>
                    <a:gd name="T11" fmla="*/ 0 60000 65536"/>
                    <a:gd name="T12" fmla="*/ 0 60000 65536"/>
                    <a:gd name="T13" fmla="*/ 0 60000 65536"/>
                    <a:gd name="T14" fmla="*/ 0 60000 65536"/>
                    <a:gd name="T15" fmla="*/ 0 w 666"/>
                    <a:gd name="T16" fmla="*/ 0 h 184"/>
                    <a:gd name="T17" fmla="*/ 666 w 666"/>
                    <a:gd name="T18" fmla="*/ 184 h 184"/>
                  </a:gdLst>
                  <a:ahLst/>
                  <a:cxnLst>
                    <a:cxn ang="T10">
                      <a:pos x="T0" y="T1"/>
                    </a:cxn>
                    <a:cxn ang="T11">
                      <a:pos x="T2" y="T3"/>
                    </a:cxn>
                    <a:cxn ang="T12">
                      <a:pos x="T4" y="T5"/>
                    </a:cxn>
                    <a:cxn ang="T13">
                      <a:pos x="T6" y="T7"/>
                    </a:cxn>
                    <a:cxn ang="T14">
                      <a:pos x="T8" y="T9"/>
                    </a:cxn>
                  </a:cxnLst>
                  <a:rect l="T15" t="T16" r="T17" b="T18"/>
                  <a:pathLst>
                    <a:path w="666" h="184">
                      <a:moveTo>
                        <a:pt x="666" y="0"/>
                      </a:moveTo>
                      <a:lnTo>
                        <a:pt x="662" y="80"/>
                      </a:lnTo>
                      <a:lnTo>
                        <a:pt x="6" y="184"/>
                      </a:lnTo>
                      <a:lnTo>
                        <a:pt x="0" y="100"/>
                      </a:lnTo>
                      <a:lnTo>
                        <a:pt x="666" y="0"/>
                      </a:lnTo>
                      <a:close/>
                    </a:path>
                  </a:pathLst>
                </a:custGeom>
                <a:gradFill rotWithShape="1">
                  <a:gsLst>
                    <a:gs pos="0">
                      <a:srgbClr val="5E7C92"/>
                    </a:gs>
                    <a:gs pos="100000">
                      <a:srgbClr val="455A6A"/>
                    </a:gs>
                  </a:gsLst>
                  <a:lin ang="5400000" scaled="1"/>
                </a:gradFill>
                <a:ln w="9525">
                  <a:noFill/>
                  <a:round/>
                  <a:headEnd/>
                  <a:tailEnd/>
                </a:ln>
              </p:spPr>
              <p:txBody>
                <a:bodyPr wrap="none" anchor="ctr"/>
                <a:lstStyle/>
                <a:p>
                  <a:pPr defTabSz="912546"/>
                  <a:endParaRPr>
                    <a:solidFill>
                      <a:srgbClr val="000000"/>
                    </a:solidFill>
                  </a:endParaRPr>
                </a:p>
              </p:txBody>
            </p:sp>
            <p:sp>
              <p:nvSpPr>
                <p:cNvPr id="442251" name="Freeform 137"/>
                <p:cNvSpPr>
                  <a:spLocks/>
                </p:cNvSpPr>
                <p:nvPr/>
              </p:nvSpPr>
              <p:spPr bwMode="gray">
                <a:xfrm>
                  <a:off x="3514" y="1632"/>
                  <a:ext cx="652" cy="186"/>
                </a:xfrm>
                <a:custGeom>
                  <a:avLst/>
                  <a:gdLst>
                    <a:gd name="T0" fmla="*/ 652 w 652"/>
                    <a:gd name="T1" fmla="*/ 0 h 186"/>
                    <a:gd name="T2" fmla="*/ 648 w 652"/>
                    <a:gd name="T3" fmla="*/ 80 h 186"/>
                    <a:gd name="T4" fmla="*/ 4 w 652"/>
                    <a:gd name="T5" fmla="*/ 186 h 186"/>
                    <a:gd name="T6" fmla="*/ 0 w 652"/>
                    <a:gd name="T7" fmla="*/ 100 h 186"/>
                    <a:gd name="T8" fmla="*/ 652 w 652"/>
                    <a:gd name="T9" fmla="*/ 0 h 186"/>
                    <a:gd name="T10" fmla="*/ 0 60000 65536"/>
                    <a:gd name="T11" fmla="*/ 0 60000 65536"/>
                    <a:gd name="T12" fmla="*/ 0 60000 65536"/>
                    <a:gd name="T13" fmla="*/ 0 60000 65536"/>
                    <a:gd name="T14" fmla="*/ 0 60000 65536"/>
                    <a:gd name="T15" fmla="*/ 0 w 652"/>
                    <a:gd name="T16" fmla="*/ 0 h 186"/>
                    <a:gd name="T17" fmla="*/ 652 w 652"/>
                    <a:gd name="T18" fmla="*/ 186 h 186"/>
                  </a:gdLst>
                  <a:ahLst/>
                  <a:cxnLst>
                    <a:cxn ang="T10">
                      <a:pos x="T0" y="T1"/>
                    </a:cxn>
                    <a:cxn ang="T11">
                      <a:pos x="T2" y="T3"/>
                    </a:cxn>
                    <a:cxn ang="T12">
                      <a:pos x="T4" y="T5"/>
                    </a:cxn>
                    <a:cxn ang="T13">
                      <a:pos x="T6" y="T7"/>
                    </a:cxn>
                    <a:cxn ang="T14">
                      <a:pos x="T8" y="T9"/>
                    </a:cxn>
                  </a:cxnLst>
                  <a:rect l="T15" t="T16" r="T17" b="T18"/>
                  <a:pathLst>
                    <a:path w="652" h="186">
                      <a:moveTo>
                        <a:pt x="652" y="0"/>
                      </a:moveTo>
                      <a:lnTo>
                        <a:pt x="648" y="80"/>
                      </a:lnTo>
                      <a:lnTo>
                        <a:pt x="4" y="186"/>
                      </a:lnTo>
                      <a:lnTo>
                        <a:pt x="0" y="100"/>
                      </a:lnTo>
                      <a:lnTo>
                        <a:pt x="652" y="0"/>
                      </a:lnTo>
                      <a:close/>
                    </a:path>
                  </a:pathLst>
                </a:custGeom>
                <a:gradFill rotWithShape="1">
                  <a:gsLst>
                    <a:gs pos="0">
                      <a:srgbClr val="5E7C92"/>
                    </a:gs>
                    <a:gs pos="100000">
                      <a:srgbClr val="455A6A"/>
                    </a:gs>
                  </a:gsLst>
                  <a:lin ang="5400000" scaled="1"/>
                </a:gradFill>
                <a:ln w="9525">
                  <a:noFill/>
                  <a:round/>
                  <a:headEnd/>
                  <a:tailEnd/>
                </a:ln>
              </p:spPr>
              <p:txBody>
                <a:bodyPr wrap="none" anchor="ctr"/>
                <a:lstStyle/>
                <a:p>
                  <a:pPr defTabSz="912546"/>
                  <a:endParaRPr>
                    <a:solidFill>
                      <a:srgbClr val="000000"/>
                    </a:solidFill>
                  </a:endParaRPr>
                </a:p>
              </p:txBody>
            </p:sp>
            <p:sp>
              <p:nvSpPr>
                <p:cNvPr id="442252" name="Freeform 138"/>
                <p:cNvSpPr>
                  <a:spLocks/>
                </p:cNvSpPr>
                <p:nvPr/>
              </p:nvSpPr>
              <p:spPr bwMode="gray">
                <a:xfrm>
                  <a:off x="3586" y="1484"/>
                  <a:ext cx="509" cy="180"/>
                </a:xfrm>
                <a:custGeom>
                  <a:avLst/>
                  <a:gdLst>
                    <a:gd name="T0" fmla="*/ 12 w 509"/>
                    <a:gd name="T1" fmla="*/ 175 h 180"/>
                    <a:gd name="T2" fmla="*/ 90 w 509"/>
                    <a:gd name="T3" fmla="*/ 163 h 180"/>
                    <a:gd name="T4" fmla="*/ 87 w 509"/>
                    <a:gd name="T5" fmla="*/ 69 h 180"/>
                    <a:gd name="T6" fmla="*/ 95 w 509"/>
                    <a:gd name="T7" fmla="*/ 63 h 180"/>
                    <a:gd name="T8" fmla="*/ 98 w 509"/>
                    <a:gd name="T9" fmla="*/ 163 h 180"/>
                    <a:gd name="T10" fmla="*/ 168 w 509"/>
                    <a:gd name="T11" fmla="*/ 151 h 180"/>
                    <a:gd name="T12" fmla="*/ 167 w 509"/>
                    <a:gd name="T13" fmla="*/ 54 h 180"/>
                    <a:gd name="T14" fmla="*/ 173 w 509"/>
                    <a:gd name="T15" fmla="*/ 55 h 180"/>
                    <a:gd name="T16" fmla="*/ 176 w 509"/>
                    <a:gd name="T17" fmla="*/ 151 h 180"/>
                    <a:gd name="T18" fmla="*/ 251 w 509"/>
                    <a:gd name="T19" fmla="*/ 139 h 180"/>
                    <a:gd name="T20" fmla="*/ 249 w 509"/>
                    <a:gd name="T21" fmla="*/ 43 h 180"/>
                    <a:gd name="T22" fmla="*/ 257 w 509"/>
                    <a:gd name="T23" fmla="*/ 40 h 180"/>
                    <a:gd name="T24" fmla="*/ 258 w 509"/>
                    <a:gd name="T25" fmla="*/ 139 h 180"/>
                    <a:gd name="T26" fmla="*/ 336 w 509"/>
                    <a:gd name="T27" fmla="*/ 126 h 180"/>
                    <a:gd name="T28" fmla="*/ 335 w 509"/>
                    <a:gd name="T29" fmla="*/ 30 h 180"/>
                    <a:gd name="T30" fmla="*/ 342 w 509"/>
                    <a:gd name="T31" fmla="*/ 27 h 180"/>
                    <a:gd name="T32" fmla="*/ 345 w 509"/>
                    <a:gd name="T33" fmla="*/ 126 h 180"/>
                    <a:gd name="T34" fmla="*/ 419 w 509"/>
                    <a:gd name="T35" fmla="*/ 115 h 180"/>
                    <a:gd name="T36" fmla="*/ 420 w 509"/>
                    <a:gd name="T37" fmla="*/ 16 h 180"/>
                    <a:gd name="T38" fmla="*/ 425 w 509"/>
                    <a:gd name="T39" fmla="*/ 12 h 180"/>
                    <a:gd name="T40" fmla="*/ 428 w 509"/>
                    <a:gd name="T41" fmla="*/ 115 h 180"/>
                    <a:gd name="T42" fmla="*/ 501 w 509"/>
                    <a:gd name="T43" fmla="*/ 99 h 180"/>
                    <a:gd name="T44" fmla="*/ 501 w 509"/>
                    <a:gd name="T45" fmla="*/ 7 h 180"/>
                    <a:gd name="T46" fmla="*/ 509 w 509"/>
                    <a:gd name="T47" fmla="*/ 0 h 180"/>
                    <a:gd name="T48" fmla="*/ 509 w 509"/>
                    <a:gd name="T49" fmla="*/ 100 h 180"/>
                    <a:gd name="T50" fmla="*/ 5 w 509"/>
                    <a:gd name="T51" fmla="*/ 180 h 180"/>
                    <a:gd name="T52" fmla="*/ 0 w 509"/>
                    <a:gd name="T53" fmla="*/ 87 h 180"/>
                    <a:gd name="T54" fmla="*/ 8 w 509"/>
                    <a:gd name="T55" fmla="*/ 82 h 180"/>
                    <a:gd name="T56" fmla="*/ 12 w 509"/>
                    <a:gd name="T57" fmla="*/ 175 h 18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9"/>
                    <a:gd name="T88" fmla="*/ 0 h 180"/>
                    <a:gd name="T89" fmla="*/ 509 w 509"/>
                    <a:gd name="T90" fmla="*/ 180 h 18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9" h="180">
                      <a:moveTo>
                        <a:pt x="12" y="175"/>
                      </a:moveTo>
                      <a:lnTo>
                        <a:pt x="90" y="163"/>
                      </a:lnTo>
                      <a:lnTo>
                        <a:pt x="87" y="69"/>
                      </a:lnTo>
                      <a:lnTo>
                        <a:pt x="95" y="63"/>
                      </a:lnTo>
                      <a:lnTo>
                        <a:pt x="98" y="163"/>
                      </a:lnTo>
                      <a:lnTo>
                        <a:pt x="168" y="151"/>
                      </a:lnTo>
                      <a:lnTo>
                        <a:pt x="167" y="54"/>
                      </a:lnTo>
                      <a:lnTo>
                        <a:pt x="173" y="55"/>
                      </a:lnTo>
                      <a:lnTo>
                        <a:pt x="176" y="151"/>
                      </a:lnTo>
                      <a:lnTo>
                        <a:pt x="251" y="139"/>
                      </a:lnTo>
                      <a:lnTo>
                        <a:pt x="249" y="43"/>
                      </a:lnTo>
                      <a:lnTo>
                        <a:pt x="257" y="40"/>
                      </a:lnTo>
                      <a:lnTo>
                        <a:pt x="258" y="139"/>
                      </a:lnTo>
                      <a:lnTo>
                        <a:pt x="336" y="126"/>
                      </a:lnTo>
                      <a:lnTo>
                        <a:pt x="335" y="30"/>
                      </a:lnTo>
                      <a:lnTo>
                        <a:pt x="342" y="27"/>
                      </a:lnTo>
                      <a:lnTo>
                        <a:pt x="345" y="126"/>
                      </a:lnTo>
                      <a:lnTo>
                        <a:pt x="419" y="115"/>
                      </a:lnTo>
                      <a:lnTo>
                        <a:pt x="420" y="16"/>
                      </a:lnTo>
                      <a:lnTo>
                        <a:pt x="425" y="12"/>
                      </a:lnTo>
                      <a:lnTo>
                        <a:pt x="428" y="115"/>
                      </a:lnTo>
                      <a:lnTo>
                        <a:pt x="501" y="99"/>
                      </a:lnTo>
                      <a:lnTo>
                        <a:pt x="501" y="7"/>
                      </a:lnTo>
                      <a:lnTo>
                        <a:pt x="509" y="0"/>
                      </a:lnTo>
                      <a:lnTo>
                        <a:pt x="509" y="100"/>
                      </a:lnTo>
                      <a:lnTo>
                        <a:pt x="5" y="180"/>
                      </a:lnTo>
                      <a:lnTo>
                        <a:pt x="0" y="87"/>
                      </a:lnTo>
                      <a:lnTo>
                        <a:pt x="8" y="82"/>
                      </a:lnTo>
                      <a:lnTo>
                        <a:pt x="12" y="175"/>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53" name="Freeform 139"/>
                <p:cNvSpPr>
                  <a:spLocks/>
                </p:cNvSpPr>
                <p:nvPr/>
              </p:nvSpPr>
              <p:spPr bwMode="gray">
                <a:xfrm>
                  <a:off x="3552" y="1676"/>
                  <a:ext cx="1214" cy="334"/>
                </a:xfrm>
                <a:custGeom>
                  <a:avLst/>
                  <a:gdLst>
                    <a:gd name="T0" fmla="*/ 1200 w 1214"/>
                    <a:gd name="T1" fmla="*/ 108 h 334"/>
                    <a:gd name="T2" fmla="*/ 1214 w 1214"/>
                    <a:gd name="T3" fmla="*/ 0 h 334"/>
                    <a:gd name="T4" fmla="*/ 0 w 1214"/>
                    <a:gd name="T5" fmla="*/ 214 h 334"/>
                    <a:gd name="T6" fmla="*/ 6 w 1214"/>
                    <a:gd name="T7" fmla="*/ 334 h 334"/>
                    <a:gd name="T8" fmla="*/ 1200 w 1214"/>
                    <a:gd name="T9" fmla="*/ 108 h 334"/>
                    <a:gd name="T10" fmla="*/ 0 60000 65536"/>
                    <a:gd name="T11" fmla="*/ 0 60000 65536"/>
                    <a:gd name="T12" fmla="*/ 0 60000 65536"/>
                    <a:gd name="T13" fmla="*/ 0 60000 65536"/>
                    <a:gd name="T14" fmla="*/ 0 60000 65536"/>
                    <a:gd name="T15" fmla="*/ 0 w 1214"/>
                    <a:gd name="T16" fmla="*/ 0 h 334"/>
                    <a:gd name="T17" fmla="*/ 1214 w 1214"/>
                    <a:gd name="T18" fmla="*/ 334 h 334"/>
                  </a:gdLst>
                  <a:ahLst/>
                  <a:cxnLst>
                    <a:cxn ang="T10">
                      <a:pos x="T0" y="T1"/>
                    </a:cxn>
                    <a:cxn ang="T11">
                      <a:pos x="T2" y="T3"/>
                    </a:cxn>
                    <a:cxn ang="T12">
                      <a:pos x="T4" y="T5"/>
                    </a:cxn>
                    <a:cxn ang="T13">
                      <a:pos x="T6" y="T7"/>
                    </a:cxn>
                    <a:cxn ang="T14">
                      <a:pos x="T8" y="T9"/>
                    </a:cxn>
                  </a:cxnLst>
                  <a:rect l="T15" t="T16" r="T17" b="T18"/>
                  <a:pathLst>
                    <a:path w="1214" h="334">
                      <a:moveTo>
                        <a:pt x="1200" y="108"/>
                      </a:moveTo>
                      <a:lnTo>
                        <a:pt x="1214" y="0"/>
                      </a:lnTo>
                      <a:lnTo>
                        <a:pt x="0" y="214"/>
                      </a:lnTo>
                      <a:lnTo>
                        <a:pt x="6" y="334"/>
                      </a:lnTo>
                      <a:lnTo>
                        <a:pt x="1200" y="108"/>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54" name="Freeform 140"/>
                <p:cNvSpPr>
                  <a:spLocks/>
                </p:cNvSpPr>
                <p:nvPr/>
              </p:nvSpPr>
              <p:spPr bwMode="gray">
                <a:xfrm>
                  <a:off x="3558" y="1676"/>
                  <a:ext cx="1196" cy="324"/>
                </a:xfrm>
                <a:custGeom>
                  <a:avLst/>
                  <a:gdLst>
                    <a:gd name="T0" fmla="*/ 1184 w 1196"/>
                    <a:gd name="T1" fmla="*/ 98 h 324"/>
                    <a:gd name="T2" fmla="*/ 1196 w 1196"/>
                    <a:gd name="T3" fmla="*/ 0 h 324"/>
                    <a:gd name="T4" fmla="*/ 6 w 1196"/>
                    <a:gd name="T5" fmla="*/ 218 h 324"/>
                    <a:gd name="T6" fmla="*/ 0 w 1196"/>
                    <a:gd name="T7" fmla="*/ 324 h 324"/>
                    <a:gd name="T8" fmla="*/ 1184 w 1196"/>
                    <a:gd name="T9" fmla="*/ 98 h 324"/>
                    <a:gd name="T10" fmla="*/ 0 60000 65536"/>
                    <a:gd name="T11" fmla="*/ 0 60000 65536"/>
                    <a:gd name="T12" fmla="*/ 0 60000 65536"/>
                    <a:gd name="T13" fmla="*/ 0 60000 65536"/>
                    <a:gd name="T14" fmla="*/ 0 60000 65536"/>
                    <a:gd name="T15" fmla="*/ 0 w 1196"/>
                    <a:gd name="T16" fmla="*/ 0 h 324"/>
                    <a:gd name="T17" fmla="*/ 1196 w 1196"/>
                    <a:gd name="T18" fmla="*/ 324 h 324"/>
                  </a:gdLst>
                  <a:ahLst/>
                  <a:cxnLst>
                    <a:cxn ang="T10">
                      <a:pos x="T0" y="T1"/>
                    </a:cxn>
                    <a:cxn ang="T11">
                      <a:pos x="T2" y="T3"/>
                    </a:cxn>
                    <a:cxn ang="T12">
                      <a:pos x="T4" y="T5"/>
                    </a:cxn>
                    <a:cxn ang="T13">
                      <a:pos x="T6" y="T7"/>
                    </a:cxn>
                    <a:cxn ang="T14">
                      <a:pos x="T8" y="T9"/>
                    </a:cxn>
                  </a:cxnLst>
                  <a:rect l="T15" t="T16" r="T17" b="T18"/>
                  <a:pathLst>
                    <a:path w="1196" h="324">
                      <a:moveTo>
                        <a:pt x="1184" y="98"/>
                      </a:moveTo>
                      <a:lnTo>
                        <a:pt x="1196" y="0"/>
                      </a:lnTo>
                      <a:lnTo>
                        <a:pt x="6" y="218"/>
                      </a:lnTo>
                      <a:lnTo>
                        <a:pt x="0" y="324"/>
                      </a:lnTo>
                      <a:lnTo>
                        <a:pt x="1184" y="98"/>
                      </a:lnTo>
                      <a:close/>
                    </a:path>
                  </a:pathLst>
                </a:custGeom>
                <a:solidFill>
                  <a:srgbClr val="F1B86D"/>
                </a:solidFill>
                <a:ln w="9525">
                  <a:noFill/>
                  <a:round/>
                  <a:headEnd/>
                  <a:tailEnd/>
                </a:ln>
              </p:spPr>
              <p:txBody>
                <a:bodyPr wrap="none" anchor="ctr"/>
                <a:lstStyle/>
                <a:p>
                  <a:pPr defTabSz="912546"/>
                  <a:endParaRPr>
                    <a:solidFill>
                      <a:srgbClr val="000000"/>
                    </a:solidFill>
                  </a:endParaRPr>
                </a:p>
              </p:txBody>
            </p:sp>
            <p:sp>
              <p:nvSpPr>
                <p:cNvPr id="442255" name="Freeform 141"/>
                <p:cNvSpPr>
                  <a:spLocks/>
                </p:cNvSpPr>
                <p:nvPr/>
              </p:nvSpPr>
              <p:spPr bwMode="gray">
                <a:xfrm>
                  <a:off x="3552" y="1678"/>
                  <a:ext cx="1194" cy="314"/>
                </a:xfrm>
                <a:custGeom>
                  <a:avLst/>
                  <a:gdLst>
                    <a:gd name="T0" fmla="*/ 1184 w 1194"/>
                    <a:gd name="T1" fmla="*/ 90 h 314"/>
                    <a:gd name="T2" fmla="*/ 1194 w 1194"/>
                    <a:gd name="T3" fmla="*/ 0 h 314"/>
                    <a:gd name="T4" fmla="*/ 0 w 1194"/>
                    <a:gd name="T5" fmla="*/ 210 h 314"/>
                    <a:gd name="T6" fmla="*/ 4 w 1194"/>
                    <a:gd name="T7" fmla="*/ 314 h 314"/>
                    <a:gd name="T8" fmla="*/ 1184 w 1194"/>
                    <a:gd name="T9" fmla="*/ 90 h 314"/>
                    <a:gd name="T10" fmla="*/ 0 60000 65536"/>
                    <a:gd name="T11" fmla="*/ 0 60000 65536"/>
                    <a:gd name="T12" fmla="*/ 0 60000 65536"/>
                    <a:gd name="T13" fmla="*/ 0 60000 65536"/>
                    <a:gd name="T14" fmla="*/ 0 60000 65536"/>
                    <a:gd name="T15" fmla="*/ 0 w 1194"/>
                    <a:gd name="T16" fmla="*/ 0 h 314"/>
                    <a:gd name="T17" fmla="*/ 1194 w 1194"/>
                    <a:gd name="T18" fmla="*/ 314 h 314"/>
                  </a:gdLst>
                  <a:ahLst/>
                  <a:cxnLst>
                    <a:cxn ang="T10">
                      <a:pos x="T0" y="T1"/>
                    </a:cxn>
                    <a:cxn ang="T11">
                      <a:pos x="T2" y="T3"/>
                    </a:cxn>
                    <a:cxn ang="T12">
                      <a:pos x="T4" y="T5"/>
                    </a:cxn>
                    <a:cxn ang="T13">
                      <a:pos x="T6" y="T7"/>
                    </a:cxn>
                    <a:cxn ang="T14">
                      <a:pos x="T8" y="T9"/>
                    </a:cxn>
                  </a:cxnLst>
                  <a:rect l="T15" t="T16" r="T17" b="T18"/>
                  <a:pathLst>
                    <a:path w="1194" h="314">
                      <a:moveTo>
                        <a:pt x="1184" y="90"/>
                      </a:moveTo>
                      <a:lnTo>
                        <a:pt x="1194" y="0"/>
                      </a:lnTo>
                      <a:lnTo>
                        <a:pt x="0" y="210"/>
                      </a:lnTo>
                      <a:lnTo>
                        <a:pt x="4" y="314"/>
                      </a:lnTo>
                      <a:lnTo>
                        <a:pt x="1184" y="90"/>
                      </a:lnTo>
                      <a:close/>
                    </a:path>
                  </a:pathLst>
                </a:custGeom>
                <a:gradFill rotWithShape="1">
                  <a:gsLst>
                    <a:gs pos="0">
                      <a:srgbClr val="5E7C92"/>
                    </a:gs>
                    <a:gs pos="100000">
                      <a:srgbClr val="5B788D"/>
                    </a:gs>
                  </a:gsLst>
                  <a:path path="rect">
                    <a:fillToRect r="100000" b="100000"/>
                  </a:path>
                </a:gradFill>
                <a:ln w="9525">
                  <a:noFill/>
                  <a:round/>
                  <a:headEnd/>
                  <a:tailEnd/>
                </a:ln>
              </p:spPr>
              <p:txBody>
                <a:bodyPr wrap="none" anchor="ctr"/>
                <a:lstStyle/>
                <a:p>
                  <a:pPr defTabSz="912546"/>
                  <a:endParaRPr>
                    <a:solidFill>
                      <a:srgbClr val="000000"/>
                    </a:solidFill>
                  </a:endParaRPr>
                </a:p>
              </p:txBody>
            </p:sp>
            <p:sp>
              <p:nvSpPr>
                <p:cNvPr id="442256" name="Freeform 142"/>
                <p:cNvSpPr>
                  <a:spLocks/>
                </p:cNvSpPr>
                <p:nvPr/>
              </p:nvSpPr>
              <p:spPr bwMode="gray">
                <a:xfrm>
                  <a:off x="3671" y="1698"/>
                  <a:ext cx="1010" cy="278"/>
                </a:xfrm>
                <a:custGeom>
                  <a:avLst/>
                  <a:gdLst>
                    <a:gd name="T0" fmla="*/ 4 w 1010"/>
                    <a:gd name="T1" fmla="*/ 275 h 278"/>
                    <a:gd name="T2" fmla="*/ 0 w 1010"/>
                    <a:gd name="T3" fmla="*/ 168 h 278"/>
                    <a:gd name="T4" fmla="*/ 10 w 1010"/>
                    <a:gd name="T5" fmla="*/ 167 h 278"/>
                    <a:gd name="T6" fmla="*/ 15 w 1010"/>
                    <a:gd name="T7" fmla="*/ 273 h 278"/>
                    <a:gd name="T8" fmla="*/ 133 w 1010"/>
                    <a:gd name="T9" fmla="*/ 251 h 278"/>
                    <a:gd name="T10" fmla="*/ 132 w 1010"/>
                    <a:gd name="T11" fmla="*/ 146 h 278"/>
                    <a:gd name="T12" fmla="*/ 139 w 1010"/>
                    <a:gd name="T13" fmla="*/ 141 h 278"/>
                    <a:gd name="T14" fmla="*/ 144 w 1010"/>
                    <a:gd name="T15" fmla="*/ 249 h 278"/>
                    <a:gd name="T16" fmla="*/ 262 w 1010"/>
                    <a:gd name="T17" fmla="*/ 225 h 278"/>
                    <a:gd name="T18" fmla="*/ 261 w 1010"/>
                    <a:gd name="T19" fmla="*/ 123 h 278"/>
                    <a:gd name="T20" fmla="*/ 271 w 1010"/>
                    <a:gd name="T21" fmla="*/ 122 h 278"/>
                    <a:gd name="T22" fmla="*/ 274 w 1010"/>
                    <a:gd name="T23" fmla="*/ 224 h 278"/>
                    <a:gd name="T24" fmla="*/ 397 w 1010"/>
                    <a:gd name="T25" fmla="*/ 198 h 278"/>
                    <a:gd name="T26" fmla="*/ 397 w 1010"/>
                    <a:gd name="T27" fmla="*/ 101 h 278"/>
                    <a:gd name="T28" fmla="*/ 406 w 1010"/>
                    <a:gd name="T29" fmla="*/ 98 h 278"/>
                    <a:gd name="T30" fmla="*/ 406 w 1010"/>
                    <a:gd name="T31" fmla="*/ 198 h 278"/>
                    <a:gd name="T32" fmla="*/ 523 w 1010"/>
                    <a:gd name="T33" fmla="*/ 176 h 278"/>
                    <a:gd name="T34" fmla="*/ 523 w 1010"/>
                    <a:gd name="T35" fmla="*/ 77 h 278"/>
                    <a:gd name="T36" fmla="*/ 531 w 1010"/>
                    <a:gd name="T37" fmla="*/ 74 h 278"/>
                    <a:gd name="T38" fmla="*/ 531 w 1010"/>
                    <a:gd name="T39" fmla="*/ 174 h 278"/>
                    <a:gd name="T40" fmla="*/ 643 w 1010"/>
                    <a:gd name="T41" fmla="*/ 152 h 278"/>
                    <a:gd name="T42" fmla="*/ 646 w 1010"/>
                    <a:gd name="T43" fmla="*/ 56 h 278"/>
                    <a:gd name="T44" fmla="*/ 654 w 1010"/>
                    <a:gd name="T45" fmla="*/ 54 h 278"/>
                    <a:gd name="T46" fmla="*/ 652 w 1010"/>
                    <a:gd name="T47" fmla="*/ 152 h 278"/>
                    <a:gd name="T48" fmla="*/ 760 w 1010"/>
                    <a:gd name="T49" fmla="*/ 131 h 278"/>
                    <a:gd name="T50" fmla="*/ 766 w 1010"/>
                    <a:gd name="T51" fmla="*/ 35 h 278"/>
                    <a:gd name="T52" fmla="*/ 774 w 1010"/>
                    <a:gd name="T53" fmla="*/ 35 h 278"/>
                    <a:gd name="T54" fmla="*/ 769 w 1010"/>
                    <a:gd name="T55" fmla="*/ 129 h 278"/>
                    <a:gd name="T56" fmla="*/ 868 w 1010"/>
                    <a:gd name="T57" fmla="*/ 111 h 278"/>
                    <a:gd name="T58" fmla="*/ 874 w 1010"/>
                    <a:gd name="T59" fmla="*/ 17 h 278"/>
                    <a:gd name="T60" fmla="*/ 882 w 1010"/>
                    <a:gd name="T61" fmla="*/ 15 h 278"/>
                    <a:gd name="T62" fmla="*/ 876 w 1010"/>
                    <a:gd name="T63" fmla="*/ 110 h 278"/>
                    <a:gd name="T64" fmla="*/ 970 w 1010"/>
                    <a:gd name="T65" fmla="*/ 92 h 278"/>
                    <a:gd name="T66" fmla="*/ 976 w 1010"/>
                    <a:gd name="T67" fmla="*/ 0 h 278"/>
                    <a:gd name="T68" fmla="*/ 984 w 1010"/>
                    <a:gd name="T69" fmla="*/ 0 h 278"/>
                    <a:gd name="T70" fmla="*/ 978 w 1010"/>
                    <a:gd name="T71" fmla="*/ 89 h 278"/>
                    <a:gd name="T72" fmla="*/ 973 w 1010"/>
                    <a:gd name="T73" fmla="*/ 92 h 278"/>
                    <a:gd name="T74" fmla="*/ 754 w 1010"/>
                    <a:gd name="T75" fmla="*/ 132 h 278"/>
                    <a:gd name="T76" fmla="*/ 3 w 1010"/>
                    <a:gd name="T77" fmla="*/ 278 h 278"/>
                    <a:gd name="T78" fmla="*/ 4 w 1010"/>
                    <a:gd name="T79" fmla="*/ 275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10"/>
                    <a:gd name="T121" fmla="*/ 0 h 278"/>
                    <a:gd name="T122" fmla="*/ 1010 w 1010"/>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10" h="278">
                      <a:moveTo>
                        <a:pt x="4" y="275"/>
                      </a:moveTo>
                      <a:lnTo>
                        <a:pt x="0" y="168"/>
                      </a:lnTo>
                      <a:lnTo>
                        <a:pt x="10" y="167"/>
                      </a:lnTo>
                      <a:lnTo>
                        <a:pt x="15" y="273"/>
                      </a:lnTo>
                      <a:lnTo>
                        <a:pt x="133" y="251"/>
                      </a:lnTo>
                      <a:lnTo>
                        <a:pt x="132" y="146"/>
                      </a:lnTo>
                      <a:lnTo>
                        <a:pt x="139" y="141"/>
                      </a:lnTo>
                      <a:lnTo>
                        <a:pt x="144" y="249"/>
                      </a:lnTo>
                      <a:lnTo>
                        <a:pt x="262" y="225"/>
                      </a:lnTo>
                      <a:lnTo>
                        <a:pt x="261" y="123"/>
                      </a:lnTo>
                      <a:lnTo>
                        <a:pt x="271" y="122"/>
                      </a:lnTo>
                      <a:lnTo>
                        <a:pt x="274" y="224"/>
                      </a:lnTo>
                      <a:lnTo>
                        <a:pt x="397" y="198"/>
                      </a:lnTo>
                      <a:lnTo>
                        <a:pt x="397" y="101"/>
                      </a:lnTo>
                      <a:lnTo>
                        <a:pt x="406" y="98"/>
                      </a:lnTo>
                      <a:lnTo>
                        <a:pt x="406" y="198"/>
                      </a:lnTo>
                      <a:lnTo>
                        <a:pt x="523" y="176"/>
                      </a:lnTo>
                      <a:lnTo>
                        <a:pt x="523" y="77"/>
                      </a:lnTo>
                      <a:lnTo>
                        <a:pt x="531" y="74"/>
                      </a:lnTo>
                      <a:lnTo>
                        <a:pt x="531" y="174"/>
                      </a:lnTo>
                      <a:lnTo>
                        <a:pt x="643" y="152"/>
                      </a:lnTo>
                      <a:lnTo>
                        <a:pt x="646" y="56"/>
                      </a:lnTo>
                      <a:lnTo>
                        <a:pt x="654" y="54"/>
                      </a:lnTo>
                      <a:lnTo>
                        <a:pt x="652" y="152"/>
                      </a:lnTo>
                      <a:lnTo>
                        <a:pt x="760" y="131"/>
                      </a:lnTo>
                      <a:lnTo>
                        <a:pt x="766" y="35"/>
                      </a:lnTo>
                      <a:lnTo>
                        <a:pt x="774" y="35"/>
                      </a:lnTo>
                      <a:lnTo>
                        <a:pt x="769" y="129"/>
                      </a:lnTo>
                      <a:lnTo>
                        <a:pt x="868" y="111"/>
                      </a:lnTo>
                      <a:lnTo>
                        <a:pt x="874" y="17"/>
                      </a:lnTo>
                      <a:lnTo>
                        <a:pt x="882" y="15"/>
                      </a:lnTo>
                      <a:lnTo>
                        <a:pt x="876" y="110"/>
                      </a:lnTo>
                      <a:lnTo>
                        <a:pt x="970" y="92"/>
                      </a:lnTo>
                      <a:lnTo>
                        <a:pt x="976" y="0"/>
                      </a:lnTo>
                      <a:lnTo>
                        <a:pt x="984" y="0"/>
                      </a:lnTo>
                      <a:cubicBezTo>
                        <a:pt x="985" y="12"/>
                        <a:pt x="980" y="74"/>
                        <a:pt x="978" y="89"/>
                      </a:cubicBezTo>
                      <a:cubicBezTo>
                        <a:pt x="976" y="104"/>
                        <a:pt x="1010" y="85"/>
                        <a:pt x="973" y="92"/>
                      </a:cubicBezTo>
                      <a:cubicBezTo>
                        <a:pt x="936" y="99"/>
                        <a:pt x="916" y="101"/>
                        <a:pt x="754" y="132"/>
                      </a:cubicBezTo>
                      <a:lnTo>
                        <a:pt x="3" y="278"/>
                      </a:lnTo>
                      <a:lnTo>
                        <a:pt x="4" y="275"/>
                      </a:lnTo>
                      <a:close/>
                    </a:path>
                  </a:pathLst>
                </a:custGeom>
                <a:solidFill>
                  <a:srgbClr val="F1B86D"/>
                </a:solidFill>
                <a:ln w="9525">
                  <a:noFill/>
                  <a:round/>
                  <a:headEnd/>
                  <a:tailEnd/>
                </a:ln>
              </p:spPr>
              <p:txBody>
                <a:bodyPr wrap="none" anchor="ctr"/>
                <a:lstStyle/>
                <a:p>
                  <a:pPr defTabSz="912546"/>
                  <a:endParaRPr>
                    <a:solidFill>
                      <a:srgbClr val="000000"/>
                    </a:solidFill>
                  </a:endParaRPr>
                </a:p>
              </p:txBody>
            </p:sp>
            <p:sp>
              <p:nvSpPr>
                <p:cNvPr id="442257" name="Freeform 143"/>
                <p:cNvSpPr>
                  <a:spLocks/>
                </p:cNvSpPr>
                <p:nvPr/>
              </p:nvSpPr>
              <p:spPr bwMode="gray">
                <a:xfrm>
                  <a:off x="3593" y="1635"/>
                  <a:ext cx="502" cy="173"/>
                </a:xfrm>
                <a:custGeom>
                  <a:avLst/>
                  <a:gdLst>
                    <a:gd name="T0" fmla="*/ 12 w 502"/>
                    <a:gd name="T1" fmla="*/ 173 h 173"/>
                    <a:gd name="T2" fmla="*/ 87 w 502"/>
                    <a:gd name="T3" fmla="*/ 161 h 173"/>
                    <a:gd name="T4" fmla="*/ 82 w 502"/>
                    <a:gd name="T5" fmla="*/ 66 h 173"/>
                    <a:gd name="T6" fmla="*/ 90 w 502"/>
                    <a:gd name="T7" fmla="*/ 60 h 173"/>
                    <a:gd name="T8" fmla="*/ 94 w 502"/>
                    <a:gd name="T9" fmla="*/ 158 h 173"/>
                    <a:gd name="T10" fmla="*/ 168 w 502"/>
                    <a:gd name="T11" fmla="*/ 149 h 173"/>
                    <a:gd name="T12" fmla="*/ 168 w 502"/>
                    <a:gd name="T13" fmla="*/ 53 h 173"/>
                    <a:gd name="T14" fmla="*/ 175 w 502"/>
                    <a:gd name="T15" fmla="*/ 54 h 173"/>
                    <a:gd name="T16" fmla="*/ 177 w 502"/>
                    <a:gd name="T17" fmla="*/ 147 h 173"/>
                    <a:gd name="T18" fmla="*/ 247 w 502"/>
                    <a:gd name="T19" fmla="*/ 134 h 173"/>
                    <a:gd name="T20" fmla="*/ 247 w 502"/>
                    <a:gd name="T21" fmla="*/ 35 h 173"/>
                    <a:gd name="T22" fmla="*/ 255 w 502"/>
                    <a:gd name="T23" fmla="*/ 36 h 173"/>
                    <a:gd name="T24" fmla="*/ 256 w 502"/>
                    <a:gd name="T25" fmla="*/ 129 h 173"/>
                    <a:gd name="T26" fmla="*/ 328 w 502"/>
                    <a:gd name="T27" fmla="*/ 122 h 173"/>
                    <a:gd name="T28" fmla="*/ 330 w 502"/>
                    <a:gd name="T29" fmla="*/ 27 h 173"/>
                    <a:gd name="T30" fmla="*/ 337 w 502"/>
                    <a:gd name="T31" fmla="*/ 24 h 173"/>
                    <a:gd name="T32" fmla="*/ 337 w 502"/>
                    <a:gd name="T33" fmla="*/ 122 h 173"/>
                    <a:gd name="T34" fmla="*/ 415 w 502"/>
                    <a:gd name="T35" fmla="*/ 111 h 173"/>
                    <a:gd name="T36" fmla="*/ 415 w 502"/>
                    <a:gd name="T37" fmla="*/ 13 h 173"/>
                    <a:gd name="T38" fmla="*/ 423 w 502"/>
                    <a:gd name="T39" fmla="*/ 11 h 173"/>
                    <a:gd name="T40" fmla="*/ 423 w 502"/>
                    <a:gd name="T41" fmla="*/ 108 h 173"/>
                    <a:gd name="T42" fmla="*/ 493 w 502"/>
                    <a:gd name="T43" fmla="*/ 99 h 173"/>
                    <a:gd name="T44" fmla="*/ 495 w 502"/>
                    <a:gd name="T45" fmla="*/ 2 h 173"/>
                    <a:gd name="T46" fmla="*/ 502 w 502"/>
                    <a:gd name="T47" fmla="*/ 0 h 173"/>
                    <a:gd name="T48" fmla="*/ 501 w 502"/>
                    <a:gd name="T49" fmla="*/ 96 h 173"/>
                    <a:gd name="T50" fmla="*/ 4 w 502"/>
                    <a:gd name="T51" fmla="*/ 173 h 173"/>
                    <a:gd name="T52" fmla="*/ 0 w 502"/>
                    <a:gd name="T53" fmla="*/ 80 h 173"/>
                    <a:gd name="T54" fmla="*/ 7 w 502"/>
                    <a:gd name="T55" fmla="*/ 80 h 173"/>
                    <a:gd name="T56" fmla="*/ 12 w 502"/>
                    <a:gd name="T57" fmla="*/ 173 h 17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2"/>
                    <a:gd name="T88" fmla="*/ 0 h 173"/>
                    <a:gd name="T89" fmla="*/ 502 w 502"/>
                    <a:gd name="T90" fmla="*/ 173 h 17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2" h="173">
                      <a:moveTo>
                        <a:pt x="12" y="173"/>
                      </a:moveTo>
                      <a:lnTo>
                        <a:pt x="87" y="161"/>
                      </a:lnTo>
                      <a:lnTo>
                        <a:pt x="82" y="66"/>
                      </a:lnTo>
                      <a:lnTo>
                        <a:pt x="90" y="60"/>
                      </a:lnTo>
                      <a:lnTo>
                        <a:pt x="94" y="158"/>
                      </a:lnTo>
                      <a:lnTo>
                        <a:pt x="168" y="149"/>
                      </a:lnTo>
                      <a:lnTo>
                        <a:pt x="168" y="53"/>
                      </a:lnTo>
                      <a:lnTo>
                        <a:pt x="175" y="54"/>
                      </a:lnTo>
                      <a:lnTo>
                        <a:pt x="177" y="147"/>
                      </a:lnTo>
                      <a:lnTo>
                        <a:pt x="247" y="134"/>
                      </a:lnTo>
                      <a:lnTo>
                        <a:pt x="247" y="35"/>
                      </a:lnTo>
                      <a:lnTo>
                        <a:pt x="255" y="36"/>
                      </a:lnTo>
                      <a:lnTo>
                        <a:pt x="256" y="129"/>
                      </a:lnTo>
                      <a:lnTo>
                        <a:pt x="328" y="122"/>
                      </a:lnTo>
                      <a:lnTo>
                        <a:pt x="330" y="27"/>
                      </a:lnTo>
                      <a:lnTo>
                        <a:pt x="337" y="24"/>
                      </a:lnTo>
                      <a:lnTo>
                        <a:pt x="337" y="122"/>
                      </a:lnTo>
                      <a:lnTo>
                        <a:pt x="415" y="111"/>
                      </a:lnTo>
                      <a:lnTo>
                        <a:pt x="415" y="13"/>
                      </a:lnTo>
                      <a:lnTo>
                        <a:pt x="423" y="11"/>
                      </a:lnTo>
                      <a:lnTo>
                        <a:pt x="423" y="108"/>
                      </a:lnTo>
                      <a:lnTo>
                        <a:pt x="493" y="99"/>
                      </a:lnTo>
                      <a:lnTo>
                        <a:pt x="495" y="2"/>
                      </a:lnTo>
                      <a:lnTo>
                        <a:pt x="502" y="0"/>
                      </a:lnTo>
                      <a:lnTo>
                        <a:pt x="501" y="96"/>
                      </a:lnTo>
                      <a:lnTo>
                        <a:pt x="4" y="173"/>
                      </a:lnTo>
                      <a:lnTo>
                        <a:pt x="0" y="80"/>
                      </a:lnTo>
                      <a:lnTo>
                        <a:pt x="7" y="80"/>
                      </a:lnTo>
                      <a:lnTo>
                        <a:pt x="12" y="173"/>
                      </a:lnTo>
                      <a:close/>
                    </a:path>
                  </a:pathLst>
                </a:custGeom>
                <a:solidFill>
                  <a:srgbClr val="999999"/>
                </a:solidFill>
                <a:ln w="9525">
                  <a:noFill/>
                  <a:round/>
                  <a:headEnd/>
                  <a:tailEnd/>
                </a:ln>
              </p:spPr>
              <p:txBody>
                <a:bodyPr wrap="none" anchor="ctr"/>
                <a:lstStyle/>
                <a:p>
                  <a:pPr defTabSz="912546"/>
                  <a:endParaRPr>
                    <a:solidFill>
                      <a:srgbClr val="000000"/>
                    </a:solidFill>
                  </a:endParaRPr>
                </a:p>
              </p:txBody>
            </p:sp>
            <p:sp>
              <p:nvSpPr>
                <p:cNvPr id="442258" name="Freeform 144"/>
                <p:cNvSpPr>
                  <a:spLocks/>
                </p:cNvSpPr>
                <p:nvPr/>
              </p:nvSpPr>
              <p:spPr bwMode="gray">
                <a:xfrm>
                  <a:off x="3552" y="1677"/>
                  <a:ext cx="1199" cy="270"/>
                </a:xfrm>
                <a:custGeom>
                  <a:avLst/>
                  <a:gdLst>
                    <a:gd name="T0" fmla="*/ 0 w 1199"/>
                    <a:gd name="T1" fmla="*/ 210 h 270"/>
                    <a:gd name="T2" fmla="*/ 0 w 1199"/>
                    <a:gd name="T3" fmla="*/ 216 h 270"/>
                    <a:gd name="T4" fmla="*/ 1199 w 1199"/>
                    <a:gd name="T5" fmla="*/ 6 h 270"/>
                    <a:gd name="T6" fmla="*/ 1194 w 1199"/>
                    <a:gd name="T7" fmla="*/ 45 h 270"/>
                    <a:gd name="T8" fmla="*/ 2 w 1199"/>
                    <a:gd name="T9" fmla="*/ 263 h 270"/>
                    <a:gd name="T10" fmla="*/ 3 w 1199"/>
                    <a:gd name="T11" fmla="*/ 270 h 270"/>
                    <a:gd name="T12" fmla="*/ 1193 w 1199"/>
                    <a:gd name="T13" fmla="*/ 53 h 270"/>
                    <a:gd name="T14" fmla="*/ 1199 w 1199"/>
                    <a:gd name="T15" fmla="*/ 0 h 270"/>
                    <a:gd name="T16" fmla="*/ 0 w 1199"/>
                    <a:gd name="T17" fmla="*/ 210 h 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99"/>
                    <a:gd name="T28" fmla="*/ 0 h 270"/>
                    <a:gd name="T29" fmla="*/ 1199 w 1199"/>
                    <a:gd name="T30" fmla="*/ 270 h 2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99" h="270">
                      <a:moveTo>
                        <a:pt x="0" y="210"/>
                      </a:moveTo>
                      <a:lnTo>
                        <a:pt x="0" y="216"/>
                      </a:lnTo>
                      <a:lnTo>
                        <a:pt x="1199" y="6"/>
                      </a:lnTo>
                      <a:lnTo>
                        <a:pt x="1194" y="45"/>
                      </a:lnTo>
                      <a:lnTo>
                        <a:pt x="2" y="263"/>
                      </a:lnTo>
                      <a:lnTo>
                        <a:pt x="3" y="270"/>
                      </a:lnTo>
                      <a:lnTo>
                        <a:pt x="1193" y="53"/>
                      </a:lnTo>
                      <a:lnTo>
                        <a:pt x="1199" y="0"/>
                      </a:lnTo>
                      <a:cubicBezTo>
                        <a:pt x="938" y="45"/>
                        <a:pt x="207" y="172"/>
                        <a:pt x="0" y="210"/>
                      </a:cubicBezTo>
                      <a:close/>
                    </a:path>
                  </a:pathLst>
                </a:custGeom>
                <a:solidFill>
                  <a:srgbClr val="F1B86D"/>
                </a:solidFill>
                <a:ln w="9525">
                  <a:noFill/>
                  <a:round/>
                  <a:headEnd/>
                  <a:tailEnd/>
                </a:ln>
              </p:spPr>
              <p:txBody>
                <a:bodyPr wrap="none" anchor="ctr"/>
                <a:lstStyle/>
                <a:p>
                  <a:pPr defTabSz="912546"/>
                  <a:endParaRPr>
                    <a:solidFill>
                      <a:srgbClr val="000000"/>
                    </a:solidFill>
                  </a:endParaRPr>
                </a:p>
              </p:txBody>
            </p:sp>
            <p:sp>
              <p:nvSpPr>
                <p:cNvPr id="442259" name="Freeform 145"/>
                <p:cNvSpPr>
                  <a:spLocks/>
                </p:cNvSpPr>
                <p:nvPr/>
              </p:nvSpPr>
              <p:spPr bwMode="gray">
                <a:xfrm>
                  <a:off x="4629" y="1892"/>
                  <a:ext cx="57" cy="81"/>
                </a:xfrm>
                <a:custGeom>
                  <a:avLst/>
                  <a:gdLst>
                    <a:gd name="T0" fmla="*/ 0 w 57"/>
                    <a:gd name="T1" fmla="*/ 81 h 81"/>
                    <a:gd name="T2" fmla="*/ 3 w 57"/>
                    <a:gd name="T3" fmla="*/ 24 h 81"/>
                    <a:gd name="T4" fmla="*/ 57 w 57"/>
                    <a:gd name="T5" fmla="*/ 0 h 81"/>
                    <a:gd name="T6" fmla="*/ 54 w 57"/>
                    <a:gd name="T7" fmla="*/ 67 h 81"/>
                    <a:gd name="T8" fmla="*/ 0 w 57"/>
                    <a:gd name="T9" fmla="*/ 81 h 81"/>
                    <a:gd name="T10" fmla="*/ 0 60000 65536"/>
                    <a:gd name="T11" fmla="*/ 0 60000 65536"/>
                    <a:gd name="T12" fmla="*/ 0 60000 65536"/>
                    <a:gd name="T13" fmla="*/ 0 60000 65536"/>
                    <a:gd name="T14" fmla="*/ 0 60000 65536"/>
                    <a:gd name="T15" fmla="*/ 0 w 57"/>
                    <a:gd name="T16" fmla="*/ 0 h 81"/>
                    <a:gd name="T17" fmla="*/ 57 w 57"/>
                    <a:gd name="T18" fmla="*/ 81 h 81"/>
                  </a:gdLst>
                  <a:ahLst/>
                  <a:cxnLst>
                    <a:cxn ang="T10">
                      <a:pos x="T0" y="T1"/>
                    </a:cxn>
                    <a:cxn ang="T11">
                      <a:pos x="T2" y="T3"/>
                    </a:cxn>
                    <a:cxn ang="T12">
                      <a:pos x="T4" y="T5"/>
                    </a:cxn>
                    <a:cxn ang="T13">
                      <a:pos x="T6" y="T7"/>
                    </a:cxn>
                    <a:cxn ang="T14">
                      <a:pos x="T8" y="T9"/>
                    </a:cxn>
                  </a:cxnLst>
                  <a:rect l="T15" t="T16" r="T17" b="T18"/>
                  <a:pathLst>
                    <a:path w="57" h="81">
                      <a:moveTo>
                        <a:pt x="0" y="81"/>
                      </a:moveTo>
                      <a:lnTo>
                        <a:pt x="3" y="24"/>
                      </a:lnTo>
                      <a:lnTo>
                        <a:pt x="57" y="0"/>
                      </a:lnTo>
                      <a:lnTo>
                        <a:pt x="54" y="67"/>
                      </a:lnTo>
                      <a:lnTo>
                        <a:pt x="0" y="81"/>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60" name="Freeform 146"/>
                <p:cNvSpPr>
                  <a:spLocks/>
                </p:cNvSpPr>
                <p:nvPr/>
              </p:nvSpPr>
              <p:spPr bwMode="gray">
                <a:xfrm>
                  <a:off x="4628" y="1895"/>
                  <a:ext cx="52" cy="72"/>
                </a:xfrm>
                <a:custGeom>
                  <a:avLst/>
                  <a:gdLst>
                    <a:gd name="T0" fmla="*/ 0 w 52"/>
                    <a:gd name="T1" fmla="*/ 72 h 72"/>
                    <a:gd name="T2" fmla="*/ 4 w 52"/>
                    <a:gd name="T3" fmla="*/ 10 h 72"/>
                    <a:gd name="T4" fmla="*/ 52 w 52"/>
                    <a:gd name="T5" fmla="*/ 0 h 72"/>
                    <a:gd name="T6" fmla="*/ 48 w 52"/>
                    <a:gd name="T7" fmla="*/ 60 h 72"/>
                    <a:gd name="T8" fmla="*/ 0 w 52"/>
                    <a:gd name="T9" fmla="*/ 72 h 72"/>
                    <a:gd name="T10" fmla="*/ 0 60000 65536"/>
                    <a:gd name="T11" fmla="*/ 0 60000 65536"/>
                    <a:gd name="T12" fmla="*/ 0 60000 65536"/>
                    <a:gd name="T13" fmla="*/ 0 60000 65536"/>
                    <a:gd name="T14" fmla="*/ 0 60000 65536"/>
                    <a:gd name="T15" fmla="*/ 0 w 52"/>
                    <a:gd name="T16" fmla="*/ 0 h 72"/>
                    <a:gd name="T17" fmla="*/ 52 w 52"/>
                    <a:gd name="T18" fmla="*/ 72 h 72"/>
                  </a:gdLst>
                  <a:ahLst/>
                  <a:cxnLst>
                    <a:cxn ang="T10">
                      <a:pos x="T0" y="T1"/>
                    </a:cxn>
                    <a:cxn ang="T11">
                      <a:pos x="T2" y="T3"/>
                    </a:cxn>
                    <a:cxn ang="T12">
                      <a:pos x="T4" y="T5"/>
                    </a:cxn>
                    <a:cxn ang="T13">
                      <a:pos x="T6" y="T7"/>
                    </a:cxn>
                    <a:cxn ang="T14">
                      <a:pos x="T8" y="T9"/>
                    </a:cxn>
                  </a:cxnLst>
                  <a:rect l="T15" t="T16" r="T17" b="T18"/>
                  <a:pathLst>
                    <a:path w="52" h="72">
                      <a:moveTo>
                        <a:pt x="0" y="72"/>
                      </a:moveTo>
                      <a:lnTo>
                        <a:pt x="4" y="10"/>
                      </a:lnTo>
                      <a:lnTo>
                        <a:pt x="52" y="0"/>
                      </a:lnTo>
                      <a:lnTo>
                        <a:pt x="48" y="60"/>
                      </a:lnTo>
                      <a:lnTo>
                        <a:pt x="0" y="72"/>
                      </a:ln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442261" name="Freeform 147"/>
                <p:cNvSpPr>
                  <a:spLocks/>
                </p:cNvSpPr>
                <p:nvPr/>
              </p:nvSpPr>
              <p:spPr bwMode="gray">
                <a:xfrm>
                  <a:off x="4497" y="1922"/>
                  <a:ext cx="62" cy="82"/>
                </a:xfrm>
                <a:custGeom>
                  <a:avLst/>
                  <a:gdLst>
                    <a:gd name="T0" fmla="*/ 0 w 62"/>
                    <a:gd name="T1" fmla="*/ 82 h 82"/>
                    <a:gd name="T2" fmla="*/ 7 w 62"/>
                    <a:gd name="T3" fmla="*/ 25 h 82"/>
                    <a:gd name="T4" fmla="*/ 62 w 62"/>
                    <a:gd name="T5" fmla="*/ 0 h 82"/>
                    <a:gd name="T6" fmla="*/ 58 w 62"/>
                    <a:gd name="T7" fmla="*/ 68 h 82"/>
                    <a:gd name="T8" fmla="*/ 0 w 62"/>
                    <a:gd name="T9" fmla="*/ 82 h 82"/>
                    <a:gd name="T10" fmla="*/ 0 60000 65536"/>
                    <a:gd name="T11" fmla="*/ 0 60000 65536"/>
                    <a:gd name="T12" fmla="*/ 0 60000 65536"/>
                    <a:gd name="T13" fmla="*/ 0 60000 65536"/>
                    <a:gd name="T14" fmla="*/ 0 60000 65536"/>
                    <a:gd name="T15" fmla="*/ 0 w 62"/>
                    <a:gd name="T16" fmla="*/ 0 h 82"/>
                    <a:gd name="T17" fmla="*/ 62 w 62"/>
                    <a:gd name="T18" fmla="*/ 82 h 82"/>
                  </a:gdLst>
                  <a:ahLst/>
                  <a:cxnLst>
                    <a:cxn ang="T10">
                      <a:pos x="T0" y="T1"/>
                    </a:cxn>
                    <a:cxn ang="T11">
                      <a:pos x="T2" y="T3"/>
                    </a:cxn>
                    <a:cxn ang="T12">
                      <a:pos x="T4" y="T5"/>
                    </a:cxn>
                    <a:cxn ang="T13">
                      <a:pos x="T6" y="T7"/>
                    </a:cxn>
                    <a:cxn ang="T14">
                      <a:pos x="T8" y="T9"/>
                    </a:cxn>
                  </a:cxnLst>
                  <a:rect l="T15" t="T16" r="T17" b="T18"/>
                  <a:pathLst>
                    <a:path w="62" h="82">
                      <a:moveTo>
                        <a:pt x="0" y="82"/>
                      </a:moveTo>
                      <a:lnTo>
                        <a:pt x="7" y="25"/>
                      </a:lnTo>
                      <a:lnTo>
                        <a:pt x="62" y="0"/>
                      </a:lnTo>
                      <a:lnTo>
                        <a:pt x="58" y="68"/>
                      </a:lnTo>
                      <a:lnTo>
                        <a:pt x="0" y="82"/>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62" name="Freeform 148"/>
                <p:cNvSpPr>
                  <a:spLocks/>
                </p:cNvSpPr>
                <p:nvPr/>
              </p:nvSpPr>
              <p:spPr bwMode="gray">
                <a:xfrm>
                  <a:off x="4497" y="1926"/>
                  <a:ext cx="56" cy="72"/>
                </a:xfrm>
                <a:custGeom>
                  <a:avLst/>
                  <a:gdLst>
                    <a:gd name="T0" fmla="*/ 0 w 56"/>
                    <a:gd name="T1" fmla="*/ 72 h 72"/>
                    <a:gd name="T2" fmla="*/ 3 w 56"/>
                    <a:gd name="T3" fmla="*/ 11 h 72"/>
                    <a:gd name="T4" fmla="*/ 56 w 56"/>
                    <a:gd name="T5" fmla="*/ 0 h 72"/>
                    <a:gd name="T6" fmla="*/ 51 w 56"/>
                    <a:gd name="T7" fmla="*/ 60 h 72"/>
                    <a:gd name="T8" fmla="*/ 0 w 56"/>
                    <a:gd name="T9" fmla="*/ 72 h 72"/>
                    <a:gd name="T10" fmla="*/ 0 60000 65536"/>
                    <a:gd name="T11" fmla="*/ 0 60000 65536"/>
                    <a:gd name="T12" fmla="*/ 0 60000 65536"/>
                    <a:gd name="T13" fmla="*/ 0 60000 65536"/>
                    <a:gd name="T14" fmla="*/ 0 60000 65536"/>
                    <a:gd name="T15" fmla="*/ 0 w 56"/>
                    <a:gd name="T16" fmla="*/ 0 h 72"/>
                    <a:gd name="T17" fmla="*/ 56 w 56"/>
                    <a:gd name="T18" fmla="*/ 72 h 72"/>
                  </a:gdLst>
                  <a:ahLst/>
                  <a:cxnLst>
                    <a:cxn ang="T10">
                      <a:pos x="T0" y="T1"/>
                    </a:cxn>
                    <a:cxn ang="T11">
                      <a:pos x="T2" y="T3"/>
                    </a:cxn>
                    <a:cxn ang="T12">
                      <a:pos x="T4" y="T5"/>
                    </a:cxn>
                    <a:cxn ang="T13">
                      <a:pos x="T6" y="T7"/>
                    </a:cxn>
                    <a:cxn ang="T14">
                      <a:pos x="T8" y="T9"/>
                    </a:cxn>
                  </a:cxnLst>
                  <a:rect l="T15" t="T16" r="T17" b="T18"/>
                  <a:pathLst>
                    <a:path w="56" h="72">
                      <a:moveTo>
                        <a:pt x="0" y="72"/>
                      </a:moveTo>
                      <a:lnTo>
                        <a:pt x="3" y="11"/>
                      </a:lnTo>
                      <a:lnTo>
                        <a:pt x="56" y="0"/>
                      </a:lnTo>
                      <a:lnTo>
                        <a:pt x="51" y="60"/>
                      </a:lnTo>
                      <a:lnTo>
                        <a:pt x="0" y="72"/>
                      </a:ln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442263" name="Freeform 149"/>
                <p:cNvSpPr>
                  <a:spLocks/>
                </p:cNvSpPr>
                <p:nvPr/>
              </p:nvSpPr>
              <p:spPr bwMode="gray">
                <a:xfrm>
                  <a:off x="4362" y="1953"/>
                  <a:ext cx="63" cy="84"/>
                </a:xfrm>
                <a:custGeom>
                  <a:avLst/>
                  <a:gdLst>
                    <a:gd name="T0" fmla="*/ 0 w 63"/>
                    <a:gd name="T1" fmla="*/ 84 h 84"/>
                    <a:gd name="T2" fmla="*/ 11 w 63"/>
                    <a:gd name="T3" fmla="*/ 17 h 84"/>
                    <a:gd name="T4" fmla="*/ 63 w 63"/>
                    <a:gd name="T5" fmla="*/ 0 h 84"/>
                    <a:gd name="T6" fmla="*/ 59 w 63"/>
                    <a:gd name="T7" fmla="*/ 68 h 84"/>
                    <a:gd name="T8" fmla="*/ 0 w 63"/>
                    <a:gd name="T9" fmla="*/ 84 h 84"/>
                    <a:gd name="T10" fmla="*/ 0 60000 65536"/>
                    <a:gd name="T11" fmla="*/ 0 60000 65536"/>
                    <a:gd name="T12" fmla="*/ 0 60000 65536"/>
                    <a:gd name="T13" fmla="*/ 0 60000 65536"/>
                    <a:gd name="T14" fmla="*/ 0 60000 65536"/>
                    <a:gd name="T15" fmla="*/ 0 w 63"/>
                    <a:gd name="T16" fmla="*/ 0 h 84"/>
                    <a:gd name="T17" fmla="*/ 63 w 63"/>
                    <a:gd name="T18" fmla="*/ 84 h 84"/>
                  </a:gdLst>
                  <a:ahLst/>
                  <a:cxnLst>
                    <a:cxn ang="T10">
                      <a:pos x="T0" y="T1"/>
                    </a:cxn>
                    <a:cxn ang="T11">
                      <a:pos x="T2" y="T3"/>
                    </a:cxn>
                    <a:cxn ang="T12">
                      <a:pos x="T4" y="T5"/>
                    </a:cxn>
                    <a:cxn ang="T13">
                      <a:pos x="T6" y="T7"/>
                    </a:cxn>
                    <a:cxn ang="T14">
                      <a:pos x="T8" y="T9"/>
                    </a:cxn>
                  </a:cxnLst>
                  <a:rect l="T15" t="T16" r="T17" b="T18"/>
                  <a:pathLst>
                    <a:path w="63" h="84">
                      <a:moveTo>
                        <a:pt x="0" y="84"/>
                      </a:moveTo>
                      <a:lnTo>
                        <a:pt x="11" y="17"/>
                      </a:lnTo>
                      <a:lnTo>
                        <a:pt x="63" y="0"/>
                      </a:lnTo>
                      <a:lnTo>
                        <a:pt x="59" y="68"/>
                      </a:lnTo>
                      <a:lnTo>
                        <a:pt x="0" y="84"/>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64" name="Freeform 150"/>
                <p:cNvSpPr>
                  <a:spLocks/>
                </p:cNvSpPr>
                <p:nvPr/>
              </p:nvSpPr>
              <p:spPr bwMode="gray">
                <a:xfrm>
                  <a:off x="4364" y="1956"/>
                  <a:ext cx="54" cy="74"/>
                </a:xfrm>
                <a:custGeom>
                  <a:avLst/>
                  <a:gdLst>
                    <a:gd name="T0" fmla="*/ 0 w 54"/>
                    <a:gd name="T1" fmla="*/ 74 h 74"/>
                    <a:gd name="T2" fmla="*/ 3 w 54"/>
                    <a:gd name="T3" fmla="*/ 12 h 74"/>
                    <a:gd name="T4" fmla="*/ 54 w 54"/>
                    <a:gd name="T5" fmla="*/ 0 h 74"/>
                    <a:gd name="T6" fmla="*/ 50 w 54"/>
                    <a:gd name="T7" fmla="*/ 61 h 74"/>
                    <a:gd name="T8" fmla="*/ 0 w 54"/>
                    <a:gd name="T9" fmla="*/ 74 h 74"/>
                    <a:gd name="T10" fmla="*/ 0 60000 65536"/>
                    <a:gd name="T11" fmla="*/ 0 60000 65536"/>
                    <a:gd name="T12" fmla="*/ 0 60000 65536"/>
                    <a:gd name="T13" fmla="*/ 0 60000 65536"/>
                    <a:gd name="T14" fmla="*/ 0 60000 65536"/>
                    <a:gd name="T15" fmla="*/ 0 w 54"/>
                    <a:gd name="T16" fmla="*/ 0 h 74"/>
                    <a:gd name="T17" fmla="*/ 54 w 54"/>
                    <a:gd name="T18" fmla="*/ 74 h 74"/>
                  </a:gdLst>
                  <a:ahLst/>
                  <a:cxnLst>
                    <a:cxn ang="T10">
                      <a:pos x="T0" y="T1"/>
                    </a:cxn>
                    <a:cxn ang="T11">
                      <a:pos x="T2" y="T3"/>
                    </a:cxn>
                    <a:cxn ang="T12">
                      <a:pos x="T4" y="T5"/>
                    </a:cxn>
                    <a:cxn ang="T13">
                      <a:pos x="T6" y="T7"/>
                    </a:cxn>
                    <a:cxn ang="T14">
                      <a:pos x="T8" y="T9"/>
                    </a:cxn>
                  </a:cxnLst>
                  <a:rect l="T15" t="T16" r="T17" b="T18"/>
                  <a:pathLst>
                    <a:path w="54" h="74">
                      <a:moveTo>
                        <a:pt x="0" y="74"/>
                      </a:moveTo>
                      <a:lnTo>
                        <a:pt x="3" y="12"/>
                      </a:lnTo>
                      <a:lnTo>
                        <a:pt x="54" y="0"/>
                      </a:lnTo>
                      <a:lnTo>
                        <a:pt x="50" y="61"/>
                      </a:lnTo>
                      <a:lnTo>
                        <a:pt x="0" y="74"/>
                      </a:ln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442265" name="Freeform 151"/>
                <p:cNvSpPr>
                  <a:spLocks/>
                </p:cNvSpPr>
                <p:nvPr/>
              </p:nvSpPr>
              <p:spPr bwMode="gray">
                <a:xfrm>
                  <a:off x="4236" y="1985"/>
                  <a:ext cx="65" cy="79"/>
                </a:xfrm>
                <a:custGeom>
                  <a:avLst/>
                  <a:gdLst>
                    <a:gd name="T0" fmla="*/ 0 w 65"/>
                    <a:gd name="T1" fmla="*/ 79 h 79"/>
                    <a:gd name="T2" fmla="*/ 3 w 65"/>
                    <a:gd name="T3" fmla="*/ 13 h 79"/>
                    <a:gd name="T4" fmla="*/ 65 w 65"/>
                    <a:gd name="T5" fmla="*/ 0 h 79"/>
                    <a:gd name="T6" fmla="*/ 62 w 65"/>
                    <a:gd name="T7" fmla="*/ 63 h 79"/>
                    <a:gd name="T8" fmla="*/ 0 w 65"/>
                    <a:gd name="T9" fmla="*/ 79 h 79"/>
                    <a:gd name="T10" fmla="*/ 0 60000 65536"/>
                    <a:gd name="T11" fmla="*/ 0 60000 65536"/>
                    <a:gd name="T12" fmla="*/ 0 60000 65536"/>
                    <a:gd name="T13" fmla="*/ 0 60000 65536"/>
                    <a:gd name="T14" fmla="*/ 0 60000 65536"/>
                    <a:gd name="T15" fmla="*/ 0 w 65"/>
                    <a:gd name="T16" fmla="*/ 0 h 79"/>
                    <a:gd name="T17" fmla="*/ 65 w 65"/>
                    <a:gd name="T18" fmla="*/ 79 h 79"/>
                  </a:gdLst>
                  <a:ahLst/>
                  <a:cxnLst>
                    <a:cxn ang="T10">
                      <a:pos x="T0" y="T1"/>
                    </a:cxn>
                    <a:cxn ang="T11">
                      <a:pos x="T2" y="T3"/>
                    </a:cxn>
                    <a:cxn ang="T12">
                      <a:pos x="T4" y="T5"/>
                    </a:cxn>
                    <a:cxn ang="T13">
                      <a:pos x="T6" y="T7"/>
                    </a:cxn>
                    <a:cxn ang="T14">
                      <a:pos x="T8" y="T9"/>
                    </a:cxn>
                  </a:cxnLst>
                  <a:rect l="T15" t="T16" r="T17" b="T18"/>
                  <a:pathLst>
                    <a:path w="65" h="79">
                      <a:moveTo>
                        <a:pt x="0" y="79"/>
                      </a:moveTo>
                      <a:lnTo>
                        <a:pt x="3" y="13"/>
                      </a:lnTo>
                      <a:lnTo>
                        <a:pt x="65" y="0"/>
                      </a:lnTo>
                      <a:lnTo>
                        <a:pt x="62" y="63"/>
                      </a:lnTo>
                      <a:lnTo>
                        <a:pt x="0" y="79"/>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66" name="Freeform 152"/>
                <p:cNvSpPr>
                  <a:spLocks/>
                </p:cNvSpPr>
                <p:nvPr/>
              </p:nvSpPr>
              <p:spPr bwMode="gray">
                <a:xfrm>
                  <a:off x="4236" y="1984"/>
                  <a:ext cx="58" cy="73"/>
                </a:xfrm>
                <a:custGeom>
                  <a:avLst/>
                  <a:gdLst>
                    <a:gd name="T0" fmla="*/ 0 w 58"/>
                    <a:gd name="T1" fmla="*/ 73 h 73"/>
                    <a:gd name="T2" fmla="*/ 2 w 58"/>
                    <a:gd name="T3" fmla="*/ 13 h 73"/>
                    <a:gd name="T4" fmla="*/ 58 w 58"/>
                    <a:gd name="T5" fmla="*/ 0 h 73"/>
                    <a:gd name="T6" fmla="*/ 56 w 58"/>
                    <a:gd name="T7" fmla="*/ 60 h 73"/>
                    <a:gd name="T8" fmla="*/ 0 w 58"/>
                    <a:gd name="T9" fmla="*/ 73 h 73"/>
                    <a:gd name="T10" fmla="*/ 0 60000 65536"/>
                    <a:gd name="T11" fmla="*/ 0 60000 65536"/>
                    <a:gd name="T12" fmla="*/ 0 60000 65536"/>
                    <a:gd name="T13" fmla="*/ 0 60000 65536"/>
                    <a:gd name="T14" fmla="*/ 0 60000 65536"/>
                    <a:gd name="T15" fmla="*/ 0 w 58"/>
                    <a:gd name="T16" fmla="*/ 0 h 73"/>
                    <a:gd name="T17" fmla="*/ 58 w 58"/>
                    <a:gd name="T18" fmla="*/ 73 h 73"/>
                  </a:gdLst>
                  <a:ahLst/>
                  <a:cxnLst>
                    <a:cxn ang="T10">
                      <a:pos x="T0" y="T1"/>
                    </a:cxn>
                    <a:cxn ang="T11">
                      <a:pos x="T2" y="T3"/>
                    </a:cxn>
                    <a:cxn ang="T12">
                      <a:pos x="T4" y="T5"/>
                    </a:cxn>
                    <a:cxn ang="T13">
                      <a:pos x="T6" y="T7"/>
                    </a:cxn>
                    <a:cxn ang="T14">
                      <a:pos x="T8" y="T9"/>
                    </a:cxn>
                  </a:cxnLst>
                  <a:rect l="T15" t="T16" r="T17" b="T18"/>
                  <a:pathLst>
                    <a:path w="58" h="73">
                      <a:moveTo>
                        <a:pt x="0" y="73"/>
                      </a:moveTo>
                      <a:lnTo>
                        <a:pt x="2" y="13"/>
                      </a:lnTo>
                      <a:lnTo>
                        <a:pt x="58" y="0"/>
                      </a:lnTo>
                      <a:lnTo>
                        <a:pt x="56" y="60"/>
                      </a:lnTo>
                      <a:lnTo>
                        <a:pt x="0" y="73"/>
                      </a:ln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442267" name="Freeform 153"/>
                <p:cNvSpPr>
                  <a:spLocks/>
                </p:cNvSpPr>
                <p:nvPr/>
              </p:nvSpPr>
              <p:spPr bwMode="gray">
                <a:xfrm>
                  <a:off x="3525" y="1364"/>
                  <a:ext cx="311" cy="77"/>
                </a:xfrm>
                <a:custGeom>
                  <a:avLst/>
                  <a:gdLst>
                    <a:gd name="T0" fmla="*/ 10 w 311"/>
                    <a:gd name="T1" fmla="*/ 33 h 77"/>
                    <a:gd name="T2" fmla="*/ 10 w 311"/>
                    <a:gd name="T3" fmla="*/ 44 h 77"/>
                    <a:gd name="T4" fmla="*/ 68 w 311"/>
                    <a:gd name="T5" fmla="*/ 77 h 77"/>
                    <a:gd name="T6" fmla="*/ 310 w 311"/>
                    <a:gd name="T7" fmla="*/ 42 h 77"/>
                    <a:gd name="T8" fmla="*/ 311 w 311"/>
                    <a:gd name="T9" fmla="*/ 30 h 77"/>
                    <a:gd name="T10" fmla="*/ 248 w 311"/>
                    <a:gd name="T11" fmla="*/ 0 h 77"/>
                    <a:gd name="T12" fmla="*/ 10 w 311"/>
                    <a:gd name="T13" fmla="*/ 33 h 77"/>
                    <a:gd name="T14" fmla="*/ 0 60000 65536"/>
                    <a:gd name="T15" fmla="*/ 0 60000 65536"/>
                    <a:gd name="T16" fmla="*/ 0 60000 65536"/>
                    <a:gd name="T17" fmla="*/ 0 60000 65536"/>
                    <a:gd name="T18" fmla="*/ 0 60000 65536"/>
                    <a:gd name="T19" fmla="*/ 0 60000 65536"/>
                    <a:gd name="T20" fmla="*/ 0 60000 65536"/>
                    <a:gd name="T21" fmla="*/ 0 w 311"/>
                    <a:gd name="T22" fmla="*/ 0 h 77"/>
                    <a:gd name="T23" fmla="*/ 311 w 311"/>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1" h="77">
                      <a:moveTo>
                        <a:pt x="10" y="33"/>
                      </a:moveTo>
                      <a:cubicBezTo>
                        <a:pt x="12" y="36"/>
                        <a:pt x="0" y="37"/>
                        <a:pt x="10" y="44"/>
                      </a:cubicBezTo>
                      <a:lnTo>
                        <a:pt x="68" y="77"/>
                      </a:lnTo>
                      <a:lnTo>
                        <a:pt x="310" y="42"/>
                      </a:lnTo>
                      <a:lnTo>
                        <a:pt x="311" y="30"/>
                      </a:lnTo>
                      <a:lnTo>
                        <a:pt x="248" y="0"/>
                      </a:lnTo>
                      <a:lnTo>
                        <a:pt x="10" y="33"/>
                      </a:lnTo>
                      <a:close/>
                    </a:path>
                  </a:pathLst>
                </a:custGeom>
                <a:solidFill>
                  <a:srgbClr val="969696"/>
                </a:solidFill>
                <a:ln w="9525">
                  <a:noFill/>
                  <a:round/>
                  <a:headEnd/>
                  <a:tailEnd/>
                </a:ln>
              </p:spPr>
              <p:txBody>
                <a:bodyPr wrap="none" anchor="ctr"/>
                <a:lstStyle/>
                <a:p>
                  <a:pPr defTabSz="912546"/>
                  <a:endParaRPr>
                    <a:solidFill>
                      <a:srgbClr val="000000"/>
                    </a:solidFill>
                  </a:endParaRPr>
                </a:p>
              </p:txBody>
            </p:sp>
            <p:sp>
              <p:nvSpPr>
                <p:cNvPr id="442268" name="Freeform 154"/>
                <p:cNvSpPr>
                  <a:spLocks/>
                </p:cNvSpPr>
                <p:nvPr/>
              </p:nvSpPr>
              <p:spPr bwMode="gray">
                <a:xfrm>
                  <a:off x="3535" y="1360"/>
                  <a:ext cx="300" cy="69"/>
                </a:xfrm>
                <a:custGeom>
                  <a:avLst/>
                  <a:gdLst>
                    <a:gd name="T0" fmla="*/ 0 w 300"/>
                    <a:gd name="T1" fmla="*/ 36 h 69"/>
                    <a:gd name="T2" fmla="*/ 58 w 300"/>
                    <a:gd name="T3" fmla="*/ 69 h 69"/>
                    <a:gd name="T4" fmla="*/ 300 w 300"/>
                    <a:gd name="T5" fmla="*/ 34 h 69"/>
                    <a:gd name="T6" fmla="*/ 234 w 300"/>
                    <a:gd name="T7" fmla="*/ 0 h 69"/>
                    <a:gd name="T8" fmla="*/ 0 w 300"/>
                    <a:gd name="T9" fmla="*/ 36 h 69"/>
                    <a:gd name="T10" fmla="*/ 0 60000 65536"/>
                    <a:gd name="T11" fmla="*/ 0 60000 65536"/>
                    <a:gd name="T12" fmla="*/ 0 60000 65536"/>
                    <a:gd name="T13" fmla="*/ 0 60000 65536"/>
                    <a:gd name="T14" fmla="*/ 0 60000 65536"/>
                    <a:gd name="T15" fmla="*/ 0 w 300"/>
                    <a:gd name="T16" fmla="*/ 0 h 69"/>
                    <a:gd name="T17" fmla="*/ 300 w 300"/>
                    <a:gd name="T18" fmla="*/ 69 h 69"/>
                  </a:gdLst>
                  <a:ahLst/>
                  <a:cxnLst>
                    <a:cxn ang="T10">
                      <a:pos x="T0" y="T1"/>
                    </a:cxn>
                    <a:cxn ang="T11">
                      <a:pos x="T2" y="T3"/>
                    </a:cxn>
                    <a:cxn ang="T12">
                      <a:pos x="T4" y="T5"/>
                    </a:cxn>
                    <a:cxn ang="T13">
                      <a:pos x="T6" y="T7"/>
                    </a:cxn>
                    <a:cxn ang="T14">
                      <a:pos x="T8" y="T9"/>
                    </a:cxn>
                  </a:cxnLst>
                  <a:rect l="T15" t="T16" r="T17" b="T18"/>
                  <a:pathLst>
                    <a:path w="300" h="69">
                      <a:moveTo>
                        <a:pt x="0" y="36"/>
                      </a:moveTo>
                      <a:lnTo>
                        <a:pt x="58" y="69"/>
                      </a:lnTo>
                      <a:lnTo>
                        <a:pt x="300" y="34"/>
                      </a:lnTo>
                      <a:lnTo>
                        <a:pt x="234" y="0"/>
                      </a:lnTo>
                      <a:lnTo>
                        <a:pt x="0" y="36"/>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2269" name="Freeform 155"/>
                <p:cNvSpPr>
                  <a:spLocks/>
                </p:cNvSpPr>
                <p:nvPr/>
              </p:nvSpPr>
              <p:spPr bwMode="gray">
                <a:xfrm>
                  <a:off x="3236" y="1395"/>
                  <a:ext cx="273" cy="275"/>
                </a:xfrm>
                <a:custGeom>
                  <a:avLst/>
                  <a:gdLst>
                    <a:gd name="T0" fmla="*/ 0 w 273"/>
                    <a:gd name="T1" fmla="*/ 0 h 275"/>
                    <a:gd name="T2" fmla="*/ 9 w 273"/>
                    <a:gd name="T3" fmla="*/ 77 h 275"/>
                    <a:gd name="T4" fmla="*/ 273 w 273"/>
                    <a:gd name="T5" fmla="*/ 275 h 275"/>
                    <a:gd name="T6" fmla="*/ 270 w 273"/>
                    <a:gd name="T7" fmla="*/ 192 h 275"/>
                    <a:gd name="T8" fmla="*/ 0 w 273"/>
                    <a:gd name="T9" fmla="*/ 0 h 275"/>
                    <a:gd name="T10" fmla="*/ 0 60000 65536"/>
                    <a:gd name="T11" fmla="*/ 0 60000 65536"/>
                    <a:gd name="T12" fmla="*/ 0 60000 65536"/>
                    <a:gd name="T13" fmla="*/ 0 60000 65536"/>
                    <a:gd name="T14" fmla="*/ 0 60000 65536"/>
                    <a:gd name="T15" fmla="*/ 0 w 273"/>
                    <a:gd name="T16" fmla="*/ 0 h 275"/>
                    <a:gd name="T17" fmla="*/ 273 w 273"/>
                    <a:gd name="T18" fmla="*/ 275 h 275"/>
                  </a:gdLst>
                  <a:ahLst/>
                  <a:cxnLst>
                    <a:cxn ang="T10">
                      <a:pos x="T0" y="T1"/>
                    </a:cxn>
                    <a:cxn ang="T11">
                      <a:pos x="T2" y="T3"/>
                    </a:cxn>
                    <a:cxn ang="T12">
                      <a:pos x="T4" y="T5"/>
                    </a:cxn>
                    <a:cxn ang="T13">
                      <a:pos x="T6" y="T7"/>
                    </a:cxn>
                    <a:cxn ang="T14">
                      <a:pos x="T8" y="T9"/>
                    </a:cxn>
                  </a:cxnLst>
                  <a:rect l="T15" t="T16" r="T17" b="T18"/>
                  <a:pathLst>
                    <a:path w="273" h="275">
                      <a:moveTo>
                        <a:pt x="0" y="0"/>
                      </a:moveTo>
                      <a:lnTo>
                        <a:pt x="9" y="77"/>
                      </a:lnTo>
                      <a:lnTo>
                        <a:pt x="273" y="275"/>
                      </a:lnTo>
                      <a:lnTo>
                        <a:pt x="270" y="192"/>
                      </a:lnTo>
                      <a:lnTo>
                        <a:pt x="0" y="0"/>
                      </a:lnTo>
                      <a:close/>
                    </a:path>
                  </a:pathLst>
                </a:custGeom>
                <a:gradFill rotWithShape="1">
                  <a:gsLst>
                    <a:gs pos="0">
                      <a:srgbClr val="232E36"/>
                    </a:gs>
                    <a:gs pos="100000">
                      <a:srgbClr val="4B6375"/>
                    </a:gs>
                  </a:gsLst>
                  <a:lin ang="0" scaled="1"/>
                </a:gradFill>
                <a:ln w="9525">
                  <a:noFill/>
                  <a:round/>
                  <a:headEnd/>
                  <a:tailEnd/>
                </a:ln>
              </p:spPr>
              <p:txBody>
                <a:bodyPr wrap="none" anchor="ctr"/>
                <a:lstStyle/>
                <a:p>
                  <a:pPr defTabSz="912546"/>
                  <a:endParaRPr>
                    <a:solidFill>
                      <a:srgbClr val="000000"/>
                    </a:solidFill>
                  </a:endParaRPr>
                </a:p>
              </p:txBody>
            </p:sp>
            <p:sp>
              <p:nvSpPr>
                <p:cNvPr id="442270" name="Freeform 156"/>
                <p:cNvSpPr>
                  <a:spLocks/>
                </p:cNvSpPr>
                <p:nvPr/>
              </p:nvSpPr>
              <p:spPr bwMode="gray">
                <a:xfrm>
                  <a:off x="3249" y="1523"/>
                  <a:ext cx="269" cy="295"/>
                </a:xfrm>
                <a:custGeom>
                  <a:avLst/>
                  <a:gdLst>
                    <a:gd name="T0" fmla="*/ 0 w 269"/>
                    <a:gd name="T1" fmla="*/ 0 h 295"/>
                    <a:gd name="T2" fmla="*/ 9 w 269"/>
                    <a:gd name="T3" fmla="*/ 76 h 295"/>
                    <a:gd name="T4" fmla="*/ 269 w 269"/>
                    <a:gd name="T5" fmla="*/ 295 h 295"/>
                    <a:gd name="T6" fmla="*/ 266 w 269"/>
                    <a:gd name="T7" fmla="*/ 210 h 295"/>
                    <a:gd name="T8" fmla="*/ 0 w 269"/>
                    <a:gd name="T9" fmla="*/ 0 h 295"/>
                    <a:gd name="T10" fmla="*/ 0 60000 65536"/>
                    <a:gd name="T11" fmla="*/ 0 60000 65536"/>
                    <a:gd name="T12" fmla="*/ 0 60000 65536"/>
                    <a:gd name="T13" fmla="*/ 0 60000 65536"/>
                    <a:gd name="T14" fmla="*/ 0 60000 65536"/>
                    <a:gd name="T15" fmla="*/ 0 w 269"/>
                    <a:gd name="T16" fmla="*/ 0 h 295"/>
                    <a:gd name="T17" fmla="*/ 269 w 269"/>
                    <a:gd name="T18" fmla="*/ 295 h 295"/>
                  </a:gdLst>
                  <a:ahLst/>
                  <a:cxnLst>
                    <a:cxn ang="T10">
                      <a:pos x="T0" y="T1"/>
                    </a:cxn>
                    <a:cxn ang="T11">
                      <a:pos x="T2" y="T3"/>
                    </a:cxn>
                    <a:cxn ang="T12">
                      <a:pos x="T4" y="T5"/>
                    </a:cxn>
                    <a:cxn ang="T13">
                      <a:pos x="T6" y="T7"/>
                    </a:cxn>
                    <a:cxn ang="T14">
                      <a:pos x="T8" y="T9"/>
                    </a:cxn>
                  </a:cxnLst>
                  <a:rect l="T15" t="T16" r="T17" b="T18"/>
                  <a:pathLst>
                    <a:path w="269" h="295">
                      <a:moveTo>
                        <a:pt x="0" y="0"/>
                      </a:moveTo>
                      <a:lnTo>
                        <a:pt x="9" y="76"/>
                      </a:lnTo>
                      <a:lnTo>
                        <a:pt x="269" y="295"/>
                      </a:lnTo>
                      <a:lnTo>
                        <a:pt x="266" y="210"/>
                      </a:lnTo>
                      <a:lnTo>
                        <a:pt x="0" y="0"/>
                      </a:lnTo>
                      <a:close/>
                    </a:path>
                  </a:pathLst>
                </a:custGeom>
                <a:gradFill rotWithShape="1">
                  <a:gsLst>
                    <a:gs pos="0">
                      <a:srgbClr val="232E36"/>
                    </a:gs>
                    <a:gs pos="100000">
                      <a:srgbClr val="4B6375"/>
                    </a:gs>
                  </a:gsLst>
                  <a:lin ang="0" scaled="1"/>
                </a:gradFill>
                <a:ln w="9525">
                  <a:noFill/>
                  <a:round/>
                  <a:headEnd/>
                  <a:tailEnd/>
                </a:ln>
              </p:spPr>
              <p:txBody>
                <a:bodyPr wrap="none" anchor="ctr"/>
                <a:lstStyle/>
                <a:p>
                  <a:pPr defTabSz="912546"/>
                  <a:endParaRPr>
                    <a:solidFill>
                      <a:srgbClr val="000000"/>
                    </a:solidFill>
                  </a:endParaRPr>
                </a:p>
              </p:txBody>
            </p:sp>
            <p:sp>
              <p:nvSpPr>
                <p:cNvPr id="442271" name="Freeform 157"/>
                <p:cNvSpPr>
                  <a:spLocks/>
                </p:cNvSpPr>
                <p:nvPr/>
              </p:nvSpPr>
              <p:spPr bwMode="gray">
                <a:xfrm>
                  <a:off x="3281" y="1689"/>
                  <a:ext cx="231" cy="300"/>
                </a:xfrm>
                <a:custGeom>
                  <a:avLst/>
                  <a:gdLst>
                    <a:gd name="T0" fmla="*/ 0 w 231"/>
                    <a:gd name="T1" fmla="*/ 0 h 300"/>
                    <a:gd name="T2" fmla="*/ 15 w 231"/>
                    <a:gd name="T3" fmla="*/ 111 h 300"/>
                    <a:gd name="T4" fmla="*/ 231 w 231"/>
                    <a:gd name="T5" fmla="*/ 300 h 300"/>
                    <a:gd name="T6" fmla="*/ 223 w 231"/>
                    <a:gd name="T7" fmla="*/ 180 h 300"/>
                    <a:gd name="T8" fmla="*/ 0 w 231"/>
                    <a:gd name="T9" fmla="*/ 0 h 300"/>
                    <a:gd name="T10" fmla="*/ 0 60000 65536"/>
                    <a:gd name="T11" fmla="*/ 0 60000 65536"/>
                    <a:gd name="T12" fmla="*/ 0 60000 65536"/>
                    <a:gd name="T13" fmla="*/ 0 60000 65536"/>
                    <a:gd name="T14" fmla="*/ 0 60000 65536"/>
                    <a:gd name="T15" fmla="*/ 0 w 231"/>
                    <a:gd name="T16" fmla="*/ 0 h 300"/>
                    <a:gd name="T17" fmla="*/ 231 w 231"/>
                    <a:gd name="T18" fmla="*/ 300 h 300"/>
                  </a:gdLst>
                  <a:ahLst/>
                  <a:cxnLst>
                    <a:cxn ang="T10">
                      <a:pos x="T0" y="T1"/>
                    </a:cxn>
                    <a:cxn ang="T11">
                      <a:pos x="T2" y="T3"/>
                    </a:cxn>
                    <a:cxn ang="T12">
                      <a:pos x="T4" y="T5"/>
                    </a:cxn>
                    <a:cxn ang="T13">
                      <a:pos x="T6" y="T7"/>
                    </a:cxn>
                    <a:cxn ang="T14">
                      <a:pos x="T8" y="T9"/>
                    </a:cxn>
                  </a:cxnLst>
                  <a:rect l="T15" t="T16" r="T17" b="T18"/>
                  <a:pathLst>
                    <a:path w="231" h="300">
                      <a:moveTo>
                        <a:pt x="0" y="0"/>
                      </a:moveTo>
                      <a:lnTo>
                        <a:pt x="15" y="111"/>
                      </a:lnTo>
                      <a:lnTo>
                        <a:pt x="231" y="300"/>
                      </a:lnTo>
                      <a:lnTo>
                        <a:pt x="223" y="180"/>
                      </a:lnTo>
                      <a:lnTo>
                        <a:pt x="0" y="0"/>
                      </a:lnTo>
                      <a:close/>
                    </a:path>
                  </a:pathLst>
                </a:custGeom>
                <a:gradFill rotWithShape="1">
                  <a:gsLst>
                    <a:gs pos="0">
                      <a:srgbClr val="32424E"/>
                    </a:gs>
                    <a:gs pos="100000">
                      <a:srgbClr val="4B6375"/>
                    </a:gs>
                  </a:gsLst>
                  <a:lin ang="0" scaled="1"/>
                </a:gradFill>
                <a:ln w="9525">
                  <a:noFill/>
                  <a:round/>
                  <a:headEnd/>
                  <a:tailEnd/>
                </a:ln>
              </p:spPr>
              <p:txBody>
                <a:bodyPr wrap="none" anchor="ctr"/>
                <a:lstStyle/>
                <a:p>
                  <a:pPr defTabSz="912546"/>
                  <a:endParaRPr>
                    <a:solidFill>
                      <a:srgbClr val="000000"/>
                    </a:solidFill>
                  </a:endParaRPr>
                </a:p>
              </p:txBody>
            </p:sp>
            <p:sp>
              <p:nvSpPr>
                <p:cNvPr id="442272" name="Freeform 158"/>
                <p:cNvSpPr>
                  <a:spLocks/>
                </p:cNvSpPr>
                <p:nvPr/>
              </p:nvSpPr>
              <p:spPr bwMode="gray">
                <a:xfrm>
                  <a:off x="3665" y="2145"/>
                  <a:ext cx="60" cy="63"/>
                </a:xfrm>
                <a:custGeom>
                  <a:avLst/>
                  <a:gdLst>
                    <a:gd name="T0" fmla="*/ 0 w 60"/>
                    <a:gd name="T1" fmla="*/ 12 h 63"/>
                    <a:gd name="T2" fmla="*/ 58 w 60"/>
                    <a:gd name="T3" fmla="*/ 0 h 63"/>
                    <a:gd name="T4" fmla="*/ 60 w 60"/>
                    <a:gd name="T5" fmla="*/ 50 h 63"/>
                    <a:gd name="T6" fmla="*/ 1 w 60"/>
                    <a:gd name="T7" fmla="*/ 63 h 63"/>
                    <a:gd name="T8" fmla="*/ 0 w 60"/>
                    <a:gd name="T9" fmla="*/ 12 h 63"/>
                    <a:gd name="T10" fmla="*/ 0 60000 65536"/>
                    <a:gd name="T11" fmla="*/ 0 60000 65536"/>
                    <a:gd name="T12" fmla="*/ 0 60000 65536"/>
                    <a:gd name="T13" fmla="*/ 0 60000 65536"/>
                    <a:gd name="T14" fmla="*/ 0 60000 65536"/>
                    <a:gd name="T15" fmla="*/ 0 w 60"/>
                    <a:gd name="T16" fmla="*/ 0 h 63"/>
                    <a:gd name="T17" fmla="*/ 60 w 60"/>
                    <a:gd name="T18" fmla="*/ 63 h 63"/>
                  </a:gdLst>
                  <a:ahLst/>
                  <a:cxnLst>
                    <a:cxn ang="T10">
                      <a:pos x="T0" y="T1"/>
                    </a:cxn>
                    <a:cxn ang="T11">
                      <a:pos x="T2" y="T3"/>
                    </a:cxn>
                    <a:cxn ang="T12">
                      <a:pos x="T4" y="T5"/>
                    </a:cxn>
                    <a:cxn ang="T13">
                      <a:pos x="T6" y="T7"/>
                    </a:cxn>
                    <a:cxn ang="T14">
                      <a:pos x="T8" y="T9"/>
                    </a:cxn>
                  </a:cxnLst>
                  <a:rect l="T15" t="T16" r="T17" b="T18"/>
                  <a:pathLst>
                    <a:path w="60" h="63">
                      <a:moveTo>
                        <a:pt x="0" y="12"/>
                      </a:moveTo>
                      <a:lnTo>
                        <a:pt x="58" y="0"/>
                      </a:lnTo>
                      <a:lnTo>
                        <a:pt x="60" y="50"/>
                      </a:lnTo>
                      <a:lnTo>
                        <a:pt x="1" y="63"/>
                      </a:lnTo>
                      <a:lnTo>
                        <a:pt x="0" y="12"/>
                      </a:ln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264351" name="Freeform 159"/>
                <p:cNvSpPr>
                  <a:spLocks/>
                </p:cNvSpPr>
                <p:nvPr/>
              </p:nvSpPr>
              <p:spPr bwMode="gray">
                <a:xfrm>
                  <a:off x="4157" y="1486"/>
                  <a:ext cx="199" cy="62"/>
                </a:xfrm>
                <a:custGeom>
                  <a:avLst/>
                  <a:gdLst/>
                  <a:ahLst/>
                  <a:cxnLst>
                    <a:cxn ang="0">
                      <a:pos x="61" y="40"/>
                    </a:cxn>
                    <a:cxn ang="0">
                      <a:pos x="109" y="67"/>
                    </a:cxn>
                    <a:cxn ang="0">
                      <a:pos x="159" y="66"/>
                    </a:cxn>
                    <a:cxn ang="0">
                      <a:pos x="183" y="60"/>
                    </a:cxn>
                    <a:cxn ang="0">
                      <a:pos x="198" y="46"/>
                    </a:cxn>
                    <a:cxn ang="0">
                      <a:pos x="94" y="6"/>
                    </a:cxn>
                    <a:cxn ang="0">
                      <a:pos x="78" y="7"/>
                    </a:cxn>
                    <a:cxn ang="0">
                      <a:pos x="6" y="18"/>
                    </a:cxn>
                    <a:cxn ang="0">
                      <a:pos x="42" y="25"/>
                    </a:cxn>
                    <a:cxn ang="0">
                      <a:pos x="61" y="40"/>
                    </a:cxn>
                  </a:cxnLst>
                  <a:rect l="0" t="0" r="r" b="b"/>
                  <a:pathLst>
                    <a:path w="198" h="70">
                      <a:moveTo>
                        <a:pt x="61" y="40"/>
                      </a:moveTo>
                      <a:cubicBezTo>
                        <a:pt x="58" y="55"/>
                        <a:pt x="79" y="64"/>
                        <a:pt x="109" y="67"/>
                      </a:cubicBezTo>
                      <a:cubicBezTo>
                        <a:pt x="129" y="70"/>
                        <a:pt x="139" y="68"/>
                        <a:pt x="159" y="66"/>
                      </a:cubicBezTo>
                      <a:cubicBezTo>
                        <a:pt x="167" y="64"/>
                        <a:pt x="175" y="62"/>
                        <a:pt x="183" y="60"/>
                      </a:cubicBezTo>
                      <a:cubicBezTo>
                        <a:pt x="190" y="56"/>
                        <a:pt x="194" y="53"/>
                        <a:pt x="198" y="46"/>
                      </a:cubicBezTo>
                      <a:cubicBezTo>
                        <a:pt x="183" y="40"/>
                        <a:pt x="122" y="11"/>
                        <a:pt x="94" y="6"/>
                      </a:cubicBezTo>
                      <a:cubicBezTo>
                        <a:pt x="74" y="0"/>
                        <a:pt x="93" y="5"/>
                        <a:pt x="78" y="7"/>
                      </a:cubicBezTo>
                      <a:cubicBezTo>
                        <a:pt x="63" y="9"/>
                        <a:pt x="12" y="15"/>
                        <a:pt x="6" y="18"/>
                      </a:cubicBezTo>
                      <a:cubicBezTo>
                        <a:pt x="0" y="21"/>
                        <a:pt x="33" y="21"/>
                        <a:pt x="42" y="25"/>
                      </a:cubicBezTo>
                      <a:lnTo>
                        <a:pt x="61" y="40"/>
                      </a:lnTo>
                      <a:close/>
                    </a:path>
                  </a:pathLst>
                </a:custGeom>
                <a:gradFill rotWithShape="1">
                  <a:gsLst>
                    <a:gs pos="0">
                      <a:schemeClr val="bg2">
                        <a:alpha val="39999"/>
                      </a:schemeClr>
                    </a:gs>
                    <a:gs pos="100000">
                      <a:schemeClr val="bg2">
                        <a:gamma/>
                        <a:shade val="71765"/>
                        <a:invGamma/>
                        <a:alpha val="60001"/>
                      </a:schemeClr>
                    </a:gs>
                  </a:gsLst>
                  <a:lin ang="5400000" scaled="1"/>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2274" name="Freeform 160"/>
                <p:cNvSpPr>
                  <a:spLocks/>
                </p:cNvSpPr>
                <p:nvPr/>
              </p:nvSpPr>
              <p:spPr bwMode="gray">
                <a:xfrm>
                  <a:off x="4306" y="1121"/>
                  <a:ext cx="88" cy="451"/>
                </a:xfrm>
                <a:custGeom>
                  <a:avLst/>
                  <a:gdLst>
                    <a:gd name="T0" fmla="*/ 0 w 88"/>
                    <a:gd name="T1" fmla="*/ 429 h 451"/>
                    <a:gd name="T2" fmla="*/ 44 w 88"/>
                    <a:gd name="T3" fmla="*/ 451 h 451"/>
                    <a:gd name="T4" fmla="*/ 88 w 88"/>
                    <a:gd name="T5" fmla="*/ 431 h 451"/>
                    <a:gd name="T6" fmla="*/ 84 w 88"/>
                    <a:gd name="T7" fmla="*/ 11 h 451"/>
                    <a:gd name="T8" fmla="*/ 48 w 88"/>
                    <a:gd name="T9" fmla="*/ 1 h 451"/>
                    <a:gd name="T10" fmla="*/ 24 w 88"/>
                    <a:gd name="T11" fmla="*/ 5 h 451"/>
                    <a:gd name="T12" fmla="*/ 20 w 88"/>
                    <a:gd name="T13" fmla="*/ 21 h 451"/>
                    <a:gd name="T14" fmla="*/ 0 w 88"/>
                    <a:gd name="T15" fmla="*/ 429 h 451"/>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51"/>
                    <a:gd name="T26" fmla="*/ 88 w 88"/>
                    <a:gd name="T27" fmla="*/ 451 h 4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51">
                      <a:moveTo>
                        <a:pt x="0" y="429"/>
                      </a:moveTo>
                      <a:cubicBezTo>
                        <a:pt x="2" y="445"/>
                        <a:pt x="20" y="451"/>
                        <a:pt x="44" y="451"/>
                      </a:cubicBezTo>
                      <a:cubicBezTo>
                        <a:pt x="72" y="451"/>
                        <a:pt x="85" y="437"/>
                        <a:pt x="88" y="431"/>
                      </a:cubicBezTo>
                      <a:lnTo>
                        <a:pt x="84" y="11"/>
                      </a:lnTo>
                      <a:cubicBezTo>
                        <a:pt x="78" y="5"/>
                        <a:pt x="64" y="1"/>
                        <a:pt x="48" y="1"/>
                      </a:cubicBezTo>
                      <a:cubicBezTo>
                        <a:pt x="32" y="2"/>
                        <a:pt x="36" y="0"/>
                        <a:pt x="24" y="5"/>
                      </a:cubicBezTo>
                      <a:lnTo>
                        <a:pt x="20" y="21"/>
                      </a:lnTo>
                      <a:lnTo>
                        <a:pt x="0" y="429"/>
                      </a:lnTo>
                      <a:close/>
                    </a:path>
                  </a:pathLst>
                </a:custGeom>
                <a:gradFill rotWithShape="1">
                  <a:gsLst>
                    <a:gs pos="0">
                      <a:srgbClr val="757575"/>
                    </a:gs>
                    <a:gs pos="50000">
                      <a:srgbClr val="999999"/>
                    </a:gs>
                    <a:gs pos="100000">
                      <a:srgbClr val="757575"/>
                    </a:gs>
                  </a:gsLst>
                  <a:lin ang="0" scaled="1"/>
                </a:gradFill>
                <a:ln w="9525">
                  <a:noFill/>
                  <a:round/>
                  <a:headEnd/>
                  <a:tailEnd/>
                </a:ln>
              </p:spPr>
              <p:txBody>
                <a:bodyPr wrap="none" anchor="ctr"/>
                <a:lstStyle/>
                <a:p>
                  <a:pPr defTabSz="912546"/>
                  <a:endParaRPr>
                    <a:solidFill>
                      <a:srgbClr val="000000"/>
                    </a:solidFill>
                  </a:endParaRPr>
                </a:p>
              </p:txBody>
            </p:sp>
            <p:sp>
              <p:nvSpPr>
                <p:cNvPr id="442275" name="Oval 161"/>
                <p:cNvSpPr>
                  <a:spLocks noChangeArrowheads="1"/>
                </p:cNvSpPr>
                <p:nvPr/>
              </p:nvSpPr>
              <p:spPr bwMode="gray">
                <a:xfrm>
                  <a:off x="4328" y="1121"/>
                  <a:ext cx="62" cy="27"/>
                </a:xfrm>
                <a:prstGeom prst="ellipse">
                  <a:avLst/>
                </a:prstGeom>
                <a:solidFill>
                  <a:srgbClr val="969696"/>
                </a:solidFill>
                <a:ln w="9525" algn="ctr">
                  <a:noFill/>
                  <a:round/>
                  <a:headEnd/>
                  <a:tailEnd/>
                </a:ln>
              </p:spPr>
              <p:txBody>
                <a:bodyPr wrap="none" anchor="ctr"/>
                <a:lstStyle/>
                <a:p>
                  <a:pPr algn="ctr" defTabSz="912546"/>
                  <a:endParaRPr>
                    <a:solidFill>
                      <a:srgbClr val="000000"/>
                    </a:solidFill>
                  </a:endParaRPr>
                </a:p>
              </p:txBody>
            </p:sp>
            <p:sp>
              <p:nvSpPr>
                <p:cNvPr id="442276" name="Freeform 162"/>
                <p:cNvSpPr>
                  <a:spLocks/>
                </p:cNvSpPr>
                <p:nvPr/>
              </p:nvSpPr>
              <p:spPr bwMode="gray">
                <a:xfrm>
                  <a:off x="4334" y="1121"/>
                  <a:ext cx="46" cy="26"/>
                </a:xfrm>
                <a:custGeom>
                  <a:avLst/>
                  <a:gdLst>
                    <a:gd name="T0" fmla="*/ 46 w 46"/>
                    <a:gd name="T1" fmla="*/ 14 h 26"/>
                    <a:gd name="T2" fmla="*/ 1 w 46"/>
                    <a:gd name="T3" fmla="*/ 12 h 26"/>
                    <a:gd name="T4" fmla="*/ 46 w 46"/>
                    <a:gd name="T5" fmla="*/ 14 h 26"/>
                    <a:gd name="T6" fmla="*/ 0 60000 65536"/>
                    <a:gd name="T7" fmla="*/ 0 60000 65536"/>
                    <a:gd name="T8" fmla="*/ 0 60000 65536"/>
                    <a:gd name="T9" fmla="*/ 0 w 46"/>
                    <a:gd name="T10" fmla="*/ 0 h 26"/>
                    <a:gd name="T11" fmla="*/ 46 w 46"/>
                    <a:gd name="T12" fmla="*/ 26 h 26"/>
                  </a:gdLst>
                  <a:ahLst/>
                  <a:cxnLst>
                    <a:cxn ang="T6">
                      <a:pos x="T0" y="T1"/>
                    </a:cxn>
                    <a:cxn ang="T7">
                      <a:pos x="T2" y="T3"/>
                    </a:cxn>
                    <a:cxn ang="T8">
                      <a:pos x="T4" y="T5"/>
                    </a:cxn>
                  </a:cxnLst>
                  <a:rect l="T9" t="T10" r="T11" b="T12"/>
                  <a:pathLst>
                    <a:path w="46" h="26">
                      <a:moveTo>
                        <a:pt x="46" y="14"/>
                      </a:moveTo>
                      <a:cubicBezTo>
                        <a:pt x="46" y="0"/>
                        <a:pt x="0" y="3"/>
                        <a:pt x="1" y="12"/>
                      </a:cubicBezTo>
                      <a:cubicBezTo>
                        <a:pt x="0" y="23"/>
                        <a:pt x="46" y="26"/>
                        <a:pt x="46" y="14"/>
                      </a:cubicBezTo>
                      <a:close/>
                    </a:path>
                  </a:pathLst>
                </a:custGeom>
                <a:solidFill>
                  <a:srgbClr val="5F5F5F"/>
                </a:solidFill>
                <a:ln w="9525">
                  <a:noFill/>
                  <a:round/>
                  <a:headEnd/>
                  <a:tailEnd/>
                </a:ln>
              </p:spPr>
              <p:txBody>
                <a:bodyPr wrap="none" anchor="ctr"/>
                <a:lstStyle/>
                <a:p>
                  <a:pPr defTabSz="912546"/>
                  <a:endParaRPr>
                    <a:solidFill>
                      <a:srgbClr val="000000"/>
                    </a:solidFill>
                  </a:endParaRPr>
                </a:p>
              </p:txBody>
            </p:sp>
          </p:grpSp>
        </p:grpSp>
        <p:grpSp>
          <p:nvGrpSpPr>
            <p:cNvPr id="17" name="Group 163"/>
            <p:cNvGrpSpPr>
              <a:grpSpLocks/>
            </p:cNvGrpSpPr>
            <p:nvPr/>
          </p:nvGrpSpPr>
          <p:grpSpPr bwMode="gray">
            <a:xfrm rot="385350" flipH="1">
              <a:off x="1294" y="3281"/>
              <a:ext cx="83" cy="39"/>
              <a:chOff x="1878" y="3183"/>
              <a:chExt cx="322" cy="137"/>
            </a:xfrm>
          </p:grpSpPr>
          <p:sp>
            <p:nvSpPr>
              <p:cNvPr id="442225" name="Freeform 164"/>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rgbClr val="4D4D4D"/>
              </a:solidFill>
              <a:ln w="12700">
                <a:noFill/>
                <a:round/>
                <a:headEnd/>
                <a:tailEnd/>
              </a:ln>
            </p:spPr>
            <p:txBody>
              <a:bodyPr lIns="45720" tIns="46800" rIns="45720" bIns="46800" anchor="ctr"/>
              <a:lstStyle/>
              <a:p>
                <a:pPr defTabSz="912546"/>
                <a:endParaRPr>
                  <a:solidFill>
                    <a:srgbClr val="000000"/>
                  </a:solidFill>
                </a:endParaRPr>
              </a:p>
            </p:txBody>
          </p:sp>
          <p:sp>
            <p:nvSpPr>
              <p:cNvPr id="442226" name="Freeform 165"/>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FDFDFD"/>
              </a:solidFill>
              <a:ln w="12700">
                <a:noFill/>
                <a:round/>
                <a:headEnd/>
                <a:tailEnd/>
              </a:ln>
            </p:spPr>
            <p:txBody>
              <a:bodyPr lIns="45720" tIns="46800" rIns="45720" bIns="46800" anchor="ctr"/>
              <a:lstStyle/>
              <a:p>
                <a:pPr defTabSz="912546"/>
                <a:endParaRPr>
                  <a:solidFill>
                    <a:srgbClr val="000000"/>
                  </a:solidFill>
                </a:endParaRPr>
              </a:p>
            </p:txBody>
          </p:sp>
          <p:sp>
            <p:nvSpPr>
              <p:cNvPr id="442227" name="Freeform 166"/>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CECECE"/>
              </a:solidFill>
              <a:ln w="12700">
                <a:noFill/>
                <a:round/>
                <a:headEnd/>
                <a:tailEnd/>
              </a:ln>
            </p:spPr>
            <p:txBody>
              <a:bodyPr lIns="45720" tIns="46800" rIns="45720" bIns="46800" anchor="ctr"/>
              <a:lstStyle/>
              <a:p>
                <a:pPr defTabSz="912546"/>
                <a:endParaRPr>
                  <a:solidFill>
                    <a:srgbClr val="000000"/>
                  </a:solidFill>
                </a:endParaRPr>
              </a:p>
            </p:txBody>
          </p:sp>
          <p:sp>
            <p:nvSpPr>
              <p:cNvPr id="442228" name="Freeform 167"/>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229" name="Freeform 168"/>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2230" name="Freeform 169"/>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2231" name="Freeform 170"/>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BEBEBE"/>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2232" name="Freeform 171"/>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969696"/>
              </a:solidFill>
              <a:ln w="12700">
                <a:noFill/>
                <a:round/>
                <a:headEnd/>
                <a:tailEnd/>
              </a:ln>
            </p:spPr>
            <p:txBody>
              <a:bodyPr lIns="45720" tIns="46800" rIns="45720" bIns="46800" anchor="ctr"/>
              <a:lstStyle/>
              <a:p>
                <a:pPr defTabSz="912546"/>
                <a:endParaRPr>
                  <a:solidFill>
                    <a:srgbClr val="000000"/>
                  </a:solidFill>
                </a:endParaRPr>
              </a:p>
            </p:txBody>
          </p:sp>
          <p:sp>
            <p:nvSpPr>
              <p:cNvPr id="442233" name="Freeform 172"/>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969696"/>
              </a:solidFill>
              <a:ln w="12700">
                <a:noFill/>
                <a:round/>
                <a:headEnd/>
                <a:tailEnd/>
              </a:ln>
            </p:spPr>
            <p:txBody>
              <a:bodyPr lIns="45720" tIns="46800" rIns="45720" bIns="46800" anchor="ctr"/>
              <a:lstStyle/>
              <a:p>
                <a:pPr defTabSz="912546"/>
                <a:endParaRPr>
                  <a:solidFill>
                    <a:srgbClr val="000000"/>
                  </a:solidFill>
                </a:endParaRPr>
              </a:p>
            </p:txBody>
          </p:sp>
          <p:sp>
            <p:nvSpPr>
              <p:cNvPr id="442234" name="Freeform 173"/>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969696"/>
              </a:solidFill>
              <a:ln w="12700">
                <a:noFill/>
                <a:round/>
                <a:headEnd/>
                <a:tailEnd/>
              </a:ln>
            </p:spPr>
            <p:txBody>
              <a:bodyPr lIns="45720" tIns="46800" rIns="45720" bIns="46800" anchor="ctr"/>
              <a:lstStyle/>
              <a:p>
                <a:pPr defTabSz="912546"/>
                <a:endParaRPr>
                  <a:solidFill>
                    <a:srgbClr val="000000"/>
                  </a:solidFill>
                </a:endParaRPr>
              </a:p>
            </p:txBody>
          </p:sp>
          <p:sp>
            <p:nvSpPr>
              <p:cNvPr id="442235" name="Freeform 174"/>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969696"/>
              </a:solidFill>
              <a:ln w="12700">
                <a:noFill/>
                <a:round/>
                <a:headEnd/>
                <a:tailEnd/>
              </a:ln>
            </p:spPr>
            <p:txBody>
              <a:bodyPr lIns="45720" tIns="46800" rIns="45720" bIns="46800" anchor="ctr"/>
              <a:lstStyle/>
              <a:p>
                <a:pPr defTabSz="912546"/>
                <a:endParaRPr>
                  <a:solidFill>
                    <a:srgbClr val="000000"/>
                  </a:solidFill>
                </a:endParaRPr>
              </a:p>
            </p:txBody>
          </p:sp>
          <p:sp>
            <p:nvSpPr>
              <p:cNvPr id="442236" name="Freeform 175"/>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969696"/>
              </a:solidFill>
              <a:ln w="12700">
                <a:noFill/>
                <a:round/>
                <a:headEnd/>
                <a:tailEnd/>
              </a:ln>
            </p:spPr>
            <p:txBody>
              <a:bodyPr lIns="45720" tIns="46800" rIns="45720" bIns="46800" anchor="ctr"/>
              <a:lstStyle/>
              <a:p>
                <a:pPr defTabSz="912546"/>
                <a:endParaRPr>
                  <a:solidFill>
                    <a:srgbClr val="000000"/>
                  </a:solidFill>
                </a:endParaRPr>
              </a:p>
            </p:txBody>
          </p:sp>
          <p:sp>
            <p:nvSpPr>
              <p:cNvPr id="442237" name="Freeform 176"/>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nvGrpSpPr>
            <p:cNvPr id="18" name="Group 177"/>
            <p:cNvGrpSpPr>
              <a:grpSpLocks/>
            </p:cNvGrpSpPr>
            <p:nvPr/>
          </p:nvGrpSpPr>
          <p:grpSpPr bwMode="gray">
            <a:xfrm rot="-451309">
              <a:off x="1150" y="3314"/>
              <a:ext cx="44" cy="53"/>
              <a:chOff x="872" y="1486"/>
              <a:chExt cx="335" cy="413"/>
            </a:xfrm>
          </p:grpSpPr>
          <p:sp>
            <p:nvSpPr>
              <p:cNvPr id="442205" name="Freeform 178"/>
              <p:cNvSpPr>
                <a:spLocks/>
              </p:cNvSpPr>
              <p:nvPr/>
            </p:nvSpPr>
            <p:spPr bwMode="gray">
              <a:xfrm>
                <a:off x="872" y="1609"/>
                <a:ext cx="314" cy="290"/>
              </a:xfrm>
              <a:custGeom>
                <a:avLst/>
                <a:gdLst>
                  <a:gd name="T0" fmla="*/ 12 w 314"/>
                  <a:gd name="T1" fmla="*/ 0 h 290"/>
                  <a:gd name="T2" fmla="*/ 8 w 314"/>
                  <a:gd name="T3" fmla="*/ 11 h 290"/>
                  <a:gd name="T4" fmla="*/ 17 w 314"/>
                  <a:gd name="T5" fmla="*/ 47 h 290"/>
                  <a:gd name="T6" fmla="*/ 32 w 314"/>
                  <a:gd name="T7" fmla="*/ 78 h 290"/>
                  <a:gd name="T8" fmla="*/ 47 w 314"/>
                  <a:gd name="T9" fmla="*/ 99 h 290"/>
                  <a:gd name="T10" fmla="*/ 80 w 314"/>
                  <a:gd name="T11" fmla="*/ 147 h 290"/>
                  <a:gd name="T12" fmla="*/ 89 w 314"/>
                  <a:gd name="T13" fmla="*/ 186 h 290"/>
                  <a:gd name="T14" fmla="*/ 110 w 314"/>
                  <a:gd name="T15" fmla="*/ 206 h 290"/>
                  <a:gd name="T16" fmla="*/ 129 w 314"/>
                  <a:gd name="T17" fmla="*/ 209 h 290"/>
                  <a:gd name="T18" fmla="*/ 155 w 314"/>
                  <a:gd name="T19" fmla="*/ 237 h 290"/>
                  <a:gd name="T20" fmla="*/ 165 w 314"/>
                  <a:gd name="T21" fmla="*/ 246 h 290"/>
                  <a:gd name="T22" fmla="*/ 167 w 314"/>
                  <a:gd name="T23" fmla="*/ 267 h 290"/>
                  <a:gd name="T24" fmla="*/ 195 w 314"/>
                  <a:gd name="T25" fmla="*/ 288 h 290"/>
                  <a:gd name="T26" fmla="*/ 219 w 314"/>
                  <a:gd name="T27" fmla="*/ 272 h 290"/>
                  <a:gd name="T28" fmla="*/ 248 w 314"/>
                  <a:gd name="T29" fmla="*/ 264 h 290"/>
                  <a:gd name="T30" fmla="*/ 258 w 314"/>
                  <a:gd name="T31" fmla="*/ 264 h 290"/>
                  <a:gd name="T32" fmla="*/ 270 w 314"/>
                  <a:gd name="T33" fmla="*/ 275 h 290"/>
                  <a:gd name="T34" fmla="*/ 311 w 314"/>
                  <a:gd name="T35" fmla="*/ 281 h 290"/>
                  <a:gd name="T36" fmla="*/ 314 w 314"/>
                  <a:gd name="T37" fmla="*/ 269 h 290"/>
                  <a:gd name="T38" fmla="*/ 309 w 314"/>
                  <a:gd name="T39" fmla="*/ 257 h 290"/>
                  <a:gd name="T40" fmla="*/ 294 w 314"/>
                  <a:gd name="T41" fmla="*/ 254 h 290"/>
                  <a:gd name="T42" fmla="*/ 273 w 314"/>
                  <a:gd name="T43" fmla="*/ 242 h 290"/>
                  <a:gd name="T44" fmla="*/ 231 w 314"/>
                  <a:gd name="T45" fmla="*/ 201 h 290"/>
                  <a:gd name="T46" fmla="*/ 213 w 314"/>
                  <a:gd name="T47" fmla="*/ 183 h 290"/>
                  <a:gd name="T48" fmla="*/ 179 w 314"/>
                  <a:gd name="T49" fmla="*/ 149 h 290"/>
                  <a:gd name="T50" fmla="*/ 153 w 314"/>
                  <a:gd name="T51" fmla="*/ 123 h 290"/>
                  <a:gd name="T52" fmla="*/ 123 w 314"/>
                  <a:gd name="T53" fmla="*/ 89 h 290"/>
                  <a:gd name="T54" fmla="*/ 81 w 314"/>
                  <a:gd name="T55" fmla="*/ 56 h 290"/>
                  <a:gd name="T56" fmla="*/ 35 w 314"/>
                  <a:gd name="T57" fmla="*/ 20 h 290"/>
                  <a:gd name="T58" fmla="*/ 12 w 314"/>
                  <a:gd name="T59" fmla="*/ 0 h 29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4"/>
                  <a:gd name="T91" fmla="*/ 0 h 290"/>
                  <a:gd name="T92" fmla="*/ 314 w 314"/>
                  <a:gd name="T93" fmla="*/ 290 h 29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4" h="290">
                    <a:moveTo>
                      <a:pt x="12" y="0"/>
                    </a:moveTo>
                    <a:cubicBezTo>
                      <a:pt x="15" y="6"/>
                      <a:pt x="14" y="8"/>
                      <a:pt x="8" y="11"/>
                    </a:cubicBezTo>
                    <a:cubicBezTo>
                      <a:pt x="0" y="26"/>
                      <a:pt x="10" y="36"/>
                      <a:pt x="17" y="47"/>
                    </a:cubicBezTo>
                    <a:cubicBezTo>
                      <a:pt x="18" y="56"/>
                      <a:pt x="15" y="78"/>
                      <a:pt x="32" y="78"/>
                    </a:cubicBezTo>
                    <a:cubicBezTo>
                      <a:pt x="32" y="98"/>
                      <a:pt x="38" y="102"/>
                      <a:pt x="47" y="99"/>
                    </a:cubicBezTo>
                    <a:cubicBezTo>
                      <a:pt x="55" y="111"/>
                      <a:pt x="73" y="133"/>
                      <a:pt x="80" y="147"/>
                    </a:cubicBezTo>
                    <a:cubicBezTo>
                      <a:pt x="82" y="158"/>
                      <a:pt x="75" y="170"/>
                      <a:pt x="89" y="186"/>
                    </a:cubicBezTo>
                    <a:cubicBezTo>
                      <a:pt x="96" y="188"/>
                      <a:pt x="93" y="203"/>
                      <a:pt x="110" y="206"/>
                    </a:cubicBezTo>
                    <a:cubicBezTo>
                      <a:pt x="116" y="201"/>
                      <a:pt x="123" y="204"/>
                      <a:pt x="129" y="209"/>
                    </a:cubicBezTo>
                    <a:cubicBezTo>
                      <a:pt x="130" y="216"/>
                      <a:pt x="150" y="231"/>
                      <a:pt x="155" y="237"/>
                    </a:cubicBezTo>
                    <a:cubicBezTo>
                      <a:pt x="157" y="246"/>
                      <a:pt x="157" y="245"/>
                      <a:pt x="165" y="246"/>
                    </a:cubicBezTo>
                    <a:cubicBezTo>
                      <a:pt x="167" y="254"/>
                      <a:pt x="165" y="259"/>
                      <a:pt x="167" y="267"/>
                    </a:cubicBezTo>
                    <a:cubicBezTo>
                      <a:pt x="169" y="283"/>
                      <a:pt x="178" y="285"/>
                      <a:pt x="195" y="288"/>
                    </a:cubicBezTo>
                    <a:cubicBezTo>
                      <a:pt x="210" y="286"/>
                      <a:pt x="204" y="275"/>
                      <a:pt x="219" y="272"/>
                    </a:cubicBezTo>
                    <a:cubicBezTo>
                      <a:pt x="228" y="268"/>
                      <a:pt x="238" y="267"/>
                      <a:pt x="248" y="264"/>
                    </a:cubicBezTo>
                    <a:cubicBezTo>
                      <a:pt x="256" y="266"/>
                      <a:pt x="251" y="260"/>
                      <a:pt x="258" y="264"/>
                    </a:cubicBezTo>
                    <a:cubicBezTo>
                      <a:pt x="264" y="272"/>
                      <a:pt x="259" y="273"/>
                      <a:pt x="270" y="275"/>
                    </a:cubicBezTo>
                    <a:cubicBezTo>
                      <a:pt x="279" y="290"/>
                      <a:pt x="304" y="286"/>
                      <a:pt x="311" y="281"/>
                    </a:cubicBezTo>
                    <a:cubicBezTo>
                      <a:pt x="314" y="276"/>
                      <a:pt x="312" y="275"/>
                      <a:pt x="314" y="269"/>
                    </a:cubicBezTo>
                    <a:cubicBezTo>
                      <a:pt x="314" y="267"/>
                      <a:pt x="312" y="258"/>
                      <a:pt x="309" y="257"/>
                    </a:cubicBezTo>
                    <a:cubicBezTo>
                      <a:pt x="304" y="255"/>
                      <a:pt x="294" y="254"/>
                      <a:pt x="294" y="254"/>
                    </a:cubicBezTo>
                    <a:cubicBezTo>
                      <a:pt x="286" y="250"/>
                      <a:pt x="280" y="247"/>
                      <a:pt x="273" y="242"/>
                    </a:cubicBezTo>
                    <a:cubicBezTo>
                      <a:pt x="261" y="223"/>
                      <a:pt x="247" y="215"/>
                      <a:pt x="231" y="201"/>
                    </a:cubicBezTo>
                    <a:cubicBezTo>
                      <a:pt x="224" y="195"/>
                      <a:pt x="221" y="188"/>
                      <a:pt x="213" y="183"/>
                    </a:cubicBezTo>
                    <a:cubicBezTo>
                      <a:pt x="203" y="170"/>
                      <a:pt x="191" y="161"/>
                      <a:pt x="179" y="149"/>
                    </a:cubicBezTo>
                    <a:cubicBezTo>
                      <a:pt x="171" y="141"/>
                      <a:pt x="163" y="129"/>
                      <a:pt x="153" y="123"/>
                    </a:cubicBezTo>
                    <a:cubicBezTo>
                      <a:pt x="144" y="112"/>
                      <a:pt x="134" y="98"/>
                      <a:pt x="123" y="89"/>
                    </a:cubicBezTo>
                    <a:cubicBezTo>
                      <a:pt x="114" y="75"/>
                      <a:pt x="94" y="66"/>
                      <a:pt x="81" y="56"/>
                    </a:cubicBezTo>
                    <a:cubicBezTo>
                      <a:pt x="66" y="45"/>
                      <a:pt x="49" y="33"/>
                      <a:pt x="35" y="20"/>
                    </a:cubicBezTo>
                    <a:cubicBezTo>
                      <a:pt x="26" y="12"/>
                      <a:pt x="24" y="5"/>
                      <a:pt x="12" y="0"/>
                    </a:cubicBez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2206" name="Freeform 179"/>
              <p:cNvSpPr>
                <a:spLocks/>
              </p:cNvSpPr>
              <p:nvPr/>
            </p:nvSpPr>
            <p:spPr bwMode="gray">
              <a:xfrm>
                <a:off x="875" y="1486"/>
                <a:ext cx="103" cy="299"/>
              </a:xfrm>
              <a:custGeom>
                <a:avLst/>
                <a:gdLst>
                  <a:gd name="T0" fmla="*/ 98 w 103"/>
                  <a:gd name="T1" fmla="*/ 147 h 299"/>
                  <a:gd name="T2" fmla="*/ 101 w 103"/>
                  <a:gd name="T3" fmla="*/ 299 h 299"/>
                  <a:gd name="T4" fmla="*/ 6 w 103"/>
                  <a:gd name="T5" fmla="*/ 140 h 299"/>
                  <a:gd name="T6" fmla="*/ 0 w 103"/>
                  <a:gd name="T7" fmla="*/ 0 h 299"/>
                  <a:gd name="T8" fmla="*/ 98 w 103"/>
                  <a:gd name="T9" fmla="*/ 147 h 299"/>
                  <a:gd name="T10" fmla="*/ 0 60000 65536"/>
                  <a:gd name="T11" fmla="*/ 0 60000 65536"/>
                  <a:gd name="T12" fmla="*/ 0 60000 65536"/>
                  <a:gd name="T13" fmla="*/ 0 60000 65536"/>
                  <a:gd name="T14" fmla="*/ 0 60000 65536"/>
                  <a:gd name="T15" fmla="*/ 0 w 103"/>
                  <a:gd name="T16" fmla="*/ 0 h 299"/>
                  <a:gd name="T17" fmla="*/ 103 w 103"/>
                  <a:gd name="T18" fmla="*/ 299 h 299"/>
                </a:gdLst>
                <a:ahLst/>
                <a:cxnLst>
                  <a:cxn ang="T10">
                    <a:pos x="T0" y="T1"/>
                  </a:cxn>
                  <a:cxn ang="T11">
                    <a:pos x="T2" y="T3"/>
                  </a:cxn>
                  <a:cxn ang="T12">
                    <a:pos x="T4" y="T5"/>
                  </a:cxn>
                  <a:cxn ang="T13">
                    <a:pos x="T6" y="T7"/>
                  </a:cxn>
                  <a:cxn ang="T14">
                    <a:pos x="T8" y="T9"/>
                  </a:cxn>
                </a:cxnLst>
                <a:rect l="T15" t="T16" r="T17" b="T18"/>
                <a:pathLst>
                  <a:path w="103" h="299">
                    <a:moveTo>
                      <a:pt x="98" y="147"/>
                    </a:moveTo>
                    <a:cubicBezTo>
                      <a:pt x="98" y="179"/>
                      <a:pt x="103" y="237"/>
                      <a:pt x="101" y="299"/>
                    </a:cubicBezTo>
                    <a:cubicBezTo>
                      <a:pt x="77" y="249"/>
                      <a:pt x="23" y="193"/>
                      <a:pt x="6" y="140"/>
                    </a:cubicBezTo>
                    <a:lnTo>
                      <a:pt x="0" y="0"/>
                    </a:lnTo>
                    <a:lnTo>
                      <a:pt x="98" y="147"/>
                    </a:lnTo>
                    <a:close/>
                  </a:path>
                </a:pathLst>
              </a:custGeom>
              <a:gradFill rotWithShape="1">
                <a:gsLst>
                  <a:gs pos="0">
                    <a:srgbClr val="C5C5C5"/>
                  </a:gs>
                  <a:gs pos="100000">
                    <a:srgbClr val="BABABA"/>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2207" name="Freeform 180"/>
              <p:cNvSpPr>
                <a:spLocks/>
              </p:cNvSpPr>
              <p:nvPr/>
            </p:nvSpPr>
            <p:spPr bwMode="gray">
              <a:xfrm>
                <a:off x="877" y="1486"/>
                <a:ext cx="262" cy="148"/>
              </a:xfrm>
              <a:custGeom>
                <a:avLst/>
                <a:gdLst>
                  <a:gd name="T0" fmla="*/ 116 w 262"/>
                  <a:gd name="T1" fmla="*/ 2 h 148"/>
                  <a:gd name="T2" fmla="*/ 262 w 262"/>
                  <a:gd name="T3" fmla="*/ 144 h 148"/>
                  <a:gd name="T4" fmla="*/ 98 w 262"/>
                  <a:gd name="T5" fmla="*/ 148 h 148"/>
                  <a:gd name="T6" fmla="*/ 0 w 262"/>
                  <a:gd name="T7" fmla="*/ 0 h 148"/>
                  <a:gd name="T8" fmla="*/ 0 60000 65536"/>
                  <a:gd name="T9" fmla="*/ 0 60000 65536"/>
                  <a:gd name="T10" fmla="*/ 0 60000 65536"/>
                  <a:gd name="T11" fmla="*/ 0 60000 65536"/>
                  <a:gd name="T12" fmla="*/ 0 w 262"/>
                  <a:gd name="T13" fmla="*/ 0 h 148"/>
                  <a:gd name="T14" fmla="*/ 262 w 262"/>
                  <a:gd name="T15" fmla="*/ 148 h 148"/>
                </a:gdLst>
                <a:ahLst/>
                <a:cxnLst>
                  <a:cxn ang="T8">
                    <a:pos x="T0" y="T1"/>
                  </a:cxn>
                  <a:cxn ang="T9">
                    <a:pos x="T2" y="T3"/>
                  </a:cxn>
                  <a:cxn ang="T10">
                    <a:pos x="T4" y="T5"/>
                  </a:cxn>
                  <a:cxn ang="T11">
                    <a:pos x="T6" y="T7"/>
                  </a:cxn>
                </a:cxnLst>
                <a:rect l="T12" t="T13" r="T14" b="T15"/>
                <a:pathLst>
                  <a:path w="262" h="148">
                    <a:moveTo>
                      <a:pt x="116" y="2"/>
                    </a:moveTo>
                    <a:lnTo>
                      <a:pt x="262" y="144"/>
                    </a:lnTo>
                    <a:lnTo>
                      <a:pt x="98" y="148"/>
                    </a:lnTo>
                    <a:lnTo>
                      <a:pt x="0" y="0"/>
                    </a:lnTo>
                  </a:path>
                </a:pathLst>
              </a:custGeom>
              <a:solidFill>
                <a:srgbClr val="EAEAEA"/>
              </a:solidFill>
              <a:ln w="12700">
                <a:noFill/>
                <a:round/>
                <a:headEnd/>
                <a:tailEnd/>
              </a:ln>
            </p:spPr>
            <p:txBody>
              <a:bodyPr lIns="45720" tIns="46800" rIns="45720" bIns="46800" anchor="ctr"/>
              <a:lstStyle/>
              <a:p>
                <a:pPr defTabSz="912546"/>
                <a:endParaRPr>
                  <a:solidFill>
                    <a:srgbClr val="000000"/>
                  </a:solidFill>
                </a:endParaRPr>
              </a:p>
            </p:txBody>
          </p:sp>
          <p:sp>
            <p:nvSpPr>
              <p:cNvPr id="442208" name="Freeform 181"/>
              <p:cNvSpPr>
                <a:spLocks/>
              </p:cNvSpPr>
              <p:nvPr/>
            </p:nvSpPr>
            <p:spPr bwMode="gray">
              <a:xfrm>
                <a:off x="974" y="1630"/>
                <a:ext cx="162" cy="152"/>
              </a:xfrm>
              <a:custGeom>
                <a:avLst/>
                <a:gdLst>
                  <a:gd name="T0" fmla="*/ 162 w 162"/>
                  <a:gd name="T1" fmla="*/ 0 h 152"/>
                  <a:gd name="T2" fmla="*/ 160 w 162"/>
                  <a:gd name="T3" fmla="*/ 144 h 152"/>
                  <a:gd name="T4" fmla="*/ 3 w 162"/>
                  <a:gd name="T5" fmla="*/ 152 h 152"/>
                  <a:gd name="T6" fmla="*/ 0 w 162"/>
                  <a:gd name="T7" fmla="*/ 3 h 152"/>
                  <a:gd name="T8" fmla="*/ 0 60000 65536"/>
                  <a:gd name="T9" fmla="*/ 0 60000 65536"/>
                  <a:gd name="T10" fmla="*/ 0 60000 65536"/>
                  <a:gd name="T11" fmla="*/ 0 60000 65536"/>
                  <a:gd name="T12" fmla="*/ 0 w 162"/>
                  <a:gd name="T13" fmla="*/ 0 h 152"/>
                  <a:gd name="T14" fmla="*/ 162 w 162"/>
                  <a:gd name="T15" fmla="*/ 152 h 152"/>
                </a:gdLst>
                <a:ahLst/>
                <a:cxnLst>
                  <a:cxn ang="T8">
                    <a:pos x="T0" y="T1"/>
                  </a:cxn>
                  <a:cxn ang="T9">
                    <a:pos x="T2" y="T3"/>
                  </a:cxn>
                  <a:cxn ang="T10">
                    <a:pos x="T4" y="T5"/>
                  </a:cxn>
                  <a:cxn ang="T11">
                    <a:pos x="T6" y="T7"/>
                  </a:cxn>
                </a:cxnLst>
                <a:rect l="T12" t="T13" r="T14" b="T15"/>
                <a:pathLst>
                  <a:path w="162" h="152">
                    <a:moveTo>
                      <a:pt x="162" y="0"/>
                    </a:moveTo>
                    <a:lnTo>
                      <a:pt x="160" y="144"/>
                    </a:lnTo>
                    <a:lnTo>
                      <a:pt x="3" y="152"/>
                    </a:lnTo>
                    <a:lnTo>
                      <a:pt x="0" y="3"/>
                    </a:lnTo>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2209" name="Freeform 182"/>
              <p:cNvSpPr>
                <a:spLocks/>
              </p:cNvSpPr>
              <p:nvPr/>
            </p:nvSpPr>
            <p:spPr bwMode="gray">
              <a:xfrm>
                <a:off x="972" y="1637"/>
                <a:ext cx="162" cy="152"/>
              </a:xfrm>
              <a:custGeom>
                <a:avLst/>
                <a:gdLst>
                  <a:gd name="T0" fmla="*/ 34 w 162"/>
                  <a:gd name="T1" fmla="*/ 8 h 152"/>
                  <a:gd name="T2" fmla="*/ 25 w 162"/>
                  <a:gd name="T3" fmla="*/ 14 h 152"/>
                  <a:gd name="T4" fmla="*/ 17 w 162"/>
                  <a:gd name="T5" fmla="*/ 41 h 152"/>
                  <a:gd name="T6" fmla="*/ 37 w 162"/>
                  <a:gd name="T7" fmla="*/ 152 h 152"/>
                  <a:gd name="T8" fmla="*/ 55 w 162"/>
                  <a:gd name="T9" fmla="*/ 142 h 152"/>
                  <a:gd name="T10" fmla="*/ 82 w 162"/>
                  <a:gd name="T11" fmla="*/ 133 h 152"/>
                  <a:gd name="T12" fmla="*/ 106 w 162"/>
                  <a:gd name="T13" fmla="*/ 121 h 152"/>
                  <a:gd name="T14" fmla="*/ 136 w 162"/>
                  <a:gd name="T15" fmla="*/ 106 h 152"/>
                  <a:gd name="T16" fmla="*/ 160 w 162"/>
                  <a:gd name="T17" fmla="*/ 91 h 152"/>
                  <a:gd name="T18" fmla="*/ 158 w 162"/>
                  <a:gd name="T19" fmla="*/ 76 h 152"/>
                  <a:gd name="T20" fmla="*/ 154 w 162"/>
                  <a:gd name="T21" fmla="*/ 26 h 152"/>
                  <a:gd name="T22" fmla="*/ 145 w 162"/>
                  <a:gd name="T23" fmla="*/ 13 h 152"/>
                  <a:gd name="T24" fmla="*/ 143 w 162"/>
                  <a:gd name="T25" fmla="*/ 34 h 152"/>
                  <a:gd name="T26" fmla="*/ 139 w 162"/>
                  <a:gd name="T27" fmla="*/ 37 h 152"/>
                  <a:gd name="T28" fmla="*/ 131 w 162"/>
                  <a:gd name="T29" fmla="*/ 74 h 152"/>
                  <a:gd name="T30" fmla="*/ 73 w 162"/>
                  <a:gd name="T31" fmla="*/ 83 h 152"/>
                  <a:gd name="T32" fmla="*/ 43 w 162"/>
                  <a:gd name="T33" fmla="*/ 80 h 152"/>
                  <a:gd name="T34" fmla="*/ 41 w 162"/>
                  <a:gd name="T35" fmla="*/ 35 h 152"/>
                  <a:gd name="T36" fmla="*/ 35 w 162"/>
                  <a:gd name="T37" fmla="*/ 34 h 152"/>
                  <a:gd name="T38" fmla="*/ 34 w 162"/>
                  <a:gd name="T39" fmla="*/ 8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2"/>
                  <a:gd name="T61" fmla="*/ 0 h 152"/>
                  <a:gd name="T62" fmla="*/ 162 w 162"/>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2" h="152">
                    <a:moveTo>
                      <a:pt x="34" y="8"/>
                    </a:moveTo>
                    <a:cubicBezTo>
                      <a:pt x="26" y="6"/>
                      <a:pt x="22" y="5"/>
                      <a:pt x="25" y="14"/>
                    </a:cubicBezTo>
                    <a:cubicBezTo>
                      <a:pt x="22" y="43"/>
                      <a:pt x="24" y="26"/>
                      <a:pt x="17" y="41"/>
                    </a:cubicBezTo>
                    <a:cubicBezTo>
                      <a:pt x="22" y="67"/>
                      <a:pt x="0" y="146"/>
                      <a:pt x="37" y="152"/>
                    </a:cubicBezTo>
                    <a:cubicBezTo>
                      <a:pt x="46" y="151"/>
                      <a:pt x="46" y="144"/>
                      <a:pt x="55" y="142"/>
                    </a:cubicBezTo>
                    <a:cubicBezTo>
                      <a:pt x="63" y="138"/>
                      <a:pt x="73" y="134"/>
                      <a:pt x="82" y="133"/>
                    </a:cubicBezTo>
                    <a:cubicBezTo>
                      <a:pt x="89" y="128"/>
                      <a:pt x="97" y="122"/>
                      <a:pt x="106" y="121"/>
                    </a:cubicBezTo>
                    <a:cubicBezTo>
                      <a:pt x="116" y="116"/>
                      <a:pt x="125" y="108"/>
                      <a:pt x="136" y="106"/>
                    </a:cubicBezTo>
                    <a:cubicBezTo>
                      <a:pt x="143" y="101"/>
                      <a:pt x="152" y="96"/>
                      <a:pt x="160" y="91"/>
                    </a:cubicBezTo>
                    <a:cubicBezTo>
                      <a:pt x="161" y="85"/>
                      <a:pt x="161" y="81"/>
                      <a:pt x="158" y="76"/>
                    </a:cubicBezTo>
                    <a:cubicBezTo>
                      <a:pt x="161" y="61"/>
                      <a:pt x="162" y="40"/>
                      <a:pt x="154" y="26"/>
                    </a:cubicBezTo>
                    <a:cubicBezTo>
                      <a:pt x="153" y="20"/>
                      <a:pt x="153" y="0"/>
                      <a:pt x="145" y="13"/>
                    </a:cubicBezTo>
                    <a:cubicBezTo>
                      <a:pt x="144" y="20"/>
                      <a:pt x="145" y="27"/>
                      <a:pt x="143" y="34"/>
                    </a:cubicBezTo>
                    <a:cubicBezTo>
                      <a:pt x="143" y="36"/>
                      <a:pt x="139" y="35"/>
                      <a:pt x="139" y="37"/>
                    </a:cubicBezTo>
                    <a:cubicBezTo>
                      <a:pt x="138" y="45"/>
                      <a:pt x="144" y="71"/>
                      <a:pt x="131" y="74"/>
                    </a:cubicBezTo>
                    <a:cubicBezTo>
                      <a:pt x="115" y="82"/>
                      <a:pt x="90" y="81"/>
                      <a:pt x="73" y="83"/>
                    </a:cubicBezTo>
                    <a:cubicBezTo>
                      <a:pt x="64" y="87"/>
                      <a:pt x="52" y="82"/>
                      <a:pt x="43" y="80"/>
                    </a:cubicBezTo>
                    <a:cubicBezTo>
                      <a:pt x="42" y="65"/>
                      <a:pt x="44" y="50"/>
                      <a:pt x="41" y="35"/>
                    </a:cubicBezTo>
                    <a:cubicBezTo>
                      <a:pt x="41" y="33"/>
                      <a:pt x="36" y="36"/>
                      <a:pt x="35" y="34"/>
                    </a:cubicBezTo>
                    <a:cubicBezTo>
                      <a:pt x="34" y="30"/>
                      <a:pt x="34" y="16"/>
                      <a:pt x="34" y="8"/>
                    </a:cubicBez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2210" name="Freeform 183"/>
              <p:cNvSpPr>
                <a:spLocks/>
              </p:cNvSpPr>
              <p:nvPr/>
            </p:nvSpPr>
            <p:spPr bwMode="gray">
              <a:xfrm>
                <a:off x="997" y="1694"/>
                <a:ext cx="209" cy="181"/>
              </a:xfrm>
              <a:custGeom>
                <a:avLst/>
                <a:gdLst>
                  <a:gd name="T0" fmla="*/ 8 w 209"/>
                  <a:gd name="T1" fmla="*/ 14 h 181"/>
                  <a:gd name="T2" fmla="*/ 4 w 209"/>
                  <a:gd name="T3" fmla="*/ 116 h 181"/>
                  <a:gd name="T4" fmla="*/ 36 w 209"/>
                  <a:gd name="T5" fmla="*/ 154 h 181"/>
                  <a:gd name="T6" fmla="*/ 44 w 209"/>
                  <a:gd name="T7" fmla="*/ 136 h 181"/>
                  <a:gd name="T8" fmla="*/ 66 w 209"/>
                  <a:gd name="T9" fmla="*/ 176 h 181"/>
                  <a:gd name="T10" fmla="*/ 80 w 209"/>
                  <a:gd name="T11" fmla="*/ 180 h 181"/>
                  <a:gd name="T12" fmla="*/ 190 w 209"/>
                  <a:gd name="T13" fmla="*/ 174 h 181"/>
                  <a:gd name="T14" fmla="*/ 204 w 209"/>
                  <a:gd name="T15" fmla="*/ 140 h 181"/>
                  <a:gd name="T16" fmla="*/ 170 w 209"/>
                  <a:gd name="T17" fmla="*/ 88 h 181"/>
                  <a:gd name="T18" fmla="*/ 154 w 209"/>
                  <a:gd name="T19" fmla="*/ 72 h 181"/>
                  <a:gd name="T20" fmla="*/ 134 w 209"/>
                  <a:gd name="T21" fmla="*/ 6 h 181"/>
                  <a:gd name="T22" fmla="*/ 8 w 209"/>
                  <a:gd name="T23" fmla="*/ 14 h 1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9"/>
                  <a:gd name="T37" fmla="*/ 0 h 181"/>
                  <a:gd name="T38" fmla="*/ 209 w 209"/>
                  <a:gd name="T39" fmla="*/ 181 h 1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9" h="181">
                    <a:moveTo>
                      <a:pt x="8" y="14"/>
                    </a:moveTo>
                    <a:cubicBezTo>
                      <a:pt x="5" y="30"/>
                      <a:pt x="0" y="94"/>
                      <a:pt x="4" y="116"/>
                    </a:cubicBezTo>
                    <a:cubicBezTo>
                      <a:pt x="9" y="135"/>
                      <a:pt x="29" y="151"/>
                      <a:pt x="36" y="154"/>
                    </a:cubicBezTo>
                    <a:cubicBezTo>
                      <a:pt x="41" y="150"/>
                      <a:pt x="40" y="141"/>
                      <a:pt x="44" y="136"/>
                    </a:cubicBezTo>
                    <a:cubicBezTo>
                      <a:pt x="67" y="141"/>
                      <a:pt x="55" y="163"/>
                      <a:pt x="66" y="176"/>
                    </a:cubicBezTo>
                    <a:cubicBezTo>
                      <a:pt x="69" y="180"/>
                      <a:pt x="75" y="179"/>
                      <a:pt x="80" y="180"/>
                    </a:cubicBezTo>
                    <a:cubicBezTo>
                      <a:pt x="102" y="180"/>
                      <a:pt x="169" y="181"/>
                      <a:pt x="190" y="174"/>
                    </a:cubicBezTo>
                    <a:cubicBezTo>
                      <a:pt x="209" y="170"/>
                      <a:pt x="204" y="164"/>
                      <a:pt x="204" y="140"/>
                    </a:cubicBezTo>
                    <a:cubicBezTo>
                      <a:pt x="202" y="127"/>
                      <a:pt x="202" y="114"/>
                      <a:pt x="170" y="88"/>
                    </a:cubicBezTo>
                    <a:cubicBezTo>
                      <a:pt x="166" y="75"/>
                      <a:pt x="159" y="86"/>
                      <a:pt x="154" y="72"/>
                    </a:cubicBezTo>
                    <a:cubicBezTo>
                      <a:pt x="152" y="45"/>
                      <a:pt x="152" y="22"/>
                      <a:pt x="134" y="6"/>
                    </a:cubicBezTo>
                    <a:cubicBezTo>
                      <a:pt x="108" y="0"/>
                      <a:pt x="14" y="4"/>
                      <a:pt x="8" y="14"/>
                    </a:cubicBezTo>
                    <a:close/>
                  </a:path>
                </a:pathLst>
              </a:custGeom>
              <a:solidFill>
                <a:srgbClr val="C5362B"/>
              </a:solidFill>
              <a:ln w="12700">
                <a:noFill/>
                <a:round/>
                <a:headEnd/>
                <a:tailEnd/>
              </a:ln>
            </p:spPr>
            <p:txBody>
              <a:bodyPr lIns="45720" tIns="46800" rIns="45720" bIns="46800" anchor="ctr"/>
              <a:lstStyle/>
              <a:p>
                <a:pPr defTabSz="912546"/>
                <a:endParaRPr>
                  <a:solidFill>
                    <a:srgbClr val="000000"/>
                  </a:solidFill>
                </a:endParaRPr>
              </a:p>
            </p:txBody>
          </p:sp>
          <p:sp>
            <p:nvSpPr>
              <p:cNvPr id="442211" name="Freeform 184"/>
              <p:cNvSpPr>
                <a:spLocks/>
              </p:cNvSpPr>
              <p:nvPr/>
            </p:nvSpPr>
            <p:spPr bwMode="gray">
              <a:xfrm>
                <a:off x="1043" y="1729"/>
                <a:ext cx="108" cy="43"/>
              </a:xfrm>
              <a:custGeom>
                <a:avLst/>
                <a:gdLst>
                  <a:gd name="T0" fmla="*/ 4 w 108"/>
                  <a:gd name="T1" fmla="*/ 43 h 43"/>
                  <a:gd name="T2" fmla="*/ 2 w 108"/>
                  <a:gd name="T3" fmla="*/ 5 h 43"/>
                  <a:gd name="T4" fmla="*/ 104 w 108"/>
                  <a:gd name="T5" fmla="*/ 5 h 43"/>
                  <a:gd name="T6" fmla="*/ 108 w 108"/>
                  <a:gd name="T7" fmla="*/ 39 h 43"/>
                  <a:gd name="T8" fmla="*/ 4 w 108"/>
                  <a:gd name="T9" fmla="*/ 43 h 43"/>
                  <a:gd name="T10" fmla="*/ 0 60000 65536"/>
                  <a:gd name="T11" fmla="*/ 0 60000 65536"/>
                  <a:gd name="T12" fmla="*/ 0 60000 65536"/>
                  <a:gd name="T13" fmla="*/ 0 60000 65536"/>
                  <a:gd name="T14" fmla="*/ 0 60000 65536"/>
                  <a:gd name="T15" fmla="*/ 0 w 108"/>
                  <a:gd name="T16" fmla="*/ 0 h 43"/>
                  <a:gd name="T17" fmla="*/ 108 w 108"/>
                  <a:gd name="T18" fmla="*/ 43 h 43"/>
                </a:gdLst>
                <a:ahLst/>
                <a:cxnLst>
                  <a:cxn ang="T10">
                    <a:pos x="T0" y="T1"/>
                  </a:cxn>
                  <a:cxn ang="T11">
                    <a:pos x="T2" y="T3"/>
                  </a:cxn>
                  <a:cxn ang="T12">
                    <a:pos x="T4" y="T5"/>
                  </a:cxn>
                  <a:cxn ang="T13">
                    <a:pos x="T6" y="T7"/>
                  </a:cxn>
                  <a:cxn ang="T14">
                    <a:pos x="T8" y="T9"/>
                  </a:cxn>
                </a:cxnLst>
                <a:rect l="T15" t="T16" r="T17" b="T18"/>
                <a:pathLst>
                  <a:path w="108" h="43">
                    <a:moveTo>
                      <a:pt x="4" y="43"/>
                    </a:moveTo>
                    <a:cubicBezTo>
                      <a:pt x="4" y="25"/>
                      <a:pt x="0" y="15"/>
                      <a:pt x="2" y="5"/>
                    </a:cubicBezTo>
                    <a:cubicBezTo>
                      <a:pt x="20" y="3"/>
                      <a:pt x="86" y="0"/>
                      <a:pt x="104" y="5"/>
                    </a:cubicBezTo>
                    <a:lnTo>
                      <a:pt x="108" y="39"/>
                    </a:lnTo>
                    <a:lnTo>
                      <a:pt x="4" y="43"/>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2212" name="Freeform 185"/>
              <p:cNvSpPr>
                <a:spLocks/>
              </p:cNvSpPr>
              <p:nvPr/>
            </p:nvSpPr>
            <p:spPr bwMode="gray">
              <a:xfrm>
                <a:off x="1009" y="1712"/>
                <a:ext cx="28" cy="56"/>
              </a:xfrm>
              <a:custGeom>
                <a:avLst/>
                <a:gdLst>
                  <a:gd name="T0" fmla="*/ 4 w 28"/>
                  <a:gd name="T1" fmla="*/ 0 h 56"/>
                  <a:gd name="T2" fmla="*/ 28 w 28"/>
                  <a:gd name="T3" fmla="*/ 14 h 56"/>
                  <a:gd name="T4" fmla="*/ 28 w 28"/>
                  <a:gd name="T5" fmla="*/ 56 h 56"/>
                  <a:gd name="T6" fmla="*/ 0 w 28"/>
                  <a:gd name="T7" fmla="*/ 32 h 56"/>
                  <a:gd name="T8" fmla="*/ 4 w 28"/>
                  <a:gd name="T9" fmla="*/ 0 h 56"/>
                  <a:gd name="T10" fmla="*/ 0 60000 65536"/>
                  <a:gd name="T11" fmla="*/ 0 60000 65536"/>
                  <a:gd name="T12" fmla="*/ 0 60000 65536"/>
                  <a:gd name="T13" fmla="*/ 0 60000 65536"/>
                  <a:gd name="T14" fmla="*/ 0 60000 65536"/>
                  <a:gd name="T15" fmla="*/ 0 w 28"/>
                  <a:gd name="T16" fmla="*/ 0 h 56"/>
                  <a:gd name="T17" fmla="*/ 28 w 28"/>
                  <a:gd name="T18" fmla="*/ 56 h 56"/>
                </a:gdLst>
                <a:ahLst/>
                <a:cxnLst>
                  <a:cxn ang="T10">
                    <a:pos x="T0" y="T1"/>
                  </a:cxn>
                  <a:cxn ang="T11">
                    <a:pos x="T2" y="T3"/>
                  </a:cxn>
                  <a:cxn ang="T12">
                    <a:pos x="T4" y="T5"/>
                  </a:cxn>
                  <a:cxn ang="T13">
                    <a:pos x="T6" y="T7"/>
                  </a:cxn>
                  <a:cxn ang="T14">
                    <a:pos x="T8" y="T9"/>
                  </a:cxn>
                </a:cxnLst>
                <a:rect l="T15" t="T16" r="T17" b="T18"/>
                <a:pathLst>
                  <a:path w="28" h="56">
                    <a:moveTo>
                      <a:pt x="4" y="0"/>
                    </a:moveTo>
                    <a:lnTo>
                      <a:pt x="28" y="14"/>
                    </a:lnTo>
                    <a:lnTo>
                      <a:pt x="28" y="56"/>
                    </a:lnTo>
                    <a:lnTo>
                      <a:pt x="0" y="32"/>
                    </a:lnTo>
                    <a:lnTo>
                      <a:pt x="4" y="0"/>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2213" name="Freeform 186"/>
              <p:cNvSpPr>
                <a:spLocks/>
              </p:cNvSpPr>
              <p:nvPr/>
            </p:nvSpPr>
            <p:spPr bwMode="gray">
              <a:xfrm>
                <a:off x="1005" y="1730"/>
                <a:ext cx="16" cy="48"/>
              </a:xfrm>
              <a:custGeom>
                <a:avLst/>
                <a:gdLst>
                  <a:gd name="T0" fmla="*/ 16 w 16"/>
                  <a:gd name="T1" fmla="*/ 2 h 48"/>
                  <a:gd name="T2" fmla="*/ 0 w 16"/>
                  <a:gd name="T3" fmla="*/ 0 h 48"/>
                  <a:gd name="T4" fmla="*/ 0 w 16"/>
                  <a:gd name="T5" fmla="*/ 48 h 48"/>
                  <a:gd name="T6" fmla="*/ 14 w 16"/>
                  <a:gd name="T7" fmla="*/ 48 h 48"/>
                  <a:gd name="T8" fmla="*/ 14 w 16"/>
                  <a:gd name="T9" fmla="*/ 2 h 48"/>
                  <a:gd name="T10" fmla="*/ 16 w 16"/>
                  <a:gd name="T11" fmla="*/ 2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16" y="2"/>
                    </a:moveTo>
                    <a:lnTo>
                      <a:pt x="0" y="0"/>
                    </a:lnTo>
                    <a:lnTo>
                      <a:pt x="0" y="48"/>
                    </a:lnTo>
                    <a:lnTo>
                      <a:pt x="14" y="48"/>
                    </a:lnTo>
                    <a:lnTo>
                      <a:pt x="14" y="2"/>
                    </a:lnTo>
                    <a:lnTo>
                      <a:pt x="16" y="2"/>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2214" name="Freeform 187"/>
              <p:cNvSpPr>
                <a:spLocks/>
              </p:cNvSpPr>
              <p:nvPr/>
            </p:nvSpPr>
            <p:spPr bwMode="gray">
              <a:xfrm>
                <a:off x="1163" y="1725"/>
                <a:ext cx="16" cy="46"/>
              </a:xfrm>
              <a:custGeom>
                <a:avLst/>
                <a:gdLst>
                  <a:gd name="T0" fmla="*/ 16 w 16"/>
                  <a:gd name="T1" fmla="*/ 0 h 46"/>
                  <a:gd name="T2" fmla="*/ 2 w 16"/>
                  <a:gd name="T3" fmla="*/ 1 h 46"/>
                  <a:gd name="T4" fmla="*/ 0 w 16"/>
                  <a:gd name="T5" fmla="*/ 46 h 46"/>
                  <a:gd name="T6" fmla="*/ 14 w 16"/>
                  <a:gd name="T7" fmla="*/ 46 h 46"/>
                  <a:gd name="T8" fmla="*/ 14 w 16"/>
                  <a:gd name="T9" fmla="*/ 0 h 46"/>
                  <a:gd name="T10" fmla="*/ 16 w 16"/>
                  <a:gd name="T11" fmla="*/ 0 h 46"/>
                  <a:gd name="T12" fmla="*/ 0 60000 65536"/>
                  <a:gd name="T13" fmla="*/ 0 60000 65536"/>
                  <a:gd name="T14" fmla="*/ 0 60000 65536"/>
                  <a:gd name="T15" fmla="*/ 0 60000 65536"/>
                  <a:gd name="T16" fmla="*/ 0 60000 65536"/>
                  <a:gd name="T17" fmla="*/ 0 60000 65536"/>
                  <a:gd name="T18" fmla="*/ 0 w 16"/>
                  <a:gd name="T19" fmla="*/ 0 h 46"/>
                  <a:gd name="T20" fmla="*/ 16 w 16"/>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6" h="46">
                    <a:moveTo>
                      <a:pt x="16" y="0"/>
                    </a:moveTo>
                    <a:lnTo>
                      <a:pt x="2" y="1"/>
                    </a:lnTo>
                    <a:lnTo>
                      <a:pt x="0" y="46"/>
                    </a:lnTo>
                    <a:lnTo>
                      <a:pt x="14" y="46"/>
                    </a:lnTo>
                    <a:lnTo>
                      <a:pt x="14" y="0"/>
                    </a:lnTo>
                    <a:lnTo>
                      <a:pt x="16" y="0"/>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2215" name="Freeform 188"/>
              <p:cNvSpPr>
                <a:spLocks/>
              </p:cNvSpPr>
              <p:nvPr/>
            </p:nvSpPr>
            <p:spPr bwMode="gray">
              <a:xfrm>
                <a:off x="111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216" name="Freeform 189"/>
              <p:cNvSpPr>
                <a:spLocks/>
              </p:cNvSpPr>
              <p:nvPr/>
            </p:nvSpPr>
            <p:spPr bwMode="gray">
              <a:xfrm>
                <a:off x="108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217" name="Freeform 190"/>
              <p:cNvSpPr>
                <a:spLocks/>
              </p:cNvSpPr>
              <p:nvPr/>
            </p:nvSpPr>
            <p:spPr bwMode="gray">
              <a:xfrm>
                <a:off x="105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2218" name="Freeform 191"/>
              <p:cNvSpPr>
                <a:spLocks/>
              </p:cNvSpPr>
              <p:nvPr/>
            </p:nvSpPr>
            <p:spPr bwMode="gray">
              <a:xfrm>
                <a:off x="1046" y="1770"/>
                <a:ext cx="120" cy="42"/>
              </a:xfrm>
              <a:custGeom>
                <a:avLst/>
                <a:gdLst>
                  <a:gd name="T0" fmla="*/ 1 w 120"/>
                  <a:gd name="T1" fmla="*/ 2 h 42"/>
                  <a:gd name="T2" fmla="*/ 53 w 120"/>
                  <a:gd name="T3" fmla="*/ 42 h 42"/>
                  <a:gd name="T4" fmla="*/ 120 w 120"/>
                  <a:gd name="T5" fmla="*/ 39 h 42"/>
                  <a:gd name="T6" fmla="*/ 114 w 120"/>
                  <a:gd name="T7" fmla="*/ 3 h 42"/>
                  <a:gd name="T8" fmla="*/ 105 w 120"/>
                  <a:gd name="T9" fmla="*/ 0 h 42"/>
                  <a:gd name="T10" fmla="*/ 1 w 120"/>
                  <a:gd name="T11" fmla="*/ 2 h 42"/>
                  <a:gd name="T12" fmla="*/ 0 60000 65536"/>
                  <a:gd name="T13" fmla="*/ 0 60000 65536"/>
                  <a:gd name="T14" fmla="*/ 0 60000 65536"/>
                  <a:gd name="T15" fmla="*/ 0 60000 65536"/>
                  <a:gd name="T16" fmla="*/ 0 60000 65536"/>
                  <a:gd name="T17" fmla="*/ 0 60000 65536"/>
                  <a:gd name="T18" fmla="*/ 0 w 120"/>
                  <a:gd name="T19" fmla="*/ 0 h 42"/>
                  <a:gd name="T20" fmla="*/ 120 w 120"/>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20" h="42">
                    <a:moveTo>
                      <a:pt x="1" y="2"/>
                    </a:moveTo>
                    <a:cubicBezTo>
                      <a:pt x="0" y="7"/>
                      <a:pt x="33" y="36"/>
                      <a:pt x="53" y="42"/>
                    </a:cubicBezTo>
                    <a:lnTo>
                      <a:pt x="120" y="39"/>
                    </a:lnTo>
                    <a:lnTo>
                      <a:pt x="114" y="3"/>
                    </a:lnTo>
                    <a:lnTo>
                      <a:pt x="105" y="0"/>
                    </a:lnTo>
                    <a:lnTo>
                      <a:pt x="1" y="2"/>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2219" name="Freeform 192"/>
              <p:cNvSpPr>
                <a:spLocks/>
              </p:cNvSpPr>
              <p:nvPr/>
            </p:nvSpPr>
            <p:spPr bwMode="gray">
              <a:xfrm>
                <a:off x="1171" y="1790"/>
                <a:ext cx="23" cy="36"/>
              </a:xfrm>
              <a:custGeom>
                <a:avLst/>
                <a:gdLst>
                  <a:gd name="T0" fmla="*/ 1 w 23"/>
                  <a:gd name="T1" fmla="*/ 36 h 36"/>
                  <a:gd name="T2" fmla="*/ 1 w 23"/>
                  <a:gd name="T3" fmla="*/ 6 h 36"/>
                  <a:gd name="T4" fmla="*/ 8 w 23"/>
                  <a:gd name="T5" fmla="*/ 5 h 36"/>
                  <a:gd name="T6" fmla="*/ 23 w 23"/>
                  <a:gd name="T7" fmla="*/ 35 h 36"/>
                  <a:gd name="T8" fmla="*/ 13 w 23"/>
                  <a:gd name="T9" fmla="*/ 35 h 36"/>
                  <a:gd name="T10" fmla="*/ 1 w 23"/>
                  <a:gd name="T11" fmla="*/ 36 h 36"/>
                  <a:gd name="T12" fmla="*/ 0 60000 65536"/>
                  <a:gd name="T13" fmla="*/ 0 60000 65536"/>
                  <a:gd name="T14" fmla="*/ 0 60000 65536"/>
                  <a:gd name="T15" fmla="*/ 0 60000 65536"/>
                  <a:gd name="T16" fmla="*/ 0 60000 65536"/>
                  <a:gd name="T17" fmla="*/ 0 60000 65536"/>
                  <a:gd name="T18" fmla="*/ 0 w 23"/>
                  <a:gd name="T19" fmla="*/ 0 h 36"/>
                  <a:gd name="T20" fmla="*/ 23 w 2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3" h="36">
                    <a:moveTo>
                      <a:pt x="1" y="36"/>
                    </a:moveTo>
                    <a:lnTo>
                      <a:pt x="1" y="6"/>
                    </a:lnTo>
                    <a:cubicBezTo>
                      <a:pt x="0" y="9"/>
                      <a:pt x="4" y="0"/>
                      <a:pt x="8" y="5"/>
                    </a:cubicBezTo>
                    <a:cubicBezTo>
                      <a:pt x="12" y="10"/>
                      <a:pt x="22" y="30"/>
                      <a:pt x="23" y="35"/>
                    </a:cubicBezTo>
                    <a:cubicBezTo>
                      <a:pt x="9" y="35"/>
                      <a:pt x="17" y="35"/>
                      <a:pt x="13" y="35"/>
                    </a:cubicBezTo>
                    <a:lnTo>
                      <a:pt x="1" y="36"/>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2220" name="Freeform 193"/>
              <p:cNvSpPr>
                <a:spLocks/>
              </p:cNvSpPr>
              <p:nvPr/>
            </p:nvSpPr>
            <p:spPr bwMode="gray">
              <a:xfrm>
                <a:off x="1033" y="1804"/>
                <a:ext cx="54" cy="29"/>
              </a:xfrm>
              <a:custGeom>
                <a:avLst/>
                <a:gdLst>
                  <a:gd name="T0" fmla="*/ 6 w 54"/>
                  <a:gd name="T1" fmla="*/ 12 h 29"/>
                  <a:gd name="T2" fmla="*/ 1 w 54"/>
                  <a:gd name="T3" fmla="*/ 6 h 29"/>
                  <a:gd name="T4" fmla="*/ 15 w 54"/>
                  <a:gd name="T5" fmla="*/ 3 h 29"/>
                  <a:gd name="T6" fmla="*/ 54 w 54"/>
                  <a:gd name="T7" fmla="*/ 26 h 29"/>
                  <a:gd name="T8" fmla="*/ 25 w 54"/>
                  <a:gd name="T9" fmla="*/ 26 h 29"/>
                  <a:gd name="T10" fmla="*/ 6 w 54"/>
                  <a:gd name="T11" fmla="*/ 12 h 29"/>
                  <a:gd name="T12" fmla="*/ 0 60000 65536"/>
                  <a:gd name="T13" fmla="*/ 0 60000 65536"/>
                  <a:gd name="T14" fmla="*/ 0 60000 65536"/>
                  <a:gd name="T15" fmla="*/ 0 60000 65536"/>
                  <a:gd name="T16" fmla="*/ 0 60000 65536"/>
                  <a:gd name="T17" fmla="*/ 0 60000 65536"/>
                  <a:gd name="T18" fmla="*/ 0 w 54"/>
                  <a:gd name="T19" fmla="*/ 0 h 29"/>
                  <a:gd name="T20" fmla="*/ 54 w 54"/>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4" h="29">
                    <a:moveTo>
                      <a:pt x="6" y="12"/>
                    </a:moveTo>
                    <a:lnTo>
                      <a:pt x="1" y="6"/>
                    </a:lnTo>
                    <a:cubicBezTo>
                      <a:pt x="0" y="9"/>
                      <a:pt x="6" y="0"/>
                      <a:pt x="15" y="3"/>
                    </a:cubicBezTo>
                    <a:cubicBezTo>
                      <a:pt x="24" y="6"/>
                      <a:pt x="52" y="22"/>
                      <a:pt x="54" y="26"/>
                    </a:cubicBezTo>
                    <a:cubicBezTo>
                      <a:pt x="40" y="26"/>
                      <a:pt x="33" y="29"/>
                      <a:pt x="25" y="26"/>
                    </a:cubicBezTo>
                    <a:lnTo>
                      <a:pt x="6" y="12"/>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2221" name="Freeform 194"/>
              <p:cNvSpPr>
                <a:spLocks/>
              </p:cNvSpPr>
              <p:nvPr/>
            </p:nvSpPr>
            <p:spPr bwMode="gray">
              <a:xfrm>
                <a:off x="1052" y="1848"/>
                <a:ext cx="155" cy="39"/>
              </a:xfrm>
              <a:custGeom>
                <a:avLst/>
                <a:gdLst>
                  <a:gd name="T0" fmla="*/ 2 w 155"/>
                  <a:gd name="T1" fmla="*/ 4 h 39"/>
                  <a:gd name="T2" fmla="*/ 15 w 155"/>
                  <a:gd name="T3" fmla="*/ 15 h 39"/>
                  <a:gd name="T4" fmla="*/ 146 w 155"/>
                  <a:gd name="T5" fmla="*/ 12 h 39"/>
                  <a:gd name="T6" fmla="*/ 153 w 155"/>
                  <a:gd name="T7" fmla="*/ 0 h 39"/>
                  <a:gd name="T8" fmla="*/ 153 w 155"/>
                  <a:gd name="T9" fmla="*/ 24 h 39"/>
                  <a:gd name="T10" fmla="*/ 140 w 155"/>
                  <a:gd name="T11" fmla="*/ 36 h 39"/>
                  <a:gd name="T12" fmla="*/ 14 w 155"/>
                  <a:gd name="T13" fmla="*/ 37 h 39"/>
                  <a:gd name="T14" fmla="*/ 0 w 155"/>
                  <a:gd name="T15" fmla="*/ 25 h 39"/>
                  <a:gd name="T16" fmla="*/ 2 w 155"/>
                  <a:gd name="T17" fmla="*/ 4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39"/>
                  <a:gd name="T29" fmla="*/ 155 w 155"/>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39">
                    <a:moveTo>
                      <a:pt x="2" y="4"/>
                    </a:moveTo>
                    <a:cubicBezTo>
                      <a:pt x="5" y="10"/>
                      <a:pt x="6" y="15"/>
                      <a:pt x="15" y="15"/>
                    </a:cubicBezTo>
                    <a:cubicBezTo>
                      <a:pt x="40" y="17"/>
                      <a:pt x="122" y="14"/>
                      <a:pt x="146" y="12"/>
                    </a:cubicBezTo>
                    <a:cubicBezTo>
                      <a:pt x="150" y="6"/>
                      <a:pt x="152" y="6"/>
                      <a:pt x="153" y="0"/>
                    </a:cubicBezTo>
                    <a:cubicBezTo>
                      <a:pt x="153" y="13"/>
                      <a:pt x="155" y="11"/>
                      <a:pt x="153" y="24"/>
                    </a:cubicBezTo>
                    <a:cubicBezTo>
                      <a:pt x="152" y="28"/>
                      <a:pt x="140" y="36"/>
                      <a:pt x="140" y="36"/>
                    </a:cubicBezTo>
                    <a:cubicBezTo>
                      <a:pt x="98" y="39"/>
                      <a:pt x="63" y="37"/>
                      <a:pt x="14" y="37"/>
                    </a:cubicBezTo>
                    <a:cubicBezTo>
                      <a:pt x="6" y="37"/>
                      <a:pt x="2" y="30"/>
                      <a:pt x="0" y="25"/>
                    </a:cubicBezTo>
                    <a:lnTo>
                      <a:pt x="2" y="4"/>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2222" name="Freeform 195"/>
              <p:cNvSpPr>
                <a:spLocks/>
              </p:cNvSpPr>
              <p:nvPr/>
            </p:nvSpPr>
            <p:spPr bwMode="gray">
              <a:xfrm>
                <a:off x="1105" y="1815"/>
                <a:ext cx="58" cy="41"/>
              </a:xfrm>
              <a:custGeom>
                <a:avLst/>
                <a:gdLst>
                  <a:gd name="T0" fmla="*/ 57 w 58"/>
                  <a:gd name="T1" fmla="*/ 0 h 41"/>
                  <a:gd name="T2" fmla="*/ 58 w 58"/>
                  <a:gd name="T3" fmla="*/ 39 h 41"/>
                  <a:gd name="T4" fmla="*/ 3 w 58"/>
                  <a:gd name="T5" fmla="*/ 41 h 41"/>
                  <a:gd name="T6" fmla="*/ 0 w 58"/>
                  <a:gd name="T7" fmla="*/ 3 h 41"/>
                  <a:gd name="T8" fmla="*/ 57 w 58"/>
                  <a:gd name="T9" fmla="*/ 0 h 41"/>
                  <a:gd name="T10" fmla="*/ 0 60000 65536"/>
                  <a:gd name="T11" fmla="*/ 0 60000 65536"/>
                  <a:gd name="T12" fmla="*/ 0 60000 65536"/>
                  <a:gd name="T13" fmla="*/ 0 60000 65536"/>
                  <a:gd name="T14" fmla="*/ 0 60000 65536"/>
                  <a:gd name="T15" fmla="*/ 0 w 58"/>
                  <a:gd name="T16" fmla="*/ 0 h 41"/>
                  <a:gd name="T17" fmla="*/ 58 w 58"/>
                  <a:gd name="T18" fmla="*/ 41 h 41"/>
                </a:gdLst>
                <a:ahLst/>
                <a:cxnLst>
                  <a:cxn ang="T10">
                    <a:pos x="T0" y="T1"/>
                  </a:cxn>
                  <a:cxn ang="T11">
                    <a:pos x="T2" y="T3"/>
                  </a:cxn>
                  <a:cxn ang="T12">
                    <a:pos x="T4" y="T5"/>
                  </a:cxn>
                  <a:cxn ang="T13">
                    <a:pos x="T6" y="T7"/>
                  </a:cxn>
                  <a:cxn ang="T14">
                    <a:pos x="T8" y="T9"/>
                  </a:cxn>
                </a:cxnLst>
                <a:rect l="T15" t="T16" r="T17" b="T18"/>
                <a:pathLst>
                  <a:path w="58" h="41">
                    <a:moveTo>
                      <a:pt x="57" y="0"/>
                    </a:moveTo>
                    <a:lnTo>
                      <a:pt x="58" y="39"/>
                    </a:lnTo>
                    <a:lnTo>
                      <a:pt x="3" y="41"/>
                    </a:lnTo>
                    <a:lnTo>
                      <a:pt x="0" y="3"/>
                    </a:lnTo>
                    <a:lnTo>
                      <a:pt x="57" y="0"/>
                    </a:lnTo>
                    <a:close/>
                  </a:path>
                </a:pathLst>
              </a:custGeom>
              <a:solidFill>
                <a:srgbClr val="972921"/>
              </a:solidFill>
              <a:ln w="12700">
                <a:noFill/>
                <a:round/>
                <a:headEnd/>
                <a:tailEnd/>
              </a:ln>
            </p:spPr>
            <p:txBody>
              <a:bodyPr lIns="45720" tIns="46800" rIns="45720" bIns="46800" anchor="ctr"/>
              <a:lstStyle/>
              <a:p>
                <a:pPr defTabSz="912546"/>
                <a:endParaRPr>
                  <a:solidFill>
                    <a:srgbClr val="000000"/>
                  </a:solidFill>
                </a:endParaRPr>
              </a:p>
            </p:txBody>
          </p:sp>
          <p:sp>
            <p:nvSpPr>
              <p:cNvPr id="442223" name="Freeform 196"/>
              <p:cNvSpPr>
                <a:spLocks/>
              </p:cNvSpPr>
              <p:nvPr/>
            </p:nvSpPr>
            <p:spPr bwMode="gray">
              <a:xfrm>
                <a:off x="1068" y="1841"/>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2224" name="Freeform 197"/>
              <p:cNvSpPr>
                <a:spLocks/>
              </p:cNvSpPr>
              <p:nvPr/>
            </p:nvSpPr>
            <p:spPr bwMode="gray">
              <a:xfrm>
                <a:off x="1175" y="1838"/>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grpSp>
      </p:grpSp>
      <p:sp>
        <p:nvSpPr>
          <p:cNvPr id="264390" name="Freeform 198"/>
          <p:cNvSpPr>
            <a:spLocks/>
          </p:cNvSpPr>
          <p:nvPr/>
        </p:nvSpPr>
        <p:spPr bwMode="gray">
          <a:xfrm>
            <a:off x="3200400" y="3023790"/>
            <a:ext cx="5334000" cy="3124200"/>
          </a:xfrm>
          <a:custGeom>
            <a:avLst/>
            <a:gdLst>
              <a:gd name="T0" fmla="*/ 2147483647 w 2988"/>
              <a:gd name="T1" fmla="*/ 2147483647 h 1752"/>
              <a:gd name="T2" fmla="*/ 2147483647 w 2988"/>
              <a:gd name="T3" fmla="*/ 2147483647 h 1752"/>
              <a:gd name="T4" fmla="*/ 2147483647 w 2988"/>
              <a:gd name="T5" fmla="*/ 2147483647 h 1752"/>
              <a:gd name="T6" fmla="*/ 2147483647 w 2988"/>
              <a:gd name="T7" fmla="*/ 2147483647 h 1752"/>
              <a:gd name="T8" fmla="*/ 2147483647 w 2988"/>
              <a:gd name="T9" fmla="*/ 2147483647 h 1752"/>
              <a:gd name="T10" fmla="*/ 2147483647 w 2988"/>
              <a:gd name="T11" fmla="*/ 2147483647 h 1752"/>
              <a:gd name="T12" fmla="*/ 2147483647 w 2988"/>
              <a:gd name="T13" fmla="*/ 2147483647 h 1752"/>
              <a:gd name="T14" fmla="*/ 2147483647 w 2988"/>
              <a:gd name="T15" fmla="*/ 2147483647 h 1752"/>
              <a:gd name="T16" fmla="*/ 2147483647 w 2988"/>
              <a:gd name="T17" fmla="*/ 2147483647 h 1752"/>
              <a:gd name="T18" fmla="*/ 2147483647 w 2988"/>
              <a:gd name="T19" fmla="*/ 2147483647 h 1752"/>
              <a:gd name="T20" fmla="*/ 2147483647 w 2988"/>
              <a:gd name="T21" fmla="*/ 2147483647 h 1752"/>
              <a:gd name="T22" fmla="*/ 2147483647 w 2988"/>
              <a:gd name="T23" fmla="*/ 2147483647 h 1752"/>
              <a:gd name="T24" fmla="*/ 2147483647 w 2988"/>
              <a:gd name="T25" fmla="*/ 2147483647 h 1752"/>
              <a:gd name="T26" fmla="*/ 2147483647 w 2988"/>
              <a:gd name="T27" fmla="*/ 2147483647 h 1752"/>
              <a:gd name="T28" fmla="*/ 2147483647 w 2988"/>
              <a:gd name="T29" fmla="*/ 2147483647 h 17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88"/>
              <a:gd name="T46" fmla="*/ 0 h 1752"/>
              <a:gd name="T47" fmla="*/ 2988 w 2988"/>
              <a:gd name="T48" fmla="*/ 1752 h 17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88" h="1752">
                <a:moveTo>
                  <a:pt x="336" y="660"/>
                </a:moveTo>
                <a:lnTo>
                  <a:pt x="108" y="714"/>
                </a:lnTo>
                <a:cubicBezTo>
                  <a:pt x="108" y="714"/>
                  <a:pt x="162" y="726"/>
                  <a:pt x="216" y="738"/>
                </a:cubicBezTo>
                <a:cubicBezTo>
                  <a:pt x="0" y="954"/>
                  <a:pt x="75" y="1411"/>
                  <a:pt x="648" y="1506"/>
                </a:cubicBezTo>
                <a:cubicBezTo>
                  <a:pt x="2130" y="1752"/>
                  <a:pt x="2988" y="840"/>
                  <a:pt x="2574" y="408"/>
                </a:cubicBezTo>
                <a:cubicBezTo>
                  <a:pt x="2177" y="0"/>
                  <a:pt x="1320" y="144"/>
                  <a:pt x="1074" y="216"/>
                </a:cubicBezTo>
                <a:cubicBezTo>
                  <a:pt x="1044" y="204"/>
                  <a:pt x="1032" y="175"/>
                  <a:pt x="1014" y="186"/>
                </a:cubicBezTo>
                <a:lnTo>
                  <a:pt x="972" y="282"/>
                </a:lnTo>
                <a:lnTo>
                  <a:pt x="1206" y="318"/>
                </a:lnTo>
                <a:cubicBezTo>
                  <a:pt x="1235" y="316"/>
                  <a:pt x="1182" y="294"/>
                  <a:pt x="1146" y="270"/>
                </a:cubicBezTo>
                <a:cubicBezTo>
                  <a:pt x="1614" y="144"/>
                  <a:pt x="2286" y="211"/>
                  <a:pt x="2466" y="450"/>
                </a:cubicBezTo>
                <a:cubicBezTo>
                  <a:pt x="2856" y="972"/>
                  <a:pt x="1848" y="1614"/>
                  <a:pt x="672" y="1410"/>
                </a:cubicBezTo>
                <a:cubicBezTo>
                  <a:pt x="263" y="1339"/>
                  <a:pt x="132" y="1032"/>
                  <a:pt x="312" y="762"/>
                </a:cubicBezTo>
                <a:cubicBezTo>
                  <a:pt x="354" y="771"/>
                  <a:pt x="396" y="780"/>
                  <a:pt x="396" y="780"/>
                </a:cubicBezTo>
                <a:lnTo>
                  <a:pt x="336" y="660"/>
                </a:lnTo>
                <a:close/>
              </a:path>
            </a:pathLst>
          </a:custGeom>
          <a:solidFill>
            <a:srgbClr val="C9D7B9"/>
          </a:solidFill>
          <a:ln w="9525">
            <a:noFill/>
            <a:round/>
            <a:headEnd/>
            <a:tailEnd/>
          </a:ln>
        </p:spPr>
        <p:txBody>
          <a:bodyPr lIns="91254" tIns="45625" rIns="91254" bIns="45625"/>
          <a:lstStyle/>
          <a:p>
            <a:pPr defTabSz="912546"/>
            <a:endParaRPr>
              <a:solidFill>
                <a:srgbClr val="000000"/>
              </a:solidFill>
            </a:endParaRPr>
          </a:p>
        </p:txBody>
      </p:sp>
      <p:grpSp>
        <p:nvGrpSpPr>
          <p:cNvPr id="19" name="Group 199"/>
          <p:cNvGrpSpPr>
            <a:grpSpLocks/>
          </p:cNvGrpSpPr>
          <p:nvPr/>
        </p:nvGrpSpPr>
        <p:grpSpPr bwMode="gray">
          <a:xfrm>
            <a:off x="4333875" y="2750732"/>
            <a:ext cx="1543050" cy="1117600"/>
            <a:chOff x="2730" y="1652"/>
            <a:chExt cx="972" cy="704"/>
          </a:xfrm>
        </p:grpSpPr>
        <p:sp>
          <p:nvSpPr>
            <p:cNvPr id="442199" name="Text Box 200"/>
            <p:cNvSpPr txBox="1">
              <a:spLocks noChangeArrowheads="1"/>
            </p:cNvSpPr>
            <p:nvPr/>
          </p:nvSpPr>
          <p:spPr bwMode="gray">
            <a:xfrm>
              <a:off x="2803" y="1652"/>
              <a:ext cx="785" cy="704"/>
            </a:xfrm>
            <a:prstGeom prst="rect">
              <a:avLst/>
            </a:prstGeom>
            <a:noFill/>
            <a:ln w="9525">
              <a:noFill/>
              <a:miter lim="800000"/>
              <a:headEnd/>
              <a:tailEnd/>
            </a:ln>
          </p:spPr>
          <p:txBody>
            <a:bodyPr wrap="square">
              <a:spAutoFit/>
            </a:bodyPr>
            <a:lstStyle/>
            <a:p>
              <a:pPr algn="ctr" defTabSz="912546">
                <a:lnSpc>
                  <a:spcPts val="1600"/>
                </a:lnSpc>
                <a:spcBef>
                  <a:spcPct val="50000"/>
                </a:spcBef>
              </a:pPr>
              <a:r>
                <a:rPr lang="en-US" b="1" dirty="0">
                  <a:solidFill>
                    <a:srgbClr val="FF0000"/>
                  </a:solidFill>
                </a:rPr>
                <a:t>New Value and Revenue Streams</a:t>
              </a:r>
            </a:p>
          </p:txBody>
        </p:sp>
        <p:sp>
          <p:nvSpPr>
            <p:cNvPr id="442200" name="Line 201"/>
            <p:cNvSpPr>
              <a:spLocks noChangeShapeType="1"/>
            </p:cNvSpPr>
            <p:nvPr/>
          </p:nvSpPr>
          <p:spPr bwMode="gray">
            <a:xfrm>
              <a:off x="3408" y="1920"/>
              <a:ext cx="294" cy="150"/>
            </a:xfrm>
            <a:prstGeom prst="line">
              <a:avLst/>
            </a:prstGeom>
            <a:noFill/>
            <a:ln w="12700">
              <a:solidFill>
                <a:srgbClr val="474747"/>
              </a:solidFill>
              <a:round/>
              <a:headEnd/>
              <a:tailEnd type="oval" w="sm" len="sm"/>
            </a:ln>
          </p:spPr>
          <p:txBody>
            <a:bodyPr/>
            <a:lstStyle/>
            <a:p>
              <a:pPr defTabSz="912546"/>
              <a:endParaRPr lang="en-US" dirty="0">
                <a:solidFill>
                  <a:srgbClr val="000000"/>
                </a:solidFill>
              </a:endParaRPr>
            </a:p>
          </p:txBody>
        </p:sp>
        <p:sp>
          <p:nvSpPr>
            <p:cNvPr id="442201" name="Line 202"/>
            <p:cNvSpPr>
              <a:spLocks noChangeShapeType="1"/>
            </p:cNvSpPr>
            <p:nvPr/>
          </p:nvSpPr>
          <p:spPr bwMode="gray">
            <a:xfrm flipH="1" flipV="1">
              <a:off x="2730" y="1740"/>
              <a:ext cx="216" cy="48"/>
            </a:xfrm>
            <a:prstGeom prst="line">
              <a:avLst/>
            </a:prstGeom>
            <a:noFill/>
            <a:ln w="12700">
              <a:solidFill>
                <a:srgbClr val="474747"/>
              </a:solidFill>
              <a:round/>
              <a:headEnd/>
              <a:tailEnd type="oval" w="sm" len="sm"/>
            </a:ln>
          </p:spPr>
          <p:txBody>
            <a:bodyPr/>
            <a:lstStyle/>
            <a:p>
              <a:pPr defTabSz="912546"/>
              <a:endParaRPr lang="en-US" dirty="0">
                <a:solidFill>
                  <a:srgbClr val="000000"/>
                </a:solidFill>
              </a:endParaRPr>
            </a:p>
          </p:txBody>
        </p:sp>
      </p:grpSp>
      <p:grpSp>
        <p:nvGrpSpPr>
          <p:cNvPr id="20" name="Group 203"/>
          <p:cNvGrpSpPr>
            <a:grpSpLocks/>
          </p:cNvGrpSpPr>
          <p:nvPr/>
        </p:nvGrpSpPr>
        <p:grpSpPr bwMode="gray">
          <a:xfrm>
            <a:off x="4495801" y="2137977"/>
            <a:ext cx="2538413" cy="1114425"/>
            <a:chOff x="2832" y="1266"/>
            <a:chExt cx="1599" cy="702"/>
          </a:xfrm>
        </p:grpSpPr>
        <p:sp>
          <p:nvSpPr>
            <p:cNvPr id="442071" name="Freeform 204"/>
            <p:cNvSpPr>
              <a:spLocks/>
            </p:cNvSpPr>
            <p:nvPr/>
          </p:nvSpPr>
          <p:spPr bwMode="gray">
            <a:xfrm>
              <a:off x="2832" y="1266"/>
              <a:ext cx="1599" cy="498"/>
            </a:xfrm>
            <a:custGeom>
              <a:avLst/>
              <a:gdLst>
                <a:gd name="T0" fmla="*/ 0 w 1599"/>
                <a:gd name="T1" fmla="*/ 12 h 498"/>
                <a:gd name="T2" fmla="*/ 1542 w 1599"/>
                <a:gd name="T3" fmla="*/ 498 h 498"/>
                <a:gd name="T4" fmla="*/ 1599 w 1599"/>
                <a:gd name="T5" fmla="*/ 477 h 498"/>
                <a:gd name="T6" fmla="*/ 54 w 1599"/>
                <a:gd name="T7" fmla="*/ 0 h 498"/>
                <a:gd name="T8" fmla="*/ 0 w 1599"/>
                <a:gd name="T9" fmla="*/ 12 h 498"/>
                <a:gd name="T10" fmla="*/ 0 60000 65536"/>
                <a:gd name="T11" fmla="*/ 0 60000 65536"/>
                <a:gd name="T12" fmla="*/ 0 60000 65536"/>
                <a:gd name="T13" fmla="*/ 0 60000 65536"/>
                <a:gd name="T14" fmla="*/ 0 60000 65536"/>
                <a:gd name="T15" fmla="*/ 0 w 1599"/>
                <a:gd name="T16" fmla="*/ 0 h 498"/>
                <a:gd name="T17" fmla="*/ 1599 w 1599"/>
                <a:gd name="T18" fmla="*/ 498 h 498"/>
              </a:gdLst>
              <a:ahLst/>
              <a:cxnLst>
                <a:cxn ang="T10">
                  <a:pos x="T0" y="T1"/>
                </a:cxn>
                <a:cxn ang="T11">
                  <a:pos x="T2" y="T3"/>
                </a:cxn>
                <a:cxn ang="T12">
                  <a:pos x="T4" y="T5"/>
                </a:cxn>
                <a:cxn ang="T13">
                  <a:pos x="T6" y="T7"/>
                </a:cxn>
                <a:cxn ang="T14">
                  <a:pos x="T8" y="T9"/>
                </a:cxn>
              </a:cxnLst>
              <a:rect l="T15" t="T16" r="T17" b="T18"/>
              <a:pathLst>
                <a:path w="1599" h="498">
                  <a:moveTo>
                    <a:pt x="0" y="12"/>
                  </a:moveTo>
                  <a:lnTo>
                    <a:pt x="1542" y="498"/>
                  </a:lnTo>
                  <a:lnTo>
                    <a:pt x="1599" y="477"/>
                  </a:lnTo>
                  <a:lnTo>
                    <a:pt x="54" y="0"/>
                  </a:lnTo>
                  <a:lnTo>
                    <a:pt x="0" y="12"/>
                  </a:lnTo>
                  <a:close/>
                </a:path>
              </a:pathLst>
            </a:custGeom>
            <a:solidFill>
              <a:srgbClr val="BEA9A0"/>
            </a:solidFill>
            <a:ln w="9525">
              <a:noFill/>
              <a:round/>
              <a:headEnd/>
              <a:tailEnd/>
            </a:ln>
          </p:spPr>
          <p:txBody>
            <a:bodyPr/>
            <a:lstStyle/>
            <a:p>
              <a:pPr defTabSz="912546"/>
              <a:endParaRPr>
                <a:solidFill>
                  <a:srgbClr val="000000"/>
                </a:solidFill>
              </a:endParaRPr>
            </a:p>
          </p:txBody>
        </p:sp>
        <p:sp>
          <p:nvSpPr>
            <p:cNvPr id="442072" name="Freeform 205"/>
            <p:cNvSpPr>
              <a:spLocks/>
            </p:cNvSpPr>
            <p:nvPr/>
          </p:nvSpPr>
          <p:spPr bwMode="gray">
            <a:xfrm>
              <a:off x="2832" y="1278"/>
              <a:ext cx="1542" cy="690"/>
            </a:xfrm>
            <a:custGeom>
              <a:avLst/>
              <a:gdLst>
                <a:gd name="T0" fmla="*/ 3 w 1542"/>
                <a:gd name="T1" fmla="*/ 177 h 690"/>
                <a:gd name="T2" fmla="*/ 1530 w 1542"/>
                <a:gd name="T3" fmla="*/ 690 h 690"/>
                <a:gd name="T4" fmla="*/ 1542 w 1542"/>
                <a:gd name="T5" fmla="*/ 486 h 690"/>
                <a:gd name="T6" fmla="*/ 0 w 1542"/>
                <a:gd name="T7" fmla="*/ 0 h 690"/>
                <a:gd name="T8" fmla="*/ 3 w 1542"/>
                <a:gd name="T9" fmla="*/ 177 h 690"/>
                <a:gd name="T10" fmla="*/ 0 60000 65536"/>
                <a:gd name="T11" fmla="*/ 0 60000 65536"/>
                <a:gd name="T12" fmla="*/ 0 60000 65536"/>
                <a:gd name="T13" fmla="*/ 0 60000 65536"/>
                <a:gd name="T14" fmla="*/ 0 60000 65536"/>
                <a:gd name="T15" fmla="*/ 0 w 1542"/>
                <a:gd name="T16" fmla="*/ 0 h 690"/>
                <a:gd name="T17" fmla="*/ 1542 w 1542"/>
                <a:gd name="T18" fmla="*/ 690 h 690"/>
              </a:gdLst>
              <a:ahLst/>
              <a:cxnLst>
                <a:cxn ang="T10">
                  <a:pos x="T0" y="T1"/>
                </a:cxn>
                <a:cxn ang="T11">
                  <a:pos x="T2" y="T3"/>
                </a:cxn>
                <a:cxn ang="T12">
                  <a:pos x="T4" y="T5"/>
                </a:cxn>
                <a:cxn ang="T13">
                  <a:pos x="T6" y="T7"/>
                </a:cxn>
                <a:cxn ang="T14">
                  <a:pos x="T8" y="T9"/>
                </a:cxn>
              </a:cxnLst>
              <a:rect l="T15" t="T16" r="T17" b="T18"/>
              <a:pathLst>
                <a:path w="1542" h="690">
                  <a:moveTo>
                    <a:pt x="3" y="177"/>
                  </a:moveTo>
                  <a:lnTo>
                    <a:pt x="1530" y="690"/>
                  </a:lnTo>
                  <a:lnTo>
                    <a:pt x="1542" y="486"/>
                  </a:lnTo>
                  <a:lnTo>
                    <a:pt x="0" y="0"/>
                  </a:lnTo>
                  <a:lnTo>
                    <a:pt x="3" y="177"/>
                  </a:lnTo>
                  <a:close/>
                </a:path>
              </a:pathLst>
            </a:custGeom>
            <a:gradFill rotWithShape="1">
              <a:gsLst>
                <a:gs pos="0">
                  <a:srgbClr val="A4857A"/>
                </a:gs>
                <a:gs pos="100000">
                  <a:srgbClr val="8C6557"/>
                </a:gs>
              </a:gsLst>
              <a:lin ang="5400000" scaled="1"/>
            </a:gradFill>
            <a:ln w="9525">
              <a:noFill/>
              <a:round/>
              <a:headEnd/>
              <a:tailEnd/>
            </a:ln>
          </p:spPr>
          <p:txBody>
            <a:bodyPr/>
            <a:lstStyle/>
            <a:p>
              <a:pPr defTabSz="912546"/>
              <a:endParaRPr>
                <a:solidFill>
                  <a:srgbClr val="000000"/>
                </a:solidFill>
              </a:endParaRPr>
            </a:p>
          </p:txBody>
        </p:sp>
        <p:sp>
          <p:nvSpPr>
            <p:cNvPr id="442073" name="Freeform 206"/>
            <p:cNvSpPr>
              <a:spLocks/>
            </p:cNvSpPr>
            <p:nvPr/>
          </p:nvSpPr>
          <p:spPr bwMode="gray">
            <a:xfrm>
              <a:off x="4359" y="1743"/>
              <a:ext cx="72" cy="225"/>
            </a:xfrm>
            <a:custGeom>
              <a:avLst/>
              <a:gdLst>
                <a:gd name="T0" fmla="*/ 3 w 72"/>
                <a:gd name="T1" fmla="*/ 225 h 225"/>
                <a:gd name="T2" fmla="*/ 72 w 72"/>
                <a:gd name="T3" fmla="*/ 201 h 225"/>
                <a:gd name="T4" fmla="*/ 72 w 72"/>
                <a:gd name="T5" fmla="*/ 0 h 225"/>
                <a:gd name="T6" fmla="*/ 0 w 72"/>
                <a:gd name="T7" fmla="*/ 15 h 225"/>
                <a:gd name="T8" fmla="*/ 3 w 72"/>
                <a:gd name="T9" fmla="*/ 225 h 225"/>
                <a:gd name="T10" fmla="*/ 0 60000 65536"/>
                <a:gd name="T11" fmla="*/ 0 60000 65536"/>
                <a:gd name="T12" fmla="*/ 0 60000 65536"/>
                <a:gd name="T13" fmla="*/ 0 60000 65536"/>
                <a:gd name="T14" fmla="*/ 0 60000 65536"/>
                <a:gd name="T15" fmla="*/ 0 w 72"/>
                <a:gd name="T16" fmla="*/ 0 h 225"/>
                <a:gd name="T17" fmla="*/ 72 w 72"/>
                <a:gd name="T18" fmla="*/ 225 h 225"/>
              </a:gdLst>
              <a:ahLst/>
              <a:cxnLst>
                <a:cxn ang="T10">
                  <a:pos x="T0" y="T1"/>
                </a:cxn>
                <a:cxn ang="T11">
                  <a:pos x="T2" y="T3"/>
                </a:cxn>
                <a:cxn ang="T12">
                  <a:pos x="T4" y="T5"/>
                </a:cxn>
                <a:cxn ang="T13">
                  <a:pos x="T6" y="T7"/>
                </a:cxn>
                <a:cxn ang="T14">
                  <a:pos x="T8" y="T9"/>
                </a:cxn>
              </a:cxnLst>
              <a:rect l="T15" t="T16" r="T17" b="T18"/>
              <a:pathLst>
                <a:path w="72" h="225">
                  <a:moveTo>
                    <a:pt x="3" y="225"/>
                  </a:moveTo>
                  <a:lnTo>
                    <a:pt x="72" y="201"/>
                  </a:lnTo>
                  <a:lnTo>
                    <a:pt x="72" y="0"/>
                  </a:lnTo>
                  <a:lnTo>
                    <a:pt x="0" y="15"/>
                  </a:lnTo>
                  <a:lnTo>
                    <a:pt x="3" y="225"/>
                  </a:lnTo>
                  <a:close/>
                </a:path>
              </a:pathLst>
            </a:custGeom>
            <a:gradFill rotWithShape="1">
              <a:gsLst>
                <a:gs pos="0">
                  <a:srgbClr val="A4857A"/>
                </a:gs>
                <a:gs pos="100000">
                  <a:srgbClr val="8C6557"/>
                </a:gs>
              </a:gsLst>
              <a:lin ang="5400000" scaled="1"/>
            </a:gradFill>
            <a:ln w="9525">
              <a:noFill/>
              <a:round/>
              <a:headEnd/>
              <a:tailEnd/>
            </a:ln>
          </p:spPr>
          <p:txBody>
            <a:bodyPr/>
            <a:lstStyle/>
            <a:p>
              <a:pPr defTabSz="912546"/>
              <a:endParaRPr>
                <a:solidFill>
                  <a:srgbClr val="000000"/>
                </a:solidFill>
              </a:endParaRPr>
            </a:p>
          </p:txBody>
        </p:sp>
        <p:sp>
          <p:nvSpPr>
            <p:cNvPr id="442074" name="Freeform 207"/>
            <p:cNvSpPr>
              <a:spLocks/>
            </p:cNvSpPr>
            <p:nvPr/>
          </p:nvSpPr>
          <p:spPr bwMode="gray">
            <a:xfrm>
              <a:off x="2838" y="1317"/>
              <a:ext cx="1587" cy="489"/>
            </a:xfrm>
            <a:custGeom>
              <a:avLst/>
              <a:gdLst>
                <a:gd name="T0" fmla="*/ 0 w 1587"/>
                <a:gd name="T1" fmla="*/ 0 h 489"/>
                <a:gd name="T2" fmla="*/ 1521 w 1587"/>
                <a:gd name="T3" fmla="*/ 489 h 489"/>
                <a:gd name="T4" fmla="*/ 1587 w 1587"/>
                <a:gd name="T5" fmla="*/ 471 h 489"/>
                <a:gd name="T6" fmla="*/ 0 60000 65536"/>
                <a:gd name="T7" fmla="*/ 0 60000 65536"/>
                <a:gd name="T8" fmla="*/ 0 60000 65536"/>
                <a:gd name="T9" fmla="*/ 0 w 1587"/>
                <a:gd name="T10" fmla="*/ 0 h 489"/>
                <a:gd name="T11" fmla="*/ 1587 w 1587"/>
                <a:gd name="T12" fmla="*/ 489 h 489"/>
              </a:gdLst>
              <a:ahLst/>
              <a:cxnLst>
                <a:cxn ang="T6">
                  <a:pos x="T0" y="T1"/>
                </a:cxn>
                <a:cxn ang="T7">
                  <a:pos x="T2" y="T3"/>
                </a:cxn>
                <a:cxn ang="T8">
                  <a:pos x="T4" y="T5"/>
                </a:cxn>
              </a:cxnLst>
              <a:rect l="T9" t="T10" r="T11" b="T12"/>
              <a:pathLst>
                <a:path w="1587" h="489">
                  <a:moveTo>
                    <a:pt x="0" y="0"/>
                  </a:moveTo>
                  <a:lnTo>
                    <a:pt x="1521" y="489"/>
                  </a:lnTo>
                  <a:lnTo>
                    <a:pt x="1587" y="471"/>
                  </a:lnTo>
                </a:path>
              </a:pathLst>
            </a:custGeom>
            <a:noFill/>
            <a:ln w="6350">
              <a:solidFill>
                <a:srgbClr val="C9B7B0"/>
              </a:solidFill>
              <a:round/>
              <a:headEnd/>
              <a:tailEnd/>
            </a:ln>
          </p:spPr>
          <p:txBody>
            <a:bodyPr/>
            <a:lstStyle/>
            <a:p>
              <a:pPr defTabSz="912546"/>
              <a:endParaRPr>
                <a:solidFill>
                  <a:srgbClr val="000000"/>
                </a:solidFill>
              </a:endParaRPr>
            </a:p>
          </p:txBody>
        </p:sp>
        <p:sp>
          <p:nvSpPr>
            <p:cNvPr id="442075" name="Freeform 208"/>
            <p:cNvSpPr>
              <a:spLocks/>
            </p:cNvSpPr>
            <p:nvPr/>
          </p:nvSpPr>
          <p:spPr bwMode="gray">
            <a:xfrm>
              <a:off x="2838" y="1353"/>
              <a:ext cx="1587" cy="495"/>
            </a:xfrm>
            <a:custGeom>
              <a:avLst/>
              <a:gdLst>
                <a:gd name="T0" fmla="*/ 0 w 1587"/>
                <a:gd name="T1" fmla="*/ 0 h 495"/>
                <a:gd name="T2" fmla="*/ 1518 w 1587"/>
                <a:gd name="T3" fmla="*/ 495 h 495"/>
                <a:gd name="T4" fmla="*/ 1587 w 1587"/>
                <a:gd name="T5" fmla="*/ 477 h 495"/>
                <a:gd name="T6" fmla="*/ 0 60000 65536"/>
                <a:gd name="T7" fmla="*/ 0 60000 65536"/>
                <a:gd name="T8" fmla="*/ 0 60000 65536"/>
                <a:gd name="T9" fmla="*/ 0 w 1587"/>
                <a:gd name="T10" fmla="*/ 0 h 495"/>
                <a:gd name="T11" fmla="*/ 1587 w 1587"/>
                <a:gd name="T12" fmla="*/ 495 h 495"/>
              </a:gdLst>
              <a:ahLst/>
              <a:cxnLst>
                <a:cxn ang="T6">
                  <a:pos x="T0" y="T1"/>
                </a:cxn>
                <a:cxn ang="T7">
                  <a:pos x="T2" y="T3"/>
                </a:cxn>
                <a:cxn ang="T8">
                  <a:pos x="T4" y="T5"/>
                </a:cxn>
              </a:cxnLst>
              <a:rect l="T9" t="T10" r="T11" b="T12"/>
              <a:pathLst>
                <a:path w="1587" h="495">
                  <a:moveTo>
                    <a:pt x="0" y="0"/>
                  </a:moveTo>
                  <a:lnTo>
                    <a:pt x="1518" y="495"/>
                  </a:lnTo>
                  <a:lnTo>
                    <a:pt x="1587" y="477"/>
                  </a:lnTo>
                </a:path>
              </a:pathLst>
            </a:custGeom>
            <a:noFill/>
            <a:ln w="6350">
              <a:solidFill>
                <a:srgbClr val="C9B7B0"/>
              </a:solidFill>
              <a:round/>
              <a:headEnd/>
              <a:tailEnd/>
            </a:ln>
          </p:spPr>
          <p:txBody>
            <a:bodyPr/>
            <a:lstStyle/>
            <a:p>
              <a:pPr defTabSz="912546"/>
              <a:endParaRPr>
                <a:solidFill>
                  <a:srgbClr val="000000"/>
                </a:solidFill>
              </a:endParaRPr>
            </a:p>
          </p:txBody>
        </p:sp>
        <p:sp>
          <p:nvSpPr>
            <p:cNvPr id="442076" name="Freeform 209"/>
            <p:cNvSpPr>
              <a:spLocks/>
            </p:cNvSpPr>
            <p:nvPr/>
          </p:nvSpPr>
          <p:spPr bwMode="gray">
            <a:xfrm>
              <a:off x="2835" y="1389"/>
              <a:ext cx="1590" cy="501"/>
            </a:xfrm>
            <a:custGeom>
              <a:avLst/>
              <a:gdLst>
                <a:gd name="T0" fmla="*/ 0 w 1590"/>
                <a:gd name="T1" fmla="*/ 0 h 501"/>
                <a:gd name="T2" fmla="*/ 1524 w 1590"/>
                <a:gd name="T3" fmla="*/ 501 h 501"/>
                <a:gd name="T4" fmla="*/ 1590 w 1590"/>
                <a:gd name="T5" fmla="*/ 483 h 501"/>
                <a:gd name="T6" fmla="*/ 0 60000 65536"/>
                <a:gd name="T7" fmla="*/ 0 60000 65536"/>
                <a:gd name="T8" fmla="*/ 0 60000 65536"/>
                <a:gd name="T9" fmla="*/ 0 w 1590"/>
                <a:gd name="T10" fmla="*/ 0 h 501"/>
                <a:gd name="T11" fmla="*/ 1590 w 1590"/>
                <a:gd name="T12" fmla="*/ 501 h 501"/>
              </a:gdLst>
              <a:ahLst/>
              <a:cxnLst>
                <a:cxn ang="T6">
                  <a:pos x="T0" y="T1"/>
                </a:cxn>
                <a:cxn ang="T7">
                  <a:pos x="T2" y="T3"/>
                </a:cxn>
                <a:cxn ang="T8">
                  <a:pos x="T4" y="T5"/>
                </a:cxn>
              </a:cxnLst>
              <a:rect l="T9" t="T10" r="T11" b="T12"/>
              <a:pathLst>
                <a:path w="1590" h="501">
                  <a:moveTo>
                    <a:pt x="0" y="0"/>
                  </a:moveTo>
                  <a:lnTo>
                    <a:pt x="1524" y="501"/>
                  </a:lnTo>
                  <a:lnTo>
                    <a:pt x="1590" y="483"/>
                  </a:lnTo>
                </a:path>
              </a:pathLst>
            </a:custGeom>
            <a:noFill/>
            <a:ln w="6350">
              <a:solidFill>
                <a:srgbClr val="C9B7B0"/>
              </a:solidFill>
              <a:round/>
              <a:headEnd/>
              <a:tailEnd/>
            </a:ln>
          </p:spPr>
          <p:txBody>
            <a:bodyPr/>
            <a:lstStyle/>
            <a:p>
              <a:pPr defTabSz="912546"/>
              <a:endParaRPr>
                <a:solidFill>
                  <a:srgbClr val="000000"/>
                </a:solidFill>
              </a:endParaRPr>
            </a:p>
          </p:txBody>
        </p:sp>
        <p:sp>
          <p:nvSpPr>
            <p:cNvPr id="442077" name="Freeform 210"/>
            <p:cNvSpPr>
              <a:spLocks/>
            </p:cNvSpPr>
            <p:nvPr/>
          </p:nvSpPr>
          <p:spPr bwMode="gray">
            <a:xfrm>
              <a:off x="2838" y="1422"/>
              <a:ext cx="1590" cy="507"/>
            </a:xfrm>
            <a:custGeom>
              <a:avLst/>
              <a:gdLst>
                <a:gd name="T0" fmla="*/ 0 w 1590"/>
                <a:gd name="T1" fmla="*/ 0 h 507"/>
                <a:gd name="T2" fmla="*/ 1524 w 1590"/>
                <a:gd name="T3" fmla="*/ 507 h 507"/>
                <a:gd name="T4" fmla="*/ 1590 w 1590"/>
                <a:gd name="T5" fmla="*/ 489 h 507"/>
                <a:gd name="T6" fmla="*/ 0 60000 65536"/>
                <a:gd name="T7" fmla="*/ 0 60000 65536"/>
                <a:gd name="T8" fmla="*/ 0 60000 65536"/>
                <a:gd name="T9" fmla="*/ 0 w 1590"/>
                <a:gd name="T10" fmla="*/ 0 h 507"/>
                <a:gd name="T11" fmla="*/ 1590 w 1590"/>
                <a:gd name="T12" fmla="*/ 507 h 507"/>
              </a:gdLst>
              <a:ahLst/>
              <a:cxnLst>
                <a:cxn ang="T6">
                  <a:pos x="T0" y="T1"/>
                </a:cxn>
                <a:cxn ang="T7">
                  <a:pos x="T2" y="T3"/>
                </a:cxn>
                <a:cxn ang="T8">
                  <a:pos x="T4" y="T5"/>
                </a:cxn>
              </a:cxnLst>
              <a:rect l="T9" t="T10" r="T11" b="T12"/>
              <a:pathLst>
                <a:path w="1590" h="507">
                  <a:moveTo>
                    <a:pt x="0" y="0"/>
                  </a:moveTo>
                  <a:lnTo>
                    <a:pt x="1524" y="507"/>
                  </a:lnTo>
                  <a:lnTo>
                    <a:pt x="1590" y="489"/>
                  </a:lnTo>
                </a:path>
              </a:pathLst>
            </a:custGeom>
            <a:noFill/>
            <a:ln w="6350">
              <a:solidFill>
                <a:srgbClr val="C9B7B0"/>
              </a:solidFill>
              <a:round/>
              <a:headEnd/>
              <a:tailEnd/>
            </a:ln>
          </p:spPr>
          <p:txBody>
            <a:bodyPr/>
            <a:lstStyle/>
            <a:p>
              <a:pPr defTabSz="912546"/>
              <a:endParaRPr>
                <a:solidFill>
                  <a:srgbClr val="000000"/>
                </a:solidFill>
              </a:endParaRPr>
            </a:p>
          </p:txBody>
        </p:sp>
        <p:sp>
          <p:nvSpPr>
            <p:cNvPr id="442078" name="Line 211"/>
            <p:cNvSpPr>
              <a:spLocks noChangeShapeType="1"/>
            </p:cNvSpPr>
            <p:nvPr/>
          </p:nvSpPr>
          <p:spPr bwMode="gray">
            <a:xfrm flipV="1">
              <a:off x="4318" y="175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79" name="Line 212"/>
            <p:cNvSpPr>
              <a:spLocks noChangeShapeType="1"/>
            </p:cNvSpPr>
            <p:nvPr/>
          </p:nvSpPr>
          <p:spPr bwMode="gray">
            <a:xfrm flipV="1">
              <a:off x="4316" y="183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0" name="Line 213"/>
            <p:cNvSpPr>
              <a:spLocks noChangeShapeType="1"/>
            </p:cNvSpPr>
            <p:nvPr/>
          </p:nvSpPr>
          <p:spPr bwMode="gray">
            <a:xfrm flipV="1">
              <a:off x="4318" y="191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1" name="Line 214"/>
            <p:cNvSpPr>
              <a:spLocks noChangeShapeType="1"/>
            </p:cNvSpPr>
            <p:nvPr/>
          </p:nvSpPr>
          <p:spPr bwMode="gray">
            <a:xfrm flipV="1">
              <a:off x="4250" y="172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2" name="Line 215"/>
            <p:cNvSpPr>
              <a:spLocks noChangeShapeType="1"/>
            </p:cNvSpPr>
            <p:nvPr/>
          </p:nvSpPr>
          <p:spPr bwMode="gray">
            <a:xfrm flipV="1">
              <a:off x="4248" y="1814"/>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3" name="Line 216"/>
            <p:cNvSpPr>
              <a:spLocks noChangeShapeType="1"/>
            </p:cNvSpPr>
            <p:nvPr/>
          </p:nvSpPr>
          <p:spPr bwMode="gray">
            <a:xfrm flipV="1">
              <a:off x="4250" y="189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4" name="Line 217"/>
            <p:cNvSpPr>
              <a:spLocks noChangeShapeType="1"/>
            </p:cNvSpPr>
            <p:nvPr/>
          </p:nvSpPr>
          <p:spPr bwMode="gray">
            <a:xfrm flipV="1">
              <a:off x="4182" y="1706"/>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5" name="Line 218"/>
            <p:cNvSpPr>
              <a:spLocks noChangeShapeType="1"/>
            </p:cNvSpPr>
            <p:nvPr/>
          </p:nvSpPr>
          <p:spPr bwMode="gray">
            <a:xfrm flipV="1">
              <a:off x="4180" y="1792"/>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6" name="Line 219"/>
            <p:cNvSpPr>
              <a:spLocks noChangeShapeType="1"/>
            </p:cNvSpPr>
            <p:nvPr/>
          </p:nvSpPr>
          <p:spPr bwMode="gray">
            <a:xfrm flipV="1">
              <a:off x="4182" y="187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7" name="Line 220"/>
            <p:cNvSpPr>
              <a:spLocks noChangeShapeType="1"/>
            </p:cNvSpPr>
            <p:nvPr/>
          </p:nvSpPr>
          <p:spPr bwMode="gray">
            <a:xfrm flipV="1">
              <a:off x="4114" y="1684"/>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8" name="Line 221"/>
            <p:cNvSpPr>
              <a:spLocks noChangeShapeType="1"/>
            </p:cNvSpPr>
            <p:nvPr/>
          </p:nvSpPr>
          <p:spPr bwMode="gray">
            <a:xfrm flipV="1">
              <a:off x="4112" y="1770"/>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89" name="Line 222"/>
            <p:cNvSpPr>
              <a:spLocks noChangeShapeType="1"/>
            </p:cNvSpPr>
            <p:nvPr/>
          </p:nvSpPr>
          <p:spPr bwMode="gray">
            <a:xfrm flipV="1">
              <a:off x="4114" y="184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0" name="Line 223"/>
            <p:cNvSpPr>
              <a:spLocks noChangeShapeType="1"/>
            </p:cNvSpPr>
            <p:nvPr/>
          </p:nvSpPr>
          <p:spPr bwMode="gray">
            <a:xfrm flipV="1">
              <a:off x="4046" y="1662"/>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1" name="Line 224"/>
            <p:cNvSpPr>
              <a:spLocks noChangeShapeType="1"/>
            </p:cNvSpPr>
            <p:nvPr/>
          </p:nvSpPr>
          <p:spPr bwMode="gray">
            <a:xfrm flipV="1">
              <a:off x="4044" y="1748"/>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2" name="Line 225"/>
            <p:cNvSpPr>
              <a:spLocks noChangeShapeType="1"/>
            </p:cNvSpPr>
            <p:nvPr/>
          </p:nvSpPr>
          <p:spPr bwMode="gray">
            <a:xfrm flipV="1">
              <a:off x="4046" y="182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3" name="Line 226"/>
            <p:cNvSpPr>
              <a:spLocks noChangeShapeType="1"/>
            </p:cNvSpPr>
            <p:nvPr/>
          </p:nvSpPr>
          <p:spPr bwMode="gray">
            <a:xfrm flipV="1">
              <a:off x="3978" y="164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4" name="Line 227"/>
            <p:cNvSpPr>
              <a:spLocks noChangeShapeType="1"/>
            </p:cNvSpPr>
            <p:nvPr/>
          </p:nvSpPr>
          <p:spPr bwMode="gray">
            <a:xfrm flipV="1">
              <a:off x="3976" y="172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5" name="Line 228"/>
            <p:cNvSpPr>
              <a:spLocks noChangeShapeType="1"/>
            </p:cNvSpPr>
            <p:nvPr/>
          </p:nvSpPr>
          <p:spPr bwMode="gray">
            <a:xfrm flipV="1">
              <a:off x="3978" y="180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6" name="Line 229"/>
            <p:cNvSpPr>
              <a:spLocks noChangeShapeType="1"/>
            </p:cNvSpPr>
            <p:nvPr/>
          </p:nvSpPr>
          <p:spPr bwMode="gray">
            <a:xfrm flipV="1">
              <a:off x="3910" y="161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7" name="Line 230"/>
            <p:cNvSpPr>
              <a:spLocks noChangeShapeType="1"/>
            </p:cNvSpPr>
            <p:nvPr/>
          </p:nvSpPr>
          <p:spPr bwMode="gray">
            <a:xfrm flipV="1">
              <a:off x="3908" y="1704"/>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8" name="Line 231"/>
            <p:cNvSpPr>
              <a:spLocks noChangeShapeType="1"/>
            </p:cNvSpPr>
            <p:nvPr/>
          </p:nvSpPr>
          <p:spPr bwMode="gray">
            <a:xfrm flipV="1">
              <a:off x="3910" y="178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099" name="Line 232"/>
            <p:cNvSpPr>
              <a:spLocks noChangeShapeType="1"/>
            </p:cNvSpPr>
            <p:nvPr/>
          </p:nvSpPr>
          <p:spPr bwMode="gray">
            <a:xfrm flipV="1">
              <a:off x="3842" y="1596"/>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0" name="Line 233"/>
            <p:cNvSpPr>
              <a:spLocks noChangeShapeType="1"/>
            </p:cNvSpPr>
            <p:nvPr/>
          </p:nvSpPr>
          <p:spPr bwMode="gray">
            <a:xfrm flipV="1">
              <a:off x="3840" y="1680"/>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1" name="Line 234"/>
            <p:cNvSpPr>
              <a:spLocks noChangeShapeType="1"/>
            </p:cNvSpPr>
            <p:nvPr/>
          </p:nvSpPr>
          <p:spPr bwMode="gray">
            <a:xfrm flipV="1">
              <a:off x="3842" y="175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2" name="Line 235"/>
            <p:cNvSpPr>
              <a:spLocks noChangeShapeType="1"/>
            </p:cNvSpPr>
            <p:nvPr/>
          </p:nvSpPr>
          <p:spPr bwMode="gray">
            <a:xfrm flipV="1">
              <a:off x="3774" y="1574"/>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3" name="Line 236"/>
            <p:cNvSpPr>
              <a:spLocks noChangeShapeType="1"/>
            </p:cNvSpPr>
            <p:nvPr/>
          </p:nvSpPr>
          <p:spPr bwMode="gray">
            <a:xfrm flipV="1">
              <a:off x="3772" y="165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4" name="Line 237"/>
            <p:cNvSpPr>
              <a:spLocks noChangeShapeType="1"/>
            </p:cNvSpPr>
            <p:nvPr/>
          </p:nvSpPr>
          <p:spPr bwMode="gray">
            <a:xfrm flipV="1">
              <a:off x="3774" y="173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5" name="Line 238"/>
            <p:cNvSpPr>
              <a:spLocks noChangeShapeType="1"/>
            </p:cNvSpPr>
            <p:nvPr/>
          </p:nvSpPr>
          <p:spPr bwMode="gray">
            <a:xfrm flipV="1">
              <a:off x="3706" y="1552"/>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6" name="Line 239"/>
            <p:cNvSpPr>
              <a:spLocks noChangeShapeType="1"/>
            </p:cNvSpPr>
            <p:nvPr/>
          </p:nvSpPr>
          <p:spPr bwMode="gray">
            <a:xfrm flipV="1">
              <a:off x="3704" y="1634"/>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7" name="Line 240"/>
            <p:cNvSpPr>
              <a:spLocks noChangeShapeType="1"/>
            </p:cNvSpPr>
            <p:nvPr/>
          </p:nvSpPr>
          <p:spPr bwMode="gray">
            <a:xfrm flipV="1">
              <a:off x="3706" y="171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8" name="Line 241"/>
            <p:cNvSpPr>
              <a:spLocks noChangeShapeType="1"/>
            </p:cNvSpPr>
            <p:nvPr/>
          </p:nvSpPr>
          <p:spPr bwMode="gray">
            <a:xfrm flipV="1">
              <a:off x="3638" y="153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09" name="Line 242"/>
            <p:cNvSpPr>
              <a:spLocks noChangeShapeType="1"/>
            </p:cNvSpPr>
            <p:nvPr/>
          </p:nvSpPr>
          <p:spPr bwMode="gray">
            <a:xfrm flipV="1">
              <a:off x="3636" y="1612"/>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0" name="Line 243"/>
            <p:cNvSpPr>
              <a:spLocks noChangeShapeType="1"/>
            </p:cNvSpPr>
            <p:nvPr/>
          </p:nvSpPr>
          <p:spPr bwMode="gray">
            <a:xfrm flipV="1">
              <a:off x="3638" y="169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1" name="Line 244"/>
            <p:cNvSpPr>
              <a:spLocks noChangeShapeType="1"/>
            </p:cNvSpPr>
            <p:nvPr/>
          </p:nvSpPr>
          <p:spPr bwMode="gray">
            <a:xfrm flipV="1">
              <a:off x="3570" y="150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2" name="Line 245"/>
            <p:cNvSpPr>
              <a:spLocks noChangeShapeType="1"/>
            </p:cNvSpPr>
            <p:nvPr/>
          </p:nvSpPr>
          <p:spPr bwMode="gray">
            <a:xfrm flipV="1">
              <a:off x="3568" y="1592"/>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3" name="Line 246"/>
            <p:cNvSpPr>
              <a:spLocks noChangeShapeType="1"/>
            </p:cNvSpPr>
            <p:nvPr/>
          </p:nvSpPr>
          <p:spPr bwMode="gray">
            <a:xfrm flipV="1">
              <a:off x="3570" y="167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4" name="Line 247"/>
            <p:cNvSpPr>
              <a:spLocks noChangeShapeType="1"/>
            </p:cNvSpPr>
            <p:nvPr/>
          </p:nvSpPr>
          <p:spPr bwMode="gray">
            <a:xfrm flipV="1">
              <a:off x="3506" y="1486"/>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5" name="Line 248"/>
            <p:cNvSpPr>
              <a:spLocks noChangeShapeType="1"/>
            </p:cNvSpPr>
            <p:nvPr/>
          </p:nvSpPr>
          <p:spPr bwMode="gray">
            <a:xfrm flipV="1">
              <a:off x="3504" y="1570"/>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6" name="Line 249"/>
            <p:cNvSpPr>
              <a:spLocks noChangeShapeType="1"/>
            </p:cNvSpPr>
            <p:nvPr/>
          </p:nvSpPr>
          <p:spPr bwMode="gray">
            <a:xfrm flipV="1">
              <a:off x="3506" y="165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7" name="Line 250"/>
            <p:cNvSpPr>
              <a:spLocks noChangeShapeType="1"/>
            </p:cNvSpPr>
            <p:nvPr/>
          </p:nvSpPr>
          <p:spPr bwMode="gray">
            <a:xfrm flipV="1">
              <a:off x="3442" y="1464"/>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8" name="Line 251"/>
            <p:cNvSpPr>
              <a:spLocks noChangeShapeType="1"/>
            </p:cNvSpPr>
            <p:nvPr/>
          </p:nvSpPr>
          <p:spPr bwMode="gray">
            <a:xfrm flipV="1">
              <a:off x="3440" y="1548"/>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19" name="Line 252"/>
            <p:cNvSpPr>
              <a:spLocks noChangeShapeType="1"/>
            </p:cNvSpPr>
            <p:nvPr/>
          </p:nvSpPr>
          <p:spPr bwMode="gray">
            <a:xfrm flipV="1">
              <a:off x="3442" y="162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0" name="Line 253"/>
            <p:cNvSpPr>
              <a:spLocks noChangeShapeType="1"/>
            </p:cNvSpPr>
            <p:nvPr/>
          </p:nvSpPr>
          <p:spPr bwMode="gray">
            <a:xfrm flipV="1">
              <a:off x="3378" y="144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1" name="Line 254"/>
            <p:cNvSpPr>
              <a:spLocks noChangeShapeType="1"/>
            </p:cNvSpPr>
            <p:nvPr/>
          </p:nvSpPr>
          <p:spPr bwMode="gray">
            <a:xfrm flipV="1">
              <a:off x="3376" y="1528"/>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2" name="Line 255"/>
            <p:cNvSpPr>
              <a:spLocks noChangeShapeType="1"/>
            </p:cNvSpPr>
            <p:nvPr/>
          </p:nvSpPr>
          <p:spPr bwMode="gray">
            <a:xfrm flipV="1">
              <a:off x="3378" y="160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3" name="Line 256"/>
            <p:cNvSpPr>
              <a:spLocks noChangeShapeType="1"/>
            </p:cNvSpPr>
            <p:nvPr/>
          </p:nvSpPr>
          <p:spPr bwMode="gray">
            <a:xfrm flipV="1">
              <a:off x="3314" y="142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4" name="Line 257"/>
            <p:cNvSpPr>
              <a:spLocks noChangeShapeType="1"/>
            </p:cNvSpPr>
            <p:nvPr/>
          </p:nvSpPr>
          <p:spPr bwMode="gray">
            <a:xfrm flipV="1">
              <a:off x="3312" y="150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5" name="Line 258"/>
            <p:cNvSpPr>
              <a:spLocks noChangeShapeType="1"/>
            </p:cNvSpPr>
            <p:nvPr/>
          </p:nvSpPr>
          <p:spPr bwMode="gray">
            <a:xfrm flipH="1" flipV="1">
              <a:off x="3312" y="158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6" name="Line 259"/>
            <p:cNvSpPr>
              <a:spLocks noChangeShapeType="1"/>
            </p:cNvSpPr>
            <p:nvPr/>
          </p:nvSpPr>
          <p:spPr bwMode="gray">
            <a:xfrm flipV="1">
              <a:off x="3254" y="141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7" name="Line 260"/>
            <p:cNvSpPr>
              <a:spLocks noChangeShapeType="1"/>
            </p:cNvSpPr>
            <p:nvPr/>
          </p:nvSpPr>
          <p:spPr bwMode="gray">
            <a:xfrm flipV="1">
              <a:off x="3252" y="148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8" name="Line 261"/>
            <p:cNvSpPr>
              <a:spLocks noChangeShapeType="1"/>
            </p:cNvSpPr>
            <p:nvPr/>
          </p:nvSpPr>
          <p:spPr bwMode="gray">
            <a:xfrm flipV="1">
              <a:off x="3254" y="156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29" name="Line 262"/>
            <p:cNvSpPr>
              <a:spLocks noChangeShapeType="1"/>
            </p:cNvSpPr>
            <p:nvPr/>
          </p:nvSpPr>
          <p:spPr bwMode="gray">
            <a:xfrm flipV="1">
              <a:off x="3194" y="139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0" name="Line 263"/>
            <p:cNvSpPr>
              <a:spLocks noChangeShapeType="1"/>
            </p:cNvSpPr>
            <p:nvPr/>
          </p:nvSpPr>
          <p:spPr bwMode="gray">
            <a:xfrm flipV="1">
              <a:off x="3192" y="1468"/>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1" name="Line 264"/>
            <p:cNvSpPr>
              <a:spLocks noChangeShapeType="1"/>
            </p:cNvSpPr>
            <p:nvPr/>
          </p:nvSpPr>
          <p:spPr bwMode="gray">
            <a:xfrm flipV="1">
              <a:off x="3194" y="154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2" name="Line 265"/>
            <p:cNvSpPr>
              <a:spLocks noChangeShapeType="1"/>
            </p:cNvSpPr>
            <p:nvPr/>
          </p:nvSpPr>
          <p:spPr bwMode="gray">
            <a:xfrm flipV="1">
              <a:off x="3138" y="1370"/>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3" name="Line 266"/>
            <p:cNvSpPr>
              <a:spLocks noChangeShapeType="1"/>
            </p:cNvSpPr>
            <p:nvPr/>
          </p:nvSpPr>
          <p:spPr bwMode="gray">
            <a:xfrm flipV="1">
              <a:off x="3136" y="1450"/>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4" name="Line 267"/>
            <p:cNvSpPr>
              <a:spLocks noChangeShapeType="1"/>
            </p:cNvSpPr>
            <p:nvPr/>
          </p:nvSpPr>
          <p:spPr bwMode="gray">
            <a:xfrm flipV="1">
              <a:off x="3138" y="152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5" name="Line 268"/>
            <p:cNvSpPr>
              <a:spLocks noChangeShapeType="1"/>
            </p:cNvSpPr>
            <p:nvPr/>
          </p:nvSpPr>
          <p:spPr bwMode="gray">
            <a:xfrm flipV="1">
              <a:off x="3082" y="1352"/>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6" name="Line 269"/>
            <p:cNvSpPr>
              <a:spLocks noChangeShapeType="1"/>
            </p:cNvSpPr>
            <p:nvPr/>
          </p:nvSpPr>
          <p:spPr bwMode="gray">
            <a:xfrm flipV="1">
              <a:off x="3080" y="1432"/>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7" name="Line 270"/>
            <p:cNvSpPr>
              <a:spLocks noChangeShapeType="1"/>
            </p:cNvSpPr>
            <p:nvPr/>
          </p:nvSpPr>
          <p:spPr bwMode="gray">
            <a:xfrm flipV="1">
              <a:off x="3082" y="150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8" name="Line 271"/>
            <p:cNvSpPr>
              <a:spLocks noChangeShapeType="1"/>
            </p:cNvSpPr>
            <p:nvPr/>
          </p:nvSpPr>
          <p:spPr bwMode="gray">
            <a:xfrm flipV="1">
              <a:off x="3028" y="1336"/>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39" name="Line 272"/>
            <p:cNvSpPr>
              <a:spLocks noChangeShapeType="1"/>
            </p:cNvSpPr>
            <p:nvPr/>
          </p:nvSpPr>
          <p:spPr bwMode="gray">
            <a:xfrm flipV="1">
              <a:off x="3026" y="1414"/>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0" name="Line 273"/>
            <p:cNvSpPr>
              <a:spLocks noChangeShapeType="1"/>
            </p:cNvSpPr>
            <p:nvPr/>
          </p:nvSpPr>
          <p:spPr bwMode="gray">
            <a:xfrm flipV="1">
              <a:off x="3028" y="148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1" name="Line 274"/>
            <p:cNvSpPr>
              <a:spLocks noChangeShapeType="1"/>
            </p:cNvSpPr>
            <p:nvPr/>
          </p:nvSpPr>
          <p:spPr bwMode="gray">
            <a:xfrm flipV="1">
              <a:off x="2974" y="1318"/>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2" name="Line 275"/>
            <p:cNvSpPr>
              <a:spLocks noChangeShapeType="1"/>
            </p:cNvSpPr>
            <p:nvPr/>
          </p:nvSpPr>
          <p:spPr bwMode="gray">
            <a:xfrm flipV="1">
              <a:off x="2972" y="1396"/>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3" name="Line 276"/>
            <p:cNvSpPr>
              <a:spLocks noChangeShapeType="1"/>
            </p:cNvSpPr>
            <p:nvPr/>
          </p:nvSpPr>
          <p:spPr bwMode="gray">
            <a:xfrm flipV="1">
              <a:off x="2974" y="146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4" name="Line 277"/>
            <p:cNvSpPr>
              <a:spLocks noChangeShapeType="1"/>
            </p:cNvSpPr>
            <p:nvPr/>
          </p:nvSpPr>
          <p:spPr bwMode="gray">
            <a:xfrm flipV="1">
              <a:off x="2920" y="1302"/>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5" name="Line 278"/>
            <p:cNvSpPr>
              <a:spLocks noChangeShapeType="1"/>
            </p:cNvSpPr>
            <p:nvPr/>
          </p:nvSpPr>
          <p:spPr bwMode="gray">
            <a:xfrm flipV="1">
              <a:off x="2918" y="1378"/>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6" name="Line 279"/>
            <p:cNvSpPr>
              <a:spLocks noChangeShapeType="1"/>
            </p:cNvSpPr>
            <p:nvPr/>
          </p:nvSpPr>
          <p:spPr bwMode="gray">
            <a:xfrm flipV="1">
              <a:off x="2920" y="144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7" name="Line 280"/>
            <p:cNvSpPr>
              <a:spLocks noChangeShapeType="1"/>
            </p:cNvSpPr>
            <p:nvPr/>
          </p:nvSpPr>
          <p:spPr bwMode="gray">
            <a:xfrm flipV="1">
              <a:off x="2866" y="1286"/>
              <a:ext cx="0"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8" name="Line 281"/>
            <p:cNvSpPr>
              <a:spLocks noChangeShapeType="1"/>
            </p:cNvSpPr>
            <p:nvPr/>
          </p:nvSpPr>
          <p:spPr bwMode="gray">
            <a:xfrm flipV="1">
              <a:off x="2864" y="1360"/>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49" name="Line 282"/>
            <p:cNvSpPr>
              <a:spLocks noChangeShapeType="1"/>
            </p:cNvSpPr>
            <p:nvPr/>
          </p:nvSpPr>
          <p:spPr bwMode="gray">
            <a:xfrm flipV="1">
              <a:off x="2866" y="143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0" name="Line 283"/>
            <p:cNvSpPr>
              <a:spLocks noChangeShapeType="1"/>
            </p:cNvSpPr>
            <p:nvPr/>
          </p:nvSpPr>
          <p:spPr bwMode="gray">
            <a:xfrm flipV="1">
              <a:off x="4352" y="188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1" name="Line 284"/>
            <p:cNvSpPr>
              <a:spLocks noChangeShapeType="1"/>
            </p:cNvSpPr>
            <p:nvPr/>
          </p:nvSpPr>
          <p:spPr bwMode="gray">
            <a:xfrm flipV="1">
              <a:off x="4284" y="186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2" name="Line 285"/>
            <p:cNvSpPr>
              <a:spLocks noChangeShapeType="1"/>
            </p:cNvSpPr>
            <p:nvPr/>
          </p:nvSpPr>
          <p:spPr bwMode="gray">
            <a:xfrm flipV="1">
              <a:off x="4216" y="184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3" name="Line 286"/>
            <p:cNvSpPr>
              <a:spLocks noChangeShapeType="1"/>
            </p:cNvSpPr>
            <p:nvPr/>
          </p:nvSpPr>
          <p:spPr bwMode="gray">
            <a:xfrm flipV="1">
              <a:off x="4148" y="182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4" name="Line 287"/>
            <p:cNvSpPr>
              <a:spLocks noChangeShapeType="1"/>
            </p:cNvSpPr>
            <p:nvPr/>
          </p:nvSpPr>
          <p:spPr bwMode="gray">
            <a:xfrm flipV="1">
              <a:off x="4080" y="180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5" name="Line 288"/>
            <p:cNvSpPr>
              <a:spLocks noChangeShapeType="1"/>
            </p:cNvSpPr>
            <p:nvPr/>
          </p:nvSpPr>
          <p:spPr bwMode="gray">
            <a:xfrm flipV="1">
              <a:off x="4012" y="177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6" name="Line 289"/>
            <p:cNvSpPr>
              <a:spLocks noChangeShapeType="1"/>
            </p:cNvSpPr>
            <p:nvPr/>
          </p:nvSpPr>
          <p:spPr bwMode="gray">
            <a:xfrm flipV="1">
              <a:off x="3944" y="175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7" name="Line 290"/>
            <p:cNvSpPr>
              <a:spLocks noChangeShapeType="1"/>
            </p:cNvSpPr>
            <p:nvPr/>
          </p:nvSpPr>
          <p:spPr bwMode="gray">
            <a:xfrm flipV="1">
              <a:off x="3876" y="173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8" name="Line 291"/>
            <p:cNvSpPr>
              <a:spLocks noChangeShapeType="1"/>
            </p:cNvSpPr>
            <p:nvPr/>
          </p:nvSpPr>
          <p:spPr bwMode="gray">
            <a:xfrm flipV="1">
              <a:off x="3808" y="171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59" name="Line 292"/>
            <p:cNvSpPr>
              <a:spLocks noChangeShapeType="1"/>
            </p:cNvSpPr>
            <p:nvPr/>
          </p:nvSpPr>
          <p:spPr bwMode="gray">
            <a:xfrm flipV="1">
              <a:off x="3740" y="169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0" name="Line 293"/>
            <p:cNvSpPr>
              <a:spLocks noChangeShapeType="1"/>
            </p:cNvSpPr>
            <p:nvPr/>
          </p:nvSpPr>
          <p:spPr bwMode="gray">
            <a:xfrm flipV="1">
              <a:off x="3672" y="166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1" name="Line 294"/>
            <p:cNvSpPr>
              <a:spLocks noChangeShapeType="1"/>
            </p:cNvSpPr>
            <p:nvPr/>
          </p:nvSpPr>
          <p:spPr bwMode="gray">
            <a:xfrm flipV="1">
              <a:off x="3604" y="164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2" name="Line 295"/>
            <p:cNvSpPr>
              <a:spLocks noChangeShapeType="1"/>
            </p:cNvSpPr>
            <p:nvPr/>
          </p:nvSpPr>
          <p:spPr bwMode="gray">
            <a:xfrm flipV="1">
              <a:off x="3540" y="162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3" name="Line 296"/>
            <p:cNvSpPr>
              <a:spLocks noChangeShapeType="1"/>
            </p:cNvSpPr>
            <p:nvPr/>
          </p:nvSpPr>
          <p:spPr bwMode="gray">
            <a:xfrm flipV="1">
              <a:off x="3476" y="160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4" name="Line 297"/>
            <p:cNvSpPr>
              <a:spLocks noChangeShapeType="1"/>
            </p:cNvSpPr>
            <p:nvPr/>
          </p:nvSpPr>
          <p:spPr bwMode="gray">
            <a:xfrm flipV="1">
              <a:off x="3412" y="158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5" name="Line 298"/>
            <p:cNvSpPr>
              <a:spLocks noChangeShapeType="1"/>
            </p:cNvSpPr>
            <p:nvPr/>
          </p:nvSpPr>
          <p:spPr bwMode="gray">
            <a:xfrm flipH="1" flipV="1">
              <a:off x="3346" y="155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6" name="Line 299"/>
            <p:cNvSpPr>
              <a:spLocks noChangeShapeType="1"/>
            </p:cNvSpPr>
            <p:nvPr/>
          </p:nvSpPr>
          <p:spPr bwMode="gray">
            <a:xfrm flipV="1">
              <a:off x="3288" y="153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7" name="Line 300"/>
            <p:cNvSpPr>
              <a:spLocks noChangeShapeType="1"/>
            </p:cNvSpPr>
            <p:nvPr/>
          </p:nvSpPr>
          <p:spPr bwMode="gray">
            <a:xfrm flipV="1">
              <a:off x="3224" y="151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8" name="Line 301"/>
            <p:cNvSpPr>
              <a:spLocks noChangeShapeType="1"/>
            </p:cNvSpPr>
            <p:nvPr/>
          </p:nvSpPr>
          <p:spPr bwMode="gray">
            <a:xfrm flipV="1">
              <a:off x="3164" y="150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69" name="Line 302"/>
            <p:cNvSpPr>
              <a:spLocks noChangeShapeType="1"/>
            </p:cNvSpPr>
            <p:nvPr/>
          </p:nvSpPr>
          <p:spPr bwMode="gray">
            <a:xfrm flipV="1">
              <a:off x="3108" y="148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0" name="Line 303"/>
            <p:cNvSpPr>
              <a:spLocks noChangeShapeType="1"/>
            </p:cNvSpPr>
            <p:nvPr/>
          </p:nvSpPr>
          <p:spPr bwMode="gray">
            <a:xfrm flipV="1">
              <a:off x="3054" y="146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1" name="Line 304"/>
            <p:cNvSpPr>
              <a:spLocks noChangeShapeType="1"/>
            </p:cNvSpPr>
            <p:nvPr/>
          </p:nvSpPr>
          <p:spPr bwMode="gray">
            <a:xfrm flipV="1">
              <a:off x="2998" y="144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2" name="Line 305"/>
            <p:cNvSpPr>
              <a:spLocks noChangeShapeType="1"/>
            </p:cNvSpPr>
            <p:nvPr/>
          </p:nvSpPr>
          <p:spPr bwMode="gray">
            <a:xfrm flipV="1">
              <a:off x="2946" y="142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3" name="Line 306"/>
            <p:cNvSpPr>
              <a:spLocks noChangeShapeType="1"/>
            </p:cNvSpPr>
            <p:nvPr/>
          </p:nvSpPr>
          <p:spPr bwMode="gray">
            <a:xfrm flipV="1">
              <a:off x="2890" y="1410"/>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4" name="Line 307"/>
            <p:cNvSpPr>
              <a:spLocks noChangeShapeType="1"/>
            </p:cNvSpPr>
            <p:nvPr/>
          </p:nvSpPr>
          <p:spPr bwMode="gray">
            <a:xfrm flipV="1">
              <a:off x="4284" y="178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5" name="Line 308"/>
            <p:cNvSpPr>
              <a:spLocks noChangeShapeType="1"/>
            </p:cNvSpPr>
            <p:nvPr/>
          </p:nvSpPr>
          <p:spPr bwMode="gray">
            <a:xfrm flipV="1">
              <a:off x="4216" y="176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6" name="Line 309"/>
            <p:cNvSpPr>
              <a:spLocks noChangeShapeType="1"/>
            </p:cNvSpPr>
            <p:nvPr/>
          </p:nvSpPr>
          <p:spPr bwMode="gray">
            <a:xfrm flipV="1">
              <a:off x="4148" y="174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7" name="Line 310"/>
            <p:cNvSpPr>
              <a:spLocks noChangeShapeType="1"/>
            </p:cNvSpPr>
            <p:nvPr/>
          </p:nvSpPr>
          <p:spPr bwMode="gray">
            <a:xfrm flipV="1">
              <a:off x="4080" y="172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8" name="Line 311"/>
            <p:cNvSpPr>
              <a:spLocks noChangeShapeType="1"/>
            </p:cNvSpPr>
            <p:nvPr/>
          </p:nvSpPr>
          <p:spPr bwMode="gray">
            <a:xfrm flipV="1">
              <a:off x="4012" y="1698"/>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79" name="Line 312"/>
            <p:cNvSpPr>
              <a:spLocks noChangeShapeType="1"/>
            </p:cNvSpPr>
            <p:nvPr/>
          </p:nvSpPr>
          <p:spPr bwMode="gray">
            <a:xfrm flipV="1">
              <a:off x="3944" y="1676"/>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0" name="Line 313"/>
            <p:cNvSpPr>
              <a:spLocks noChangeShapeType="1"/>
            </p:cNvSpPr>
            <p:nvPr/>
          </p:nvSpPr>
          <p:spPr bwMode="gray">
            <a:xfrm flipV="1">
              <a:off x="3876" y="1654"/>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1" name="Line 314"/>
            <p:cNvSpPr>
              <a:spLocks noChangeShapeType="1"/>
            </p:cNvSpPr>
            <p:nvPr/>
          </p:nvSpPr>
          <p:spPr bwMode="gray">
            <a:xfrm flipV="1">
              <a:off x="3808" y="163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2" name="Line 315"/>
            <p:cNvSpPr>
              <a:spLocks noChangeShapeType="1"/>
            </p:cNvSpPr>
            <p:nvPr/>
          </p:nvSpPr>
          <p:spPr bwMode="gray">
            <a:xfrm flipV="1">
              <a:off x="3740" y="161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3" name="Line 316"/>
            <p:cNvSpPr>
              <a:spLocks noChangeShapeType="1"/>
            </p:cNvSpPr>
            <p:nvPr/>
          </p:nvSpPr>
          <p:spPr bwMode="gray">
            <a:xfrm flipV="1">
              <a:off x="3672" y="159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4" name="Line 317"/>
            <p:cNvSpPr>
              <a:spLocks noChangeShapeType="1"/>
            </p:cNvSpPr>
            <p:nvPr/>
          </p:nvSpPr>
          <p:spPr bwMode="gray">
            <a:xfrm flipV="1">
              <a:off x="3604" y="156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5" name="Line 318"/>
            <p:cNvSpPr>
              <a:spLocks noChangeShapeType="1"/>
            </p:cNvSpPr>
            <p:nvPr/>
          </p:nvSpPr>
          <p:spPr bwMode="gray">
            <a:xfrm flipV="1">
              <a:off x="3540" y="154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6" name="Line 319"/>
            <p:cNvSpPr>
              <a:spLocks noChangeShapeType="1"/>
            </p:cNvSpPr>
            <p:nvPr/>
          </p:nvSpPr>
          <p:spPr bwMode="gray">
            <a:xfrm flipV="1">
              <a:off x="3476" y="152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7" name="Line 320"/>
            <p:cNvSpPr>
              <a:spLocks noChangeShapeType="1"/>
            </p:cNvSpPr>
            <p:nvPr/>
          </p:nvSpPr>
          <p:spPr bwMode="gray">
            <a:xfrm flipV="1">
              <a:off x="3412" y="150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8" name="Line 321"/>
            <p:cNvSpPr>
              <a:spLocks noChangeShapeType="1"/>
            </p:cNvSpPr>
            <p:nvPr/>
          </p:nvSpPr>
          <p:spPr bwMode="gray">
            <a:xfrm flipH="1" flipV="1">
              <a:off x="3346" y="148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89" name="Line 322"/>
            <p:cNvSpPr>
              <a:spLocks noChangeShapeType="1"/>
            </p:cNvSpPr>
            <p:nvPr/>
          </p:nvSpPr>
          <p:spPr bwMode="gray">
            <a:xfrm flipV="1">
              <a:off x="3288" y="1462"/>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0" name="Line 323"/>
            <p:cNvSpPr>
              <a:spLocks noChangeShapeType="1"/>
            </p:cNvSpPr>
            <p:nvPr/>
          </p:nvSpPr>
          <p:spPr bwMode="gray">
            <a:xfrm flipV="1">
              <a:off x="3224" y="144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1" name="Line 324"/>
            <p:cNvSpPr>
              <a:spLocks noChangeShapeType="1"/>
            </p:cNvSpPr>
            <p:nvPr/>
          </p:nvSpPr>
          <p:spPr bwMode="gray">
            <a:xfrm flipV="1">
              <a:off x="3164" y="1426"/>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2" name="Line 325"/>
            <p:cNvSpPr>
              <a:spLocks noChangeShapeType="1"/>
            </p:cNvSpPr>
            <p:nvPr/>
          </p:nvSpPr>
          <p:spPr bwMode="gray">
            <a:xfrm flipV="1">
              <a:off x="3108" y="140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3" name="Line 326"/>
            <p:cNvSpPr>
              <a:spLocks noChangeShapeType="1"/>
            </p:cNvSpPr>
            <p:nvPr/>
          </p:nvSpPr>
          <p:spPr bwMode="gray">
            <a:xfrm flipV="1">
              <a:off x="3054" y="139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4" name="Line 327"/>
            <p:cNvSpPr>
              <a:spLocks noChangeShapeType="1"/>
            </p:cNvSpPr>
            <p:nvPr/>
          </p:nvSpPr>
          <p:spPr bwMode="gray">
            <a:xfrm flipV="1">
              <a:off x="2998" y="1372"/>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5" name="Line 328"/>
            <p:cNvSpPr>
              <a:spLocks noChangeShapeType="1"/>
            </p:cNvSpPr>
            <p:nvPr/>
          </p:nvSpPr>
          <p:spPr bwMode="gray">
            <a:xfrm flipV="1">
              <a:off x="2946" y="1354"/>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6" name="Line 329"/>
            <p:cNvSpPr>
              <a:spLocks noChangeShapeType="1"/>
            </p:cNvSpPr>
            <p:nvPr/>
          </p:nvSpPr>
          <p:spPr bwMode="gray">
            <a:xfrm flipV="1">
              <a:off x="2890" y="1338"/>
              <a:ext cx="2" cy="29"/>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7" name="Line 330"/>
            <p:cNvSpPr>
              <a:spLocks noChangeShapeType="1"/>
            </p:cNvSpPr>
            <p:nvPr/>
          </p:nvSpPr>
          <p:spPr bwMode="gray">
            <a:xfrm flipV="1">
              <a:off x="4400" y="1794"/>
              <a:ext cx="2" cy="40"/>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sp>
          <p:nvSpPr>
            <p:cNvPr id="442198" name="Line 331"/>
            <p:cNvSpPr>
              <a:spLocks noChangeShapeType="1"/>
            </p:cNvSpPr>
            <p:nvPr/>
          </p:nvSpPr>
          <p:spPr bwMode="gray">
            <a:xfrm flipV="1">
              <a:off x="4400" y="1880"/>
              <a:ext cx="2" cy="35"/>
            </a:xfrm>
            <a:prstGeom prst="line">
              <a:avLst/>
            </a:prstGeom>
            <a:noFill/>
            <a:ln w="6350">
              <a:solidFill>
                <a:srgbClr val="C9B7B0"/>
              </a:solidFill>
              <a:round/>
              <a:headEnd/>
              <a:tailEnd/>
            </a:ln>
          </p:spPr>
          <p:txBody>
            <a:bodyPr/>
            <a:lstStyle/>
            <a:p>
              <a:pPr defTabSz="912546"/>
              <a:endParaRPr lang="en-US" dirty="0">
                <a:solidFill>
                  <a:srgbClr val="000000"/>
                </a:solidFill>
              </a:endParaRPr>
            </a:p>
          </p:txBody>
        </p:sp>
      </p:grpSp>
      <p:grpSp>
        <p:nvGrpSpPr>
          <p:cNvPr id="21" name="Group 332"/>
          <p:cNvGrpSpPr>
            <a:grpSpLocks/>
          </p:cNvGrpSpPr>
          <p:nvPr/>
        </p:nvGrpSpPr>
        <p:grpSpPr bwMode="gray">
          <a:xfrm>
            <a:off x="7086612" y="3452415"/>
            <a:ext cx="1438275" cy="1060450"/>
            <a:chOff x="4272" y="1884"/>
            <a:chExt cx="1008" cy="710"/>
          </a:xfrm>
        </p:grpSpPr>
        <p:grpSp>
          <p:nvGrpSpPr>
            <p:cNvPr id="22" name="Group 333"/>
            <p:cNvGrpSpPr>
              <a:grpSpLocks/>
            </p:cNvGrpSpPr>
            <p:nvPr/>
          </p:nvGrpSpPr>
          <p:grpSpPr bwMode="gray">
            <a:xfrm>
              <a:off x="4272" y="2160"/>
              <a:ext cx="1008" cy="434"/>
              <a:chOff x="2688" y="3120"/>
              <a:chExt cx="962" cy="415"/>
            </a:xfrm>
          </p:grpSpPr>
          <p:grpSp>
            <p:nvGrpSpPr>
              <p:cNvPr id="23" name="Group 334"/>
              <p:cNvGrpSpPr>
                <a:grpSpLocks/>
              </p:cNvGrpSpPr>
              <p:nvPr/>
            </p:nvGrpSpPr>
            <p:grpSpPr bwMode="gray">
              <a:xfrm>
                <a:off x="2688" y="3120"/>
                <a:ext cx="962" cy="415"/>
                <a:chOff x="2107" y="2248"/>
                <a:chExt cx="1020" cy="473"/>
              </a:xfrm>
            </p:grpSpPr>
            <p:sp>
              <p:nvSpPr>
                <p:cNvPr id="442068" name="Oval 335"/>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2069" name="Oval 336"/>
                <p:cNvSpPr>
                  <a:spLocks noChangeArrowheads="1"/>
                </p:cNvSpPr>
                <p:nvPr/>
              </p:nvSpPr>
              <p:spPr bwMode="gray">
                <a:xfrm>
                  <a:off x="2206" y="2276"/>
                  <a:ext cx="794" cy="331"/>
                </a:xfrm>
                <a:prstGeom prst="ellipse">
                  <a:avLst/>
                </a:prstGeom>
                <a:gradFill rotWithShape="1">
                  <a:gsLst>
                    <a:gs pos="0">
                      <a:srgbClr val="5D797A"/>
                    </a:gs>
                    <a:gs pos="50000">
                      <a:srgbClr val="7FA6A7"/>
                    </a:gs>
                    <a:gs pos="100000">
                      <a:srgbClr val="5D797A"/>
                    </a:gs>
                  </a:gsLst>
                  <a:lin ang="0" scaled="1"/>
                </a:gradFill>
                <a:ln w="9525">
                  <a:noFill/>
                  <a:round/>
                  <a:headEnd/>
                  <a:tailEnd/>
                </a:ln>
              </p:spPr>
              <p:txBody>
                <a:bodyPr wrap="none" anchor="ctr"/>
                <a:lstStyle/>
                <a:p>
                  <a:pPr algn="ctr" defTabSz="912546"/>
                  <a:endParaRPr>
                    <a:solidFill>
                      <a:srgbClr val="000000"/>
                    </a:solidFill>
                  </a:endParaRPr>
                </a:p>
              </p:txBody>
            </p:sp>
            <p:sp>
              <p:nvSpPr>
                <p:cNvPr id="442070" name="Oval 337"/>
                <p:cNvSpPr>
                  <a:spLocks noChangeArrowheads="1"/>
                </p:cNvSpPr>
                <p:nvPr/>
              </p:nvSpPr>
              <p:spPr bwMode="gray">
                <a:xfrm>
                  <a:off x="2206" y="2248"/>
                  <a:ext cx="794" cy="331"/>
                </a:xfrm>
                <a:prstGeom prst="ellipse">
                  <a:avLst/>
                </a:prstGeom>
                <a:gradFill rotWithShape="1">
                  <a:gsLst>
                    <a:gs pos="0">
                      <a:srgbClr val="629293"/>
                    </a:gs>
                    <a:gs pos="50000">
                      <a:srgbClr val="AFC7C8"/>
                    </a:gs>
                    <a:gs pos="100000">
                      <a:srgbClr val="629293"/>
                    </a:gs>
                  </a:gsLst>
                  <a:lin ang="18900000" scaled="1"/>
                </a:gradFill>
                <a:ln w="9525">
                  <a:noFill/>
                  <a:round/>
                  <a:headEnd/>
                  <a:tailEnd/>
                </a:ln>
              </p:spPr>
              <p:txBody>
                <a:bodyPr wrap="none" anchor="ctr"/>
                <a:lstStyle/>
                <a:p>
                  <a:pPr algn="ctr" defTabSz="912546"/>
                  <a:endParaRPr>
                    <a:solidFill>
                      <a:srgbClr val="000000"/>
                    </a:solidFill>
                  </a:endParaRPr>
                </a:p>
              </p:txBody>
            </p:sp>
          </p:grpSp>
          <p:sp>
            <p:nvSpPr>
              <p:cNvPr id="442067" name="Text Box 338"/>
              <p:cNvSpPr txBox="1">
                <a:spLocks noChangeArrowheads="1"/>
              </p:cNvSpPr>
              <p:nvPr/>
            </p:nvSpPr>
            <p:spPr bwMode="gray">
              <a:xfrm>
                <a:off x="2888" y="3294"/>
                <a:ext cx="525" cy="136"/>
              </a:xfrm>
              <a:prstGeom prst="rect">
                <a:avLst/>
              </a:prstGeom>
              <a:noFill/>
              <a:ln w="9525" algn="ctr">
                <a:noFill/>
                <a:miter lim="800000"/>
                <a:headEnd/>
                <a:tailEnd type="none" w="sm" len="lg"/>
              </a:ln>
            </p:spPr>
            <p:txBody>
              <a:bodyPr wrap="none" lIns="90000" tIns="46800" rIns="90000" bIns="46800">
                <a:spAutoFit/>
              </a:bodyPr>
              <a:lstStyle/>
              <a:p>
                <a:pPr marL="243971" indent="-243971" algn="ctr" defTabSz="912546">
                  <a:lnSpc>
                    <a:spcPct val="85000"/>
                  </a:lnSpc>
                  <a:buClr>
                    <a:srgbClr val="F0AB00"/>
                  </a:buClr>
                  <a:buSzPct val="80000"/>
                </a:pPr>
                <a:r>
                  <a:rPr lang="en-US" sz="900" b="1" dirty="0">
                    <a:solidFill>
                      <a:srgbClr val="000000"/>
                    </a:solidFill>
                  </a:rPr>
                  <a:t>Customers</a:t>
                </a:r>
              </a:p>
            </p:txBody>
          </p:sp>
        </p:grpSp>
        <p:grpSp>
          <p:nvGrpSpPr>
            <p:cNvPr id="24" name="Group 339"/>
            <p:cNvGrpSpPr>
              <a:grpSpLocks/>
            </p:cNvGrpSpPr>
            <p:nvPr/>
          </p:nvGrpSpPr>
          <p:grpSpPr bwMode="gray">
            <a:xfrm>
              <a:off x="4526" y="1884"/>
              <a:ext cx="506" cy="444"/>
              <a:chOff x="4032" y="2599"/>
              <a:chExt cx="534" cy="469"/>
            </a:xfrm>
          </p:grpSpPr>
          <p:sp>
            <p:nvSpPr>
              <p:cNvPr id="442007" name="Freeform 340"/>
              <p:cNvSpPr>
                <a:spLocks/>
              </p:cNvSpPr>
              <p:nvPr/>
            </p:nvSpPr>
            <p:spPr bwMode="gray">
              <a:xfrm>
                <a:off x="4038" y="2958"/>
                <a:ext cx="528" cy="110"/>
              </a:xfrm>
              <a:custGeom>
                <a:avLst/>
                <a:gdLst>
                  <a:gd name="T0" fmla="*/ 102 w 528"/>
                  <a:gd name="T1" fmla="*/ 78 h 110"/>
                  <a:gd name="T2" fmla="*/ 0 w 528"/>
                  <a:gd name="T3" fmla="*/ 66 h 110"/>
                  <a:gd name="T4" fmla="*/ 162 w 528"/>
                  <a:gd name="T5" fmla="*/ 24 h 110"/>
                  <a:gd name="T6" fmla="*/ 222 w 528"/>
                  <a:gd name="T7" fmla="*/ 0 h 110"/>
                  <a:gd name="T8" fmla="*/ 480 w 528"/>
                  <a:gd name="T9" fmla="*/ 24 h 110"/>
                  <a:gd name="T10" fmla="*/ 528 w 528"/>
                  <a:gd name="T11" fmla="*/ 72 h 110"/>
                  <a:gd name="T12" fmla="*/ 420 w 528"/>
                  <a:gd name="T13" fmla="*/ 96 h 110"/>
                  <a:gd name="T14" fmla="*/ 300 w 528"/>
                  <a:gd name="T15" fmla="*/ 60 h 110"/>
                  <a:gd name="T16" fmla="*/ 150 w 528"/>
                  <a:gd name="T17" fmla="*/ 78 h 110"/>
                  <a:gd name="T18" fmla="*/ 120 w 528"/>
                  <a:gd name="T19" fmla="*/ 72 h 110"/>
                  <a:gd name="T20" fmla="*/ 102 w 528"/>
                  <a:gd name="T21" fmla="*/ 78 h 1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8"/>
                  <a:gd name="T34" fmla="*/ 0 h 110"/>
                  <a:gd name="T35" fmla="*/ 528 w 528"/>
                  <a:gd name="T36" fmla="*/ 110 h 1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8" h="110">
                    <a:moveTo>
                      <a:pt x="102" y="78"/>
                    </a:moveTo>
                    <a:cubicBezTo>
                      <a:pt x="69" y="100"/>
                      <a:pt x="15" y="110"/>
                      <a:pt x="0" y="66"/>
                    </a:cubicBezTo>
                    <a:cubicBezTo>
                      <a:pt x="55" y="25"/>
                      <a:pt x="88" y="29"/>
                      <a:pt x="162" y="24"/>
                    </a:cubicBezTo>
                    <a:cubicBezTo>
                      <a:pt x="182" y="10"/>
                      <a:pt x="198" y="6"/>
                      <a:pt x="222" y="0"/>
                    </a:cubicBezTo>
                    <a:cubicBezTo>
                      <a:pt x="329" y="4"/>
                      <a:pt x="380" y="17"/>
                      <a:pt x="480" y="24"/>
                    </a:cubicBezTo>
                    <a:cubicBezTo>
                      <a:pt x="497" y="41"/>
                      <a:pt x="514" y="52"/>
                      <a:pt x="528" y="72"/>
                    </a:cubicBezTo>
                    <a:cubicBezTo>
                      <a:pt x="494" y="89"/>
                      <a:pt x="457" y="87"/>
                      <a:pt x="420" y="96"/>
                    </a:cubicBezTo>
                    <a:cubicBezTo>
                      <a:pt x="348" y="96"/>
                      <a:pt x="340" y="80"/>
                      <a:pt x="300" y="60"/>
                    </a:cubicBezTo>
                    <a:cubicBezTo>
                      <a:pt x="250" y="66"/>
                      <a:pt x="199" y="66"/>
                      <a:pt x="150" y="78"/>
                    </a:cubicBezTo>
                    <a:cubicBezTo>
                      <a:pt x="140" y="76"/>
                      <a:pt x="130" y="72"/>
                      <a:pt x="120" y="72"/>
                    </a:cubicBezTo>
                    <a:cubicBezTo>
                      <a:pt x="114" y="72"/>
                      <a:pt x="102" y="78"/>
                      <a:pt x="102" y="78"/>
                    </a:cubicBezTo>
                    <a:close/>
                  </a:path>
                </a:pathLst>
              </a:custGeom>
              <a:solidFill>
                <a:srgbClr val="4D4D4D">
                  <a:alpha val="10196"/>
                </a:srgbClr>
              </a:solidFill>
              <a:ln w="9525">
                <a:noFill/>
                <a:round/>
                <a:headEnd/>
                <a:tailEnd/>
              </a:ln>
            </p:spPr>
            <p:txBody>
              <a:bodyPr/>
              <a:lstStyle/>
              <a:p>
                <a:pPr defTabSz="912546"/>
                <a:endParaRPr>
                  <a:solidFill>
                    <a:srgbClr val="000000"/>
                  </a:solidFill>
                </a:endParaRPr>
              </a:p>
            </p:txBody>
          </p:sp>
          <p:grpSp>
            <p:nvGrpSpPr>
              <p:cNvPr id="25" name="Group 341"/>
              <p:cNvGrpSpPr>
                <a:grpSpLocks/>
              </p:cNvGrpSpPr>
              <p:nvPr/>
            </p:nvGrpSpPr>
            <p:grpSpPr bwMode="gray">
              <a:xfrm>
                <a:off x="4032" y="2599"/>
                <a:ext cx="488" cy="438"/>
                <a:chOff x="4032" y="2599"/>
                <a:chExt cx="488" cy="438"/>
              </a:xfrm>
            </p:grpSpPr>
            <p:grpSp>
              <p:nvGrpSpPr>
                <p:cNvPr id="26" name="Group 342"/>
                <p:cNvGrpSpPr>
                  <a:grpSpLocks/>
                </p:cNvGrpSpPr>
                <p:nvPr/>
              </p:nvGrpSpPr>
              <p:grpSpPr bwMode="gray">
                <a:xfrm>
                  <a:off x="4032" y="2622"/>
                  <a:ext cx="122" cy="415"/>
                  <a:chOff x="5284" y="1097"/>
                  <a:chExt cx="272" cy="922"/>
                </a:xfrm>
              </p:grpSpPr>
              <p:sp>
                <p:nvSpPr>
                  <p:cNvPr id="442041" name="Freeform 343"/>
                  <p:cNvSpPr>
                    <a:spLocks/>
                  </p:cNvSpPr>
                  <p:nvPr/>
                </p:nvSpPr>
                <p:spPr bwMode="gray">
                  <a:xfrm>
                    <a:off x="5349" y="1721"/>
                    <a:ext cx="170" cy="275"/>
                  </a:xfrm>
                  <a:custGeom>
                    <a:avLst/>
                    <a:gdLst>
                      <a:gd name="T0" fmla="*/ 74 w 170"/>
                      <a:gd name="T1" fmla="*/ 9 h 275"/>
                      <a:gd name="T2" fmla="*/ 14 w 170"/>
                      <a:gd name="T3" fmla="*/ 17 h 275"/>
                      <a:gd name="T4" fmla="*/ 0 w 170"/>
                      <a:gd name="T5" fmla="*/ 51 h 275"/>
                      <a:gd name="T6" fmla="*/ 4 w 170"/>
                      <a:gd name="T7" fmla="*/ 83 h 275"/>
                      <a:gd name="T8" fmla="*/ 24 w 170"/>
                      <a:gd name="T9" fmla="*/ 223 h 275"/>
                      <a:gd name="T10" fmla="*/ 38 w 170"/>
                      <a:gd name="T11" fmla="*/ 253 h 275"/>
                      <a:gd name="T12" fmla="*/ 64 w 170"/>
                      <a:gd name="T13" fmla="*/ 215 h 275"/>
                      <a:gd name="T14" fmla="*/ 54 w 170"/>
                      <a:gd name="T15" fmla="*/ 169 h 275"/>
                      <a:gd name="T16" fmla="*/ 52 w 170"/>
                      <a:gd name="T17" fmla="*/ 155 h 275"/>
                      <a:gd name="T18" fmla="*/ 58 w 170"/>
                      <a:gd name="T19" fmla="*/ 55 h 275"/>
                      <a:gd name="T20" fmla="*/ 92 w 170"/>
                      <a:gd name="T21" fmla="*/ 41 h 275"/>
                      <a:gd name="T22" fmla="*/ 106 w 170"/>
                      <a:gd name="T23" fmla="*/ 43 h 275"/>
                      <a:gd name="T24" fmla="*/ 110 w 170"/>
                      <a:gd name="T25" fmla="*/ 61 h 275"/>
                      <a:gd name="T26" fmla="*/ 126 w 170"/>
                      <a:gd name="T27" fmla="*/ 189 h 275"/>
                      <a:gd name="T28" fmla="*/ 126 w 170"/>
                      <a:gd name="T29" fmla="*/ 221 h 275"/>
                      <a:gd name="T30" fmla="*/ 145 w 170"/>
                      <a:gd name="T31" fmla="*/ 275 h 275"/>
                      <a:gd name="T32" fmla="*/ 160 w 170"/>
                      <a:gd name="T33" fmla="*/ 261 h 275"/>
                      <a:gd name="T34" fmla="*/ 154 w 170"/>
                      <a:gd name="T35" fmla="*/ 211 h 275"/>
                      <a:gd name="T36" fmla="*/ 154 w 170"/>
                      <a:gd name="T37" fmla="*/ 175 h 275"/>
                      <a:gd name="T38" fmla="*/ 162 w 170"/>
                      <a:gd name="T39" fmla="*/ 43 h 275"/>
                      <a:gd name="T40" fmla="*/ 146 w 170"/>
                      <a:gd name="T41" fmla="*/ 31 h 275"/>
                      <a:gd name="T42" fmla="*/ 80 w 170"/>
                      <a:gd name="T43" fmla="*/ 13 h 275"/>
                      <a:gd name="T44" fmla="*/ 74 w 170"/>
                      <a:gd name="T45" fmla="*/ 9 h 2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0"/>
                      <a:gd name="T70" fmla="*/ 0 h 275"/>
                      <a:gd name="T71" fmla="*/ 170 w 170"/>
                      <a:gd name="T72" fmla="*/ 275 h 2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0" h="275">
                        <a:moveTo>
                          <a:pt x="74" y="9"/>
                        </a:moveTo>
                        <a:cubicBezTo>
                          <a:pt x="60" y="0"/>
                          <a:pt x="29" y="9"/>
                          <a:pt x="14" y="17"/>
                        </a:cubicBezTo>
                        <a:cubicBezTo>
                          <a:pt x="10" y="29"/>
                          <a:pt x="3" y="38"/>
                          <a:pt x="0" y="51"/>
                        </a:cubicBezTo>
                        <a:cubicBezTo>
                          <a:pt x="2" y="84"/>
                          <a:pt x="3" y="69"/>
                          <a:pt x="4" y="83"/>
                        </a:cubicBezTo>
                        <a:cubicBezTo>
                          <a:pt x="20" y="165"/>
                          <a:pt x="41" y="173"/>
                          <a:pt x="24" y="223"/>
                        </a:cubicBezTo>
                        <a:cubicBezTo>
                          <a:pt x="26" y="245"/>
                          <a:pt x="21" y="247"/>
                          <a:pt x="38" y="253"/>
                        </a:cubicBezTo>
                        <a:cubicBezTo>
                          <a:pt x="61" y="248"/>
                          <a:pt x="60" y="237"/>
                          <a:pt x="64" y="215"/>
                        </a:cubicBezTo>
                        <a:cubicBezTo>
                          <a:pt x="62" y="200"/>
                          <a:pt x="61" y="183"/>
                          <a:pt x="54" y="169"/>
                        </a:cubicBezTo>
                        <a:cubicBezTo>
                          <a:pt x="52" y="156"/>
                          <a:pt x="52" y="161"/>
                          <a:pt x="52" y="155"/>
                        </a:cubicBezTo>
                        <a:cubicBezTo>
                          <a:pt x="51" y="130"/>
                          <a:pt x="47" y="83"/>
                          <a:pt x="58" y="55"/>
                        </a:cubicBezTo>
                        <a:cubicBezTo>
                          <a:pt x="61" y="47"/>
                          <a:pt x="85" y="43"/>
                          <a:pt x="92" y="41"/>
                        </a:cubicBezTo>
                        <a:cubicBezTo>
                          <a:pt x="97" y="42"/>
                          <a:pt x="102" y="41"/>
                          <a:pt x="106" y="43"/>
                        </a:cubicBezTo>
                        <a:cubicBezTo>
                          <a:pt x="106" y="43"/>
                          <a:pt x="119" y="61"/>
                          <a:pt x="110" y="61"/>
                        </a:cubicBezTo>
                        <a:cubicBezTo>
                          <a:pt x="123" y="134"/>
                          <a:pt x="132" y="147"/>
                          <a:pt x="126" y="189"/>
                        </a:cubicBezTo>
                        <a:cubicBezTo>
                          <a:pt x="128" y="202"/>
                          <a:pt x="132" y="210"/>
                          <a:pt x="126" y="221"/>
                        </a:cubicBezTo>
                        <a:cubicBezTo>
                          <a:pt x="123" y="241"/>
                          <a:pt x="115" y="275"/>
                          <a:pt x="145" y="275"/>
                        </a:cubicBezTo>
                        <a:cubicBezTo>
                          <a:pt x="156" y="272"/>
                          <a:pt x="157" y="272"/>
                          <a:pt x="160" y="261"/>
                        </a:cubicBezTo>
                        <a:cubicBezTo>
                          <a:pt x="156" y="243"/>
                          <a:pt x="163" y="228"/>
                          <a:pt x="154" y="211"/>
                        </a:cubicBezTo>
                        <a:cubicBezTo>
                          <a:pt x="157" y="200"/>
                          <a:pt x="154" y="186"/>
                          <a:pt x="154" y="175"/>
                        </a:cubicBezTo>
                        <a:cubicBezTo>
                          <a:pt x="161" y="126"/>
                          <a:pt x="170" y="91"/>
                          <a:pt x="162" y="43"/>
                        </a:cubicBezTo>
                        <a:cubicBezTo>
                          <a:pt x="161" y="35"/>
                          <a:pt x="151" y="35"/>
                          <a:pt x="146" y="31"/>
                        </a:cubicBezTo>
                        <a:cubicBezTo>
                          <a:pt x="128" y="16"/>
                          <a:pt x="102" y="15"/>
                          <a:pt x="80" y="13"/>
                        </a:cubicBezTo>
                        <a:cubicBezTo>
                          <a:pt x="73" y="11"/>
                          <a:pt x="74" y="13"/>
                          <a:pt x="74" y="9"/>
                        </a:cubicBezTo>
                        <a:close/>
                      </a:path>
                    </a:pathLst>
                  </a:custGeom>
                  <a:solidFill>
                    <a:srgbClr val="D3AD87"/>
                  </a:solidFill>
                  <a:ln w="9525">
                    <a:noFill/>
                    <a:round/>
                    <a:headEnd/>
                    <a:tailEnd/>
                  </a:ln>
                </p:spPr>
                <p:txBody>
                  <a:bodyPr wrap="none" lIns="18000" tIns="46800" rIns="18000" bIns="46800" anchor="ctr"/>
                  <a:lstStyle/>
                  <a:p>
                    <a:pPr defTabSz="912546"/>
                    <a:endParaRPr>
                      <a:solidFill>
                        <a:srgbClr val="000000"/>
                      </a:solidFill>
                    </a:endParaRPr>
                  </a:p>
                </p:txBody>
              </p:sp>
              <p:sp>
                <p:nvSpPr>
                  <p:cNvPr id="442042" name="Freeform 344"/>
                  <p:cNvSpPr>
                    <a:spLocks/>
                  </p:cNvSpPr>
                  <p:nvPr/>
                </p:nvSpPr>
                <p:spPr bwMode="gray">
                  <a:xfrm>
                    <a:off x="5284" y="1216"/>
                    <a:ext cx="262" cy="566"/>
                  </a:xfrm>
                  <a:custGeom>
                    <a:avLst/>
                    <a:gdLst>
                      <a:gd name="T0" fmla="*/ 122 w 262"/>
                      <a:gd name="T1" fmla="*/ 0 h 566"/>
                      <a:gd name="T2" fmla="*/ 94 w 262"/>
                      <a:gd name="T3" fmla="*/ 4 h 566"/>
                      <a:gd name="T4" fmla="*/ 54 w 262"/>
                      <a:gd name="T5" fmla="*/ 34 h 566"/>
                      <a:gd name="T6" fmla="*/ 12 w 262"/>
                      <a:gd name="T7" fmla="*/ 44 h 566"/>
                      <a:gd name="T8" fmla="*/ 0 w 262"/>
                      <a:gd name="T9" fmla="*/ 70 h 566"/>
                      <a:gd name="T10" fmla="*/ 6 w 262"/>
                      <a:gd name="T11" fmla="*/ 124 h 566"/>
                      <a:gd name="T12" fmla="*/ 18 w 262"/>
                      <a:gd name="T13" fmla="*/ 158 h 566"/>
                      <a:gd name="T14" fmla="*/ 28 w 262"/>
                      <a:gd name="T15" fmla="*/ 198 h 566"/>
                      <a:gd name="T16" fmla="*/ 48 w 262"/>
                      <a:gd name="T17" fmla="*/ 234 h 566"/>
                      <a:gd name="T18" fmla="*/ 26 w 262"/>
                      <a:gd name="T19" fmla="*/ 282 h 566"/>
                      <a:gd name="T20" fmla="*/ 28 w 262"/>
                      <a:gd name="T21" fmla="*/ 286 h 566"/>
                      <a:gd name="T22" fmla="*/ 22 w 262"/>
                      <a:gd name="T23" fmla="*/ 338 h 566"/>
                      <a:gd name="T24" fmla="*/ 42 w 262"/>
                      <a:gd name="T25" fmla="*/ 342 h 566"/>
                      <a:gd name="T26" fmla="*/ 38 w 262"/>
                      <a:gd name="T27" fmla="*/ 396 h 566"/>
                      <a:gd name="T28" fmla="*/ 46 w 262"/>
                      <a:gd name="T29" fmla="*/ 488 h 566"/>
                      <a:gd name="T30" fmla="*/ 62 w 262"/>
                      <a:gd name="T31" fmla="*/ 556 h 566"/>
                      <a:gd name="T32" fmla="*/ 200 w 262"/>
                      <a:gd name="T33" fmla="*/ 564 h 566"/>
                      <a:gd name="T34" fmla="*/ 230 w 262"/>
                      <a:gd name="T35" fmla="*/ 550 h 566"/>
                      <a:gd name="T36" fmla="*/ 230 w 262"/>
                      <a:gd name="T37" fmla="*/ 542 h 566"/>
                      <a:gd name="T38" fmla="*/ 234 w 262"/>
                      <a:gd name="T39" fmla="*/ 444 h 566"/>
                      <a:gd name="T40" fmla="*/ 232 w 262"/>
                      <a:gd name="T41" fmla="*/ 368 h 566"/>
                      <a:gd name="T42" fmla="*/ 228 w 262"/>
                      <a:gd name="T43" fmla="*/ 344 h 566"/>
                      <a:gd name="T44" fmla="*/ 262 w 262"/>
                      <a:gd name="T45" fmla="*/ 334 h 566"/>
                      <a:gd name="T46" fmla="*/ 242 w 262"/>
                      <a:gd name="T47" fmla="*/ 260 h 566"/>
                      <a:gd name="T48" fmla="*/ 234 w 262"/>
                      <a:gd name="T49" fmla="*/ 228 h 566"/>
                      <a:gd name="T50" fmla="*/ 226 w 262"/>
                      <a:gd name="T51" fmla="*/ 160 h 566"/>
                      <a:gd name="T52" fmla="*/ 224 w 262"/>
                      <a:gd name="T53" fmla="*/ 134 h 566"/>
                      <a:gd name="T54" fmla="*/ 212 w 262"/>
                      <a:gd name="T55" fmla="*/ 40 h 566"/>
                      <a:gd name="T56" fmla="*/ 164 w 262"/>
                      <a:gd name="T57" fmla="*/ 24 h 566"/>
                      <a:gd name="T58" fmla="*/ 156 w 262"/>
                      <a:gd name="T59" fmla="*/ 12 h 566"/>
                      <a:gd name="T60" fmla="*/ 122 w 262"/>
                      <a:gd name="T61" fmla="*/ 0 h 5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2"/>
                      <a:gd name="T94" fmla="*/ 0 h 566"/>
                      <a:gd name="T95" fmla="*/ 262 w 262"/>
                      <a:gd name="T96" fmla="*/ 566 h 5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2" h="566">
                        <a:moveTo>
                          <a:pt x="122" y="0"/>
                        </a:moveTo>
                        <a:cubicBezTo>
                          <a:pt x="113" y="2"/>
                          <a:pt x="103" y="2"/>
                          <a:pt x="94" y="4"/>
                        </a:cubicBezTo>
                        <a:cubicBezTo>
                          <a:pt x="80" y="8"/>
                          <a:pt x="68" y="28"/>
                          <a:pt x="54" y="34"/>
                        </a:cubicBezTo>
                        <a:cubicBezTo>
                          <a:pt x="42" y="39"/>
                          <a:pt x="24" y="43"/>
                          <a:pt x="12" y="44"/>
                        </a:cubicBezTo>
                        <a:cubicBezTo>
                          <a:pt x="4" y="52"/>
                          <a:pt x="0" y="59"/>
                          <a:pt x="0" y="70"/>
                        </a:cubicBezTo>
                        <a:lnTo>
                          <a:pt x="6" y="124"/>
                        </a:lnTo>
                        <a:lnTo>
                          <a:pt x="18" y="158"/>
                        </a:lnTo>
                        <a:lnTo>
                          <a:pt x="28" y="198"/>
                        </a:lnTo>
                        <a:lnTo>
                          <a:pt x="48" y="234"/>
                        </a:lnTo>
                        <a:cubicBezTo>
                          <a:pt x="41" y="250"/>
                          <a:pt x="31" y="265"/>
                          <a:pt x="26" y="282"/>
                        </a:cubicBezTo>
                        <a:cubicBezTo>
                          <a:pt x="25" y="285"/>
                          <a:pt x="29" y="277"/>
                          <a:pt x="28" y="286"/>
                        </a:cubicBezTo>
                        <a:lnTo>
                          <a:pt x="22" y="338"/>
                        </a:lnTo>
                        <a:lnTo>
                          <a:pt x="42" y="342"/>
                        </a:lnTo>
                        <a:lnTo>
                          <a:pt x="38" y="396"/>
                        </a:lnTo>
                        <a:lnTo>
                          <a:pt x="46" y="488"/>
                        </a:lnTo>
                        <a:cubicBezTo>
                          <a:pt x="48" y="553"/>
                          <a:pt x="44" y="552"/>
                          <a:pt x="62" y="556"/>
                        </a:cubicBezTo>
                        <a:cubicBezTo>
                          <a:pt x="88" y="566"/>
                          <a:pt x="146" y="566"/>
                          <a:pt x="200" y="564"/>
                        </a:cubicBezTo>
                        <a:cubicBezTo>
                          <a:pt x="214" y="561"/>
                          <a:pt x="220" y="560"/>
                          <a:pt x="230" y="550"/>
                        </a:cubicBezTo>
                        <a:cubicBezTo>
                          <a:pt x="232" y="543"/>
                          <a:pt x="233" y="545"/>
                          <a:pt x="230" y="542"/>
                        </a:cubicBezTo>
                        <a:lnTo>
                          <a:pt x="234" y="444"/>
                        </a:lnTo>
                        <a:lnTo>
                          <a:pt x="232" y="368"/>
                        </a:lnTo>
                        <a:lnTo>
                          <a:pt x="228" y="344"/>
                        </a:lnTo>
                        <a:lnTo>
                          <a:pt x="262" y="334"/>
                        </a:lnTo>
                        <a:cubicBezTo>
                          <a:pt x="257" y="314"/>
                          <a:pt x="256" y="281"/>
                          <a:pt x="242" y="260"/>
                        </a:cubicBezTo>
                        <a:cubicBezTo>
                          <a:pt x="240" y="249"/>
                          <a:pt x="237" y="239"/>
                          <a:pt x="234" y="228"/>
                        </a:cubicBezTo>
                        <a:cubicBezTo>
                          <a:pt x="236" y="207"/>
                          <a:pt x="233" y="180"/>
                          <a:pt x="226" y="160"/>
                        </a:cubicBezTo>
                        <a:cubicBezTo>
                          <a:pt x="225" y="151"/>
                          <a:pt x="224" y="134"/>
                          <a:pt x="224" y="134"/>
                        </a:cubicBezTo>
                        <a:cubicBezTo>
                          <a:pt x="225" y="123"/>
                          <a:pt x="232" y="24"/>
                          <a:pt x="212" y="40"/>
                        </a:cubicBezTo>
                        <a:cubicBezTo>
                          <a:pt x="194" y="36"/>
                          <a:pt x="178" y="30"/>
                          <a:pt x="164" y="24"/>
                        </a:cubicBezTo>
                        <a:cubicBezTo>
                          <a:pt x="151" y="19"/>
                          <a:pt x="163" y="19"/>
                          <a:pt x="156" y="12"/>
                        </a:cubicBezTo>
                        <a:cubicBezTo>
                          <a:pt x="148" y="4"/>
                          <a:pt x="134" y="0"/>
                          <a:pt x="122" y="0"/>
                        </a:cubicBezTo>
                        <a:close/>
                      </a:path>
                    </a:pathLst>
                  </a:custGeom>
                  <a:solidFill>
                    <a:srgbClr val="3D2821"/>
                  </a:solidFill>
                  <a:ln w="6350">
                    <a:noFill/>
                    <a:round/>
                    <a:headEnd/>
                    <a:tailEnd/>
                  </a:ln>
                </p:spPr>
                <p:txBody>
                  <a:bodyPr wrap="none" lIns="18000" tIns="46800" rIns="18000" bIns="46800" anchor="ctr"/>
                  <a:lstStyle/>
                  <a:p>
                    <a:pPr defTabSz="912546"/>
                    <a:endParaRPr>
                      <a:solidFill>
                        <a:srgbClr val="000000"/>
                      </a:solidFill>
                    </a:endParaRPr>
                  </a:p>
                </p:txBody>
              </p:sp>
              <p:sp>
                <p:nvSpPr>
                  <p:cNvPr id="442043" name="Freeform 345"/>
                  <p:cNvSpPr>
                    <a:spLocks/>
                  </p:cNvSpPr>
                  <p:nvPr/>
                </p:nvSpPr>
                <p:spPr bwMode="gray">
                  <a:xfrm>
                    <a:off x="5304" y="1302"/>
                    <a:ext cx="83" cy="130"/>
                  </a:xfrm>
                  <a:custGeom>
                    <a:avLst/>
                    <a:gdLst>
                      <a:gd name="T0" fmla="*/ 45 w 83"/>
                      <a:gd name="T1" fmla="*/ 52 h 130"/>
                      <a:gd name="T2" fmla="*/ 33 w 83"/>
                      <a:gd name="T3" fmla="*/ 22 h 130"/>
                      <a:gd name="T4" fmla="*/ 25 w 83"/>
                      <a:gd name="T5" fmla="*/ 0 h 130"/>
                      <a:gd name="T6" fmla="*/ 21 w 83"/>
                      <a:gd name="T7" fmla="*/ 22 h 130"/>
                      <a:gd name="T8" fmla="*/ 3 w 83"/>
                      <a:gd name="T9" fmla="*/ 0 h 130"/>
                      <a:gd name="T10" fmla="*/ 19 w 83"/>
                      <a:gd name="T11" fmla="*/ 28 h 130"/>
                      <a:gd name="T12" fmla="*/ 27 w 83"/>
                      <a:gd name="T13" fmla="*/ 40 h 130"/>
                      <a:gd name="T14" fmla="*/ 21 w 83"/>
                      <a:gd name="T15" fmla="*/ 38 h 130"/>
                      <a:gd name="T16" fmla="*/ 9 w 83"/>
                      <a:gd name="T17" fmla="*/ 34 h 130"/>
                      <a:gd name="T18" fmla="*/ 37 w 83"/>
                      <a:gd name="T19" fmla="*/ 48 h 130"/>
                      <a:gd name="T20" fmla="*/ 43 w 83"/>
                      <a:gd name="T21" fmla="*/ 54 h 130"/>
                      <a:gd name="T22" fmla="*/ 27 w 83"/>
                      <a:gd name="T23" fmla="*/ 82 h 130"/>
                      <a:gd name="T24" fmla="*/ 11 w 83"/>
                      <a:gd name="T25" fmla="*/ 108 h 130"/>
                      <a:gd name="T26" fmla="*/ 25 w 83"/>
                      <a:gd name="T27" fmla="*/ 130 h 130"/>
                      <a:gd name="T28" fmla="*/ 19 w 83"/>
                      <a:gd name="T29" fmla="*/ 114 h 130"/>
                      <a:gd name="T30" fmla="*/ 37 w 83"/>
                      <a:gd name="T31" fmla="*/ 84 h 130"/>
                      <a:gd name="T32" fmla="*/ 59 w 83"/>
                      <a:gd name="T33" fmla="*/ 48 h 130"/>
                      <a:gd name="T34" fmla="*/ 83 w 83"/>
                      <a:gd name="T35" fmla="*/ 68 h 130"/>
                      <a:gd name="T36" fmla="*/ 47 w 83"/>
                      <a:gd name="T37" fmla="*/ 46 h 130"/>
                      <a:gd name="T38" fmla="*/ 49 w 83"/>
                      <a:gd name="T39" fmla="*/ 24 h 130"/>
                      <a:gd name="T40" fmla="*/ 39 w 83"/>
                      <a:gd name="T41" fmla="*/ 36 h 1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3"/>
                      <a:gd name="T64" fmla="*/ 0 h 130"/>
                      <a:gd name="T65" fmla="*/ 83 w 83"/>
                      <a:gd name="T66" fmla="*/ 130 h 1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3" h="130">
                        <a:moveTo>
                          <a:pt x="45" y="52"/>
                        </a:moveTo>
                        <a:cubicBezTo>
                          <a:pt x="48" y="42"/>
                          <a:pt x="41" y="30"/>
                          <a:pt x="33" y="22"/>
                        </a:cubicBezTo>
                        <a:cubicBezTo>
                          <a:pt x="31" y="14"/>
                          <a:pt x="29" y="8"/>
                          <a:pt x="25" y="0"/>
                        </a:cubicBezTo>
                        <a:cubicBezTo>
                          <a:pt x="20" y="8"/>
                          <a:pt x="23" y="13"/>
                          <a:pt x="21" y="22"/>
                        </a:cubicBezTo>
                        <a:cubicBezTo>
                          <a:pt x="17" y="9"/>
                          <a:pt x="16" y="6"/>
                          <a:pt x="3" y="0"/>
                        </a:cubicBezTo>
                        <a:cubicBezTo>
                          <a:pt x="0" y="9"/>
                          <a:pt x="13" y="19"/>
                          <a:pt x="19" y="28"/>
                        </a:cubicBezTo>
                        <a:cubicBezTo>
                          <a:pt x="24" y="36"/>
                          <a:pt x="27" y="40"/>
                          <a:pt x="27" y="40"/>
                        </a:cubicBezTo>
                        <a:cubicBezTo>
                          <a:pt x="25" y="39"/>
                          <a:pt x="23" y="39"/>
                          <a:pt x="21" y="38"/>
                        </a:cubicBezTo>
                        <a:cubicBezTo>
                          <a:pt x="21" y="37"/>
                          <a:pt x="14" y="23"/>
                          <a:pt x="9" y="34"/>
                        </a:cubicBezTo>
                        <a:cubicBezTo>
                          <a:pt x="4" y="46"/>
                          <a:pt x="35" y="48"/>
                          <a:pt x="37" y="48"/>
                        </a:cubicBezTo>
                        <a:cubicBezTo>
                          <a:pt x="39" y="50"/>
                          <a:pt x="43" y="51"/>
                          <a:pt x="43" y="54"/>
                        </a:cubicBezTo>
                        <a:cubicBezTo>
                          <a:pt x="42" y="60"/>
                          <a:pt x="32" y="79"/>
                          <a:pt x="27" y="82"/>
                        </a:cubicBezTo>
                        <a:cubicBezTo>
                          <a:pt x="22" y="92"/>
                          <a:pt x="14" y="98"/>
                          <a:pt x="11" y="108"/>
                        </a:cubicBezTo>
                        <a:cubicBezTo>
                          <a:pt x="14" y="118"/>
                          <a:pt x="21" y="119"/>
                          <a:pt x="25" y="130"/>
                        </a:cubicBezTo>
                        <a:cubicBezTo>
                          <a:pt x="28" y="121"/>
                          <a:pt x="27" y="119"/>
                          <a:pt x="19" y="114"/>
                        </a:cubicBezTo>
                        <a:cubicBezTo>
                          <a:pt x="21" y="101"/>
                          <a:pt x="26" y="91"/>
                          <a:pt x="37" y="84"/>
                        </a:cubicBezTo>
                        <a:cubicBezTo>
                          <a:pt x="40" y="74"/>
                          <a:pt x="50" y="54"/>
                          <a:pt x="59" y="48"/>
                        </a:cubicBezTo>
                        <a:cubicBezTo>
                          <a:pt x="67" y="56"/>
                          <a:pt x="73" y="65"/>
                          <a:pt x="83" y="68"/>
                        </a:cubicBezTo>
                        <a:cubicBezTo>
                          <a:pt x="70" y="55"/>
                          <a:pt x="63" y="54"/>
                          <a:pt x="47" y="46"/>
                        </a:cubicBezTo>
                        <a:cubicBezTo>
                          <a:pt x="50" y="33"/>
                          <a:pt x="64" y="20"/>
                          <a:pt x="49" y="24"/>
                        </a:cubicBezTo>
                        <a:cubicBezTo>
                          <a:pt x="47" y="29"/>
                          <a:pt x="39" y="36"/>
                          <a:pt x="39" y="36"/>
                        </a:cubicBezTo>
                      </a:path>
                    </a:pathLst>
                  </a:custGeom>
                  <a:solidFill>
                    <a:srgbClr val="170F0D"/>
                  </a:solidFill>
                  <a:ln w="9525">
                    <a:noFill/>
                    <a:round/>
                    <a:headEnd/>
                    <a:tailEnd/>
                  </a:ln>
                </p:spPr>
                <p:txBody>
                  <a:bodyPr wrap="none" lIns="18000" tIns="46800" rIns="18000" bIns="46800" anchor="ctr"/>
                  <a:lstStyle/>
                  <a:p>
                    <a:pPr defTabSz="912546"/>
                    <a:endParaRPr>
                      <a:solidFill>
                        <a:srgbClr val="000000"/>
                      </a:solidFill>
                    </a:endParaRPr>
                  </a:p>
                </p:txBody>
              </p:sp>
              <p:sp>
                <p:nvSpPr>
                  <p:cNvPr id="442044" name="Freeform 346"/>
                  <p:cNvSpPr>
                    <a:spLocks/>
                  </p:cNvSpPr>
                  <p:nvPr/>
                </p:nvSpPr>
                <p:spPr bwMode="gray">
                  <a:xfrm>
                    <a:off x="5294" y="1328"/>
                    <a:ext cx="130" cy="176"/>
                  </a:xfrm>
                  <a:custGeom>
                    <a:avLst/>
                    <a:gdLst>
                      <a:gd name="T0" fmla="*/ 115 w 130"/>
                      <a:gd name="T1" fmla="*/ 20 h 176"/>
                      <a:gd name="T2" fmla="*/ 101 w 130"/>
                      <a:gd name="T3" fmla="*/ 38 h 176"/>
                      <a:gd name="T4" fmla="*/ 87 w 130"/>
                      <a:gd name="T5" fmla="*/ 34 h 176"/>
                      <a:gd name="T6" fmla="*/ 107 w 130"/>
                      <a:gd name="T7" fmla="*/ 42 h 176"/>
                      <a:gd name="T8" fmla="*/ 85 w 130"/>
                      <a:gd name="T9" fmla="*/ 80 h 176"/>
                      <a:gd name="T10" fmla="*/ 63 w 130"/>
                      <a:gd name="T11" fmla="*/ 124 h 176"/>
                      <a:gd name="T12" fmla="*/ 43 w 130"/>
                      <a:gd name="T13" fmla="*/ 116 h 176"/>
                      <a:gd name="T14" fmla="*/ 59 w 130"/>
                      <a:gd name="T15" fmla="*/ 130 h 176"/>
                      <a:gd name="T16" fmla="*/ 53 w 130"/>
                      <a:gd name="T17" fmla="*/ 132 h 176"/>
                      <a:gd name="T18" fmla="*/ 89 w 130"/>
                      <a:gd name="T19" fmla="*/ 136 h 176"/>
                      <a:gd name="T20" fmla="*/ 39 w 130"/>
                      <a:gd name="T21" fmla="*/ 164 h 176"/>
                      <a:gd name="T22" fmla="*/ 19 w 130"/>
                      <a:gd name="T23" fmla="*/ 170 h 176"/>
                      <a:gd name="T24" fmla="*/ 85 w 130"/>
                      <a:gd name="T25" fmla="*/ 164 h 176"/>
                      <a:gd name="T26" fmla="*/ 73 w 130"/>
                      <a:gd name="T27" fmla="*/ 130 h 176"/>
                      <a:gd name="T28" fmla="*/ 61 w 130"/>
                      <a:gd name="T29" fmla="*/ 126 h 176"/>
                      <a:gd name="T30" fmla="*/ 71 w 130"/>
                      <a:gd name="T31" fmla="*/ 116 h 176"/>
                      <a:gd name="T32" fmla="*/ 91 w 130"/>
                      <a:gd name="T33" fmla="*/ 88 h 176"/>
                      <a:gd name="T34" fmla="*/ 113 w 130"/>
                      <a:gd name="T35" fmla="*/ 34 h 176"/>
                      <a:gd name="T36" fmla="*/ 113 w 130"/>
                      <a:gd name="T37" fmla="*/ 12 h 176"/>
                      <a:gd name="T38" fmla="*/ 101 w 130"/>
                      <a:gd name="T39" fmla="*/ 0 h 176"/>
                      <a:gd name="T40" fmla="*/ 115 w 130"/>
                      <a:gd name="T41" fmla="*/ 20 h 1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76"/>
                      <a:gd name="T65" fmla="*/ 130 w 130"/>
                      <a:gd name="T66" fmla="*/ 176 h 1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76">
                        <a:moveTo>
                          <a:pt x="115" y="20"/>
                        </a:moveTo>
                        <a:cubicBezTo>
                          <a:pt x="110" y="27"/>
                          <a:pt x="108" y="33"/>
                          <a:pt x="101" y="38"/>
                        </a:cubicBezTo>
                        <a:cubicBezTo>
                          <a:pt x="97" y="31"/>
                          <a:pt x="91" y="22"/>
                          <a:pt x="87" y="34"/>
                        </a:cubicBezTo>
                        <a:cubicBezTo>
                          <a:pt x="95" y="36"/>
                          <a:pt x="100" y="40"/>
                          <a:pt x="107" y="42"/>
                        </a:cubicBezTo>
                        <a:cubicBezTo>
                          <a:pt x="100" y="55"/>
                          <a:pt x="95" y="70"/>
                          <a:pt x="85" y="80"/>
                        </a:cubicBezTo>
                        <a:cubicBezTo>
                          <a:pt x="80" y="95"/>
                          <a:pt x="72" y="111"/>
                          <a:pt x="63" y="124"/>
                        </a:cubicBezTo>
                        <a:cubicBezTo>
                          <a:pt x="57" y="121"/>
                          <a:pt x="43" y="116"/>
                          <a:pt x="43" y="116"/>
                        </a:cubicBezTo>
                        <a:cubicBezTo>
                          <a:pt x="48" y="126"/>
                          <a:pt x="50" y="124"/>
                          <a:pt x="59" y="130"/>
                        </a:cubicBezTo>
                        <a:cubicBezTo>
                          <a:pt x="57" y="131"/>
                          <a:pt x="55" y="132"/>
                          <a:pt x="53" y="132"/>
                        </a:cubicBezTo>
                        <a:cubicBezTo>
                          <a:pt x="27" y="136"/>
                          <a:pt x="0" y="133"/>
                          <a:pt x="89" y="136"/>
                        </a:cubicBezTo>
                        <a:cubicBezTo>
                          <a:pt x="77" y="171"/>
                          <a:pt x="90" y="161"/>
                          <a:pt x="39" y="164"/>
                        </a:cubicBezTo>
                        <a:cubicBezTo>
                          <a:pt x="32" y="166"/>
                          <a:pt x="19" y="170"/>
                          <a:pt x="19" y="170"/>
                        </a:cubicBezTo>
                        <a:cubicBezTo>
                          <a:pt x="28" y="176"/>
                          <a:pt x="79" y="165"/>
                          <a:pt x="85" y="164"/>
                        </a:cubicBezTo>
                        <a:cubicBezTo>
                          <a:pt x="88" y="143"/>
                          <a:pt x="98" y="134"/>
                          <a:pt x="73" y="130"/>
                        </a:cubicBezTo>
                        <a:cubicBezTo>
                          <a:pt x="69" y="129"/>
                          <a:pt x="64" y="129"/>
                          <a:pt x="61" y="126"/>
                        </a:cubicBezTo>
                        <a:cubicBezTo>
                          <a:pt x="58" y="122"/>
                          <a:pt x="68" y="120"/>
                          <a:pt x="71" y="116"/>
                        </a:cubicBezTo>
                        <a:cubicBezTo>
                          <a:pt x="79" y="107"/>
                          <a:pt x="84" y="98"/>
                          <a:pt x="91" y="88"/>
                        </a:cubicBezTo>
                        <a:cubicBezTo>
                          <a:pt x="95" y="71"/>
                          <a:pt x="105" y="50"/>
                          <a:pt x="113" y="34"/>
                        </a:cubicBezTo>
                        <a:cubicBezTo>
                          <a:pt x="130" y="40"/>
                          <a:pt x="115" y="16"/>
                          <a:pt x="113" y="12"/>
                        </a:cubicBezTo>
                        <a:cubicBezTo>
                          <a:pt x="110" y="7"/>
                          <a:pt x="101" y="0"/>
                          <a:pt x="101" y="0"/>
                        </a:cubicBezTo>
                        <a:cubicBezTo>
                          <a:pt x="88" y="4"/>
                          <a:pt x="110" y="13"/>
                          <a:pt x="115" y="20"/>
                        </a:cubicBezTo>
                        <a:close/>
                      </a:path>
                    </a:pathLst>
                  </a:custGeom>
                  <a:solidFill>
                    <a:srgbClr val="170F0D"/>
                  </a:solidFill>
                  <a:ln w="9525">
                    <a:noFill/>
                    <a:round/>
                    <a:headEnd/>
                    <a:tailEnd/>
                  </a:ln>
                </p:spPr>
                <p:txBody>
                  <a:bodyPr wrap="none" lIns="18000" tIns="46800" rIns="18000" bIns="46800" anchor="ctr"/>
                  <a:lstStyle/>
                  <a:p>
                    <a:pPr defTabSz="912546"/>
                    <a:endParaRPr>
                      <a:solidFill>
                        <a:srgbClr val="000000"/>
                      </a:solidFill>
                    </a:endParaRPr>
                  </a:p>
                </p:txBody>
              </p:sp>
              <p:sp>
                <p:nvSpPr>
                  <p:cNvPr id="442045" name="Freeform 347"/>
                  <p:cNvSpPr>
                    <a:spLocks/>
                  </p:cNvSpPr>
                  <p:nvPr/>
                </p:nvSpPr>
                <p:spPr bwMode="gray">
                  <a:xfrm>
                    <a:off x="5307" y="1540"/>
                    <a:ext cx="116" cy="31"/>
                  </a:xfrm>
                  <a:custGeom>
                    <a:avLst/>
                    <a:gdLst>
                      <a:gd name="T0" fmla="*/ 113 w 116"/>
                      <a:gd name="T1" fmla="*/ 0 h 31"/>
                      <a:gd name="T2" fmla="*/ 95 w 116"/>
                      <a:gd name="T3" fmla="*/ 12 h 31"/>
                      <a:gd name="T4" fmla="*/ 57 w 116"/>
                      <a:gd name="T5" fmla="*/ 20 h 31"/>
                      <a:gd name="T6" fmla="*/ 29 w 116"/>
                      <a:gd name="T7" fmla="*/ 24 h 31"/>
                      <a:gd name="T8" fmla="*/ 113 w 116"/>
                      <a:gd name="T9" fmla="*/ 8 h 31"/>
                      <a:gd name="T10" fmla="*/ 113 w 116"/>
                      <a:gd name="T11" fmla="*/ 0 h 31"/>
                      <a:gd name="T12" fmla="*/ 0 60000 65536"/>
                      <a:gd name="T13" fmla="*/ 0 60000 65536"/>
                      <a:gd name="T14" fmla="*/ 0 60000 65536"/>
                      <a:gd name="T15" fmla="*/ 0 60000 65536"/>
                      <a:gd name="T16" fmla="*/ 0 60000 65536"/>
                      <a:gd name="T17" fmla="*/ 0 60000 65536"/>
                      <a:gd name="T18" fmla="*/ 0 w 116"/>
                      <a:gd name="T19" fmla="*/ 0 h 31"/>
                      <a:gd name="T20" fmla="*/ 116 w 116"/>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116" h="31">
                        <a:moveTo>
                          <a:pt x="113" y="0"/>
                        </a:moveTo>
                        <a:cubicBezTo>
                          <a:pt x="111" y="7"/>
                          <a:pt x="104" y="16"/>
                          <a:pt x="95" y="12"/>
                        </a:cubicBezTo>
                        <a:lnTo>
                          <a:pt x="57" y="20"/>
                        </a:lnTo>
                        <a:cubicBezTo>
                          <a:pt x="55" y="20"/>
                          <a:pt x="0" y="14"/>
                          <a:pt x="29" y="24"/>
                        </a:cubicBezTo>
                        <a:cubicBezTo>
                          <a:pt x="63" y="23"/>
                          <a:pt x="90" y="31"/>
                          <a:pt x="113" y="8"/>
                        </a:cubicBezTo>
                        <a:cubicBezTo>
                          <a:pt x="115" y="1"/>
                          <a:pt x="116" y="3"/>
                          <a:pt x="113" y="0"/>
                        </a:cubicBezTo>
                        <a:close/>
                      </a:path>
                    </a:pathLst>
                  </a:custGeom>
                  <a:solidFill>
                    <a:srgbClr val="170F0D"/>
                  </a:solidFill>
                  <a:ln w="9525">
                    <a:noFill/>
                    <a:round/>
                    <a:headEnd/>
                    <a:tailEnd/>
                  </a:ln>
                </p:spPr>
                <p:txBody>
                  <a:bodyPr wrap="none" lIns="18000" tIns="46800" rIns="18000" bIns="46800" anchor="ctr"/>
                  <a:lstStyle/>
                  <a:p>
                    <a:pPr defTabSz="912546"/>
                    <a:endParaRPr>
                      <a:solidFill>
                        <a:srgbClr val="000000"/>
                      </a:solidFill>
                    </a:endParaRPr>
                  </a:p>
                </p:txBody>
              </p:sp>
              <p:sp>
                <p:nvSpPr>
                  <p:cNvPr id="442046" name="Freeform 348"/>
                  <p:cNvSpPr>
                    <a:spLocks/>
                  </p:cNvSpPr>
                  <p:nvPr/>
                </p:nvSpPr>
                <p:spPr bwMode="gray">
                  <a:xfrm>
                    <a:off x="5350" y="1202"/>
                    <a:ext cx="24" cy="74"/>
                  </a:xfrm>
                  <a:custGeom>
                    <a:avLst/>
                    <a:gdLst>
                      <a:gd name="T0" fmla="*/ 22 w 24"/>
                      <a:gd name="T1" fmla="*/ 32 h 74"/>
                      <a:gd name="T2" fmla="*/ 4 w 24"/>
                      <a:gd name="T3" fmla="*/ 0 h 74"/>
                      <a:gd name="T4" fmla="*/ 0 w 24"/>
                      <a:gd name="T5" fmla="*/ 6 h 74"/>
                      <a:gd name="T6" fmla="*/ 2 w 24"/>
                      <a:gd name="T7" fmla="*/ 12 h 74"/>
                      <a:gd name="T8" fmla="*/ 24 w 24"/>
                      <a:gd name="T9" fmla="*/ 42 h 74"/>
                      <a:gd name="T10" fmla="*/ 22 w 24"/>
                      <a:gd name="T11" fmla="*/ 32 h 74"/>
                      <a:gd name="T12" fmla="*/ 0 60000 65536"/>
                      <a:gd name="T13" fmla="*/ 0 60000 65536"/>
                      <a:gd name="T14" fmla="*/ 0 60000 65536"/>
                      <a:gd name="T15" fmla="*/ 0 60000 65536"/>
                      <a:gd name="T16" fmla="*/ 0 60000 65536"/>
                      <a:gd name="T17" fmla="*/ 0 60000 65536"/>
                      <a:gd name="T18" fmla="*/ 0 w 24"/>
                      <a:gd name="T19" fmla="*/ 0 h 74"/>
                      <a:gd name="T20" fmla="*/ 24 w 24"/>
                      <a:gd name="T21" fmla="*/ 74 h 74"/>
                    </a:gdLst>
                    <a:ahLst/>
                    <a:cxnLst>
                      <a:cxn ang="T12">
                        <a:pos x="T0" y="T1"/>
                      </a:cxn>
                      <a:cxn ang="T13">
                        <a:pos x="T2" y="T3"/>
                      </a:cxn>
                      <a:cxn ang="T14">
                        <a:pos x="T4" y="T5"/>
                      </a:cxn>
                      <a:cxn ang="T15">
                        <a:pos x="T6" y="T7"/>
                      </a:cxn>
                      <a:cxn ang="T16">
                        <a:pos x="T8" y="T9"/>
                      </a:cxn>
                      <a:cxn ang="T17">
                        <a:pos x="T10" y="T11"/>
                      </a:cxn>
                    </a:cxnLst>
                    <a:rect l="T18" t="T19" r="T20" b="T21"/>
                    <a:pathLst>
                      <a:path w="24" h="74">
                        <a:moveTo>
                          <a:pt x="22" y="32"/>
                        </a:moveTo>
                        <a:cubicBezTo>
                          <a:pt x="20" y="16"/>
                          <a:pt x="16" y="9"/>
                          <a:pt x="4" y="0"/>
                        </a:cubicBezTo>
                        <a:cubicBezTo>
                          <a:pt x="3" y="2"/>
                          <a:pt x="0" y="4"/>
                          <a:pt x="0" y="6"/>
                        </a:cubicBezTo>
                        <a:cubicBezTo>
                          <a:pt x="0" y="8"/>
                          <a:pt x="2" y="12"/>
                          <a:pt x="2" y="12"/>
                        </a:cubicBezTo>
                        <a:cubicBezTo>
                          <a:pt x="3" y="16"/>
                          <a:pt x="13" y="74"/>
                          <a:pt x="24" y="42"/>
                        </a:cubicBezTo>
                        <a:cubicBezTo>
                          <a:pt x="20" y="29"/>
                          <a:pt x="17" y="27"/>
                          <a:pt x="22" y="32"/>
                        </a:cubicBezTo>
                        <a:close/>
                      </a:path>
                    </a:pathLst>
                  </a:custGeom>
                  <a:solidFill>
                    <a:srgbClr val="323D50"/>
                  </a:solidFill>
                  <a:ln w="9525">
                    <a:noFill/>
                    <a:round/>
                    <a:headEnd/>
                    <a:tailEnd/>
                  </a:ln>
                </p:spPr>
                <p:txBody>
                  <a:bodyPr wrap="none" lIns="18000" tIns="46800" rIns="18000" bIns="46800" anchor="ctr"/>
                  <a:lstStyle/>
                  <a:p>
                    <a:pPr defTabSz="912546"/>
                    <a:endParaRPr>
                      <a:solidFill>
                        <a:srgbClr val="000000"/>
                      </a:solidFill>
                    </a:endParaRPr>
                  </a:p>
                </p:txBody>
              </p:sp>
              <p:sp>
                <p:nvSpPr>
                  <p:cNvPr id="442047" name="Freeform 349"/>
                  <p:cNvSpPr>
                    <a:spLocks/>
                  </p:cNvSpPr>
                  <p:nvPr/>
                </p:nvSpPr>
                <p:spPr bwMode="gray">
                  <a:xfrm>
                    <a:off x="5420" y="1385"/>
                    <a:ext cx="98" cy="184"/>
                  </a:xfrm>
                  <a:custGeom>
                    <a:avLst/>
                    <a:gdLst>
                      <a:gd name="T0" fmla="*/ 98 w 98"/>
                      <a:gd name="T1" fmla="*/ 169 h 184"/>
                      <a:gd name="T2" fmla="*/ 92 w 98"/>
                      <a:gd name="T3" fmla="*/ 171 h 184"/>
                      <a:gd name="T4" fmla="*/ 88 w 98"/>
                      <a:gd name="T5" fmla="*/ 163 h 184"/>
                      <a:gd name="T6" fmla="*/ 64 w 98"/>
                      <a:gd name="T7" fmla="*/ 63 h 184"/>
                      <a:gd name="T8" fmla="*/ 78 w 98"/>
                      <a:gd name="T9" fmla="*/ 49 h 184"/>
                      <a:gd name="T10" fmla="*/ 60 w 98"/>
                      <a:gd name="T11" fmla="*/ 45 h 184"/>
                      <a:gd name="T12" fmla="*/ 56 w 98"/>
                      <a:gd name="T13" fmla="*/ 7 h 184"/>
                      <a:gd name="T14" fmla="*/ 54 w 98"/>
                      <a:gd name="T15" fmla="*/ 1 h 184"/>
                      <a:gd name="T16" fmla="*/ 48 w 98"/>
                      <a:gd name="T17" fmla="*/ 9 h 184"/>
                      <a:gd name="T18" fmla="*/ 14 w 98"/>
                      <a:gd name="T19" fmla="*/ 43 h 184"/>
                      <a:gd name="T20" fmla="*/ 24 w 98"/>
                      <a:gd name="T21" fmla="*/ 43 h 184"/>
                      <a:gd name="T22" fmla="*/ 50 w 98"/>
                      <a:gd name="T23" fmla="*/ 27 h 184"/>
                      <a:gd name="T24" fmla="*/ 56 w 98"/>
                      <a:gd name="T25" fmla="*/ 45 h 184"/>
                      <a:gd name="T26" fmla="*/ 60 w 98"/>
                      <a:gd name="T27" fmla="*/ 61 h 184"/>
                      <a:gd name="T28" fmla="*/ 36 w 98"/>
                      <a:gd name="T29" fmla="*/ 69 h 184"/>
                      <a:gd name="T30" fmla="*/ 54 w 98"/>
                      <a:gd name="T31" fmla="*/ 67 h 184"/>
                      <a:gd name="T32" fmla="*/ 68 w 98"/>
                      <a:gd name="T33" fmla="*/ 83 h 184"/>
                      <a:gd name="T34" fmla="*/ 64 w 98"/>
                      <a:gd name="T35" fmla="*/ 97 h 184"/>
                      <a:gd name="T36" fmla="*/ 54 w 98"/>
                      <a:gd name="T37" fmla="*/ 101 h 184"/>
                      <a:gd name="T38" fmla="*/ 70 w 98"/>
                      <a:gd name="T39" fmla="*/ 109 h 184"/>
                      <a:gd name="T40" fmla="*/ 74 w 98"/>
                      <a:gd name="T41" fmla="*/ 121 h 184"/>
                      <a:gd name="T42" fmla="*/ 80 w 98"/>
                      <a:gd name="T43" fmla="*/ 161 h 184"/>
                      <a:gd name="T44" fmla="*/ 36 w 98"/>
                      <a:gd name="T45" fmla="*/ 169 h 184"/>
                      <a:gd name="T46" fmla="*/ 14 w 98"/>
                      <a:gd name="T47" fmla="*/ 177 h 184"/>
                      <a:gd name="T48" fmla="*/ 6 w 98"/>
                      <a:gd name="T49" fmla="*/ 171 h 184"/>
                      <a:gd name="T50" fmla="*/ 12 w 98"/>
                      <a:gd name="T51" fmla="*/ 179 h 184"/>
                      <a:gd name="T52" fmla="*/ 6 w 98"/>
                      <a:gd name="T53" fmla="*/ 183 h 184"/>
                      <a:gd name="T54" fmla="*/ 30 w 98"/>
                      <a:gd name="T55" fmla="*/ 177 h 184"/>
                      <a:gd name="T56" fmla="*/ 84 w 98"/>
                      <a:gd name="T57" fmla="*/ 169 h 184"/>
                      <a:gd name="T58" fmla="*/ 98 w 98"/>
                      <a:gd name="T59" fmla="*/ 169 h 1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8"/>
                      <a:gd name="T91" fmla="*/ 0 h 184"/>
                      <a:gd name="T92" fmla="*/ 98 w 98"/>
                      <a:gd name="T93" fmla="*/ 184 h 1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8" h="184">
                        <a:moveTo>
                          <a:pt x="98" y="169"/>
                        </a:moveTo>
                        <a:cubicBezTo>
                          <a:pt x="96" y="170"/>
                          <a:pt x="94" y="172"/>
                          <a:pt x="92" y="171"/>
                        </a:cubicBezTo>
                        <a:cubicBezTo>
                          <a:pt x="89" y="169"/>
                          <a:pt x="88" y="163"/>
                          <a:pt x="88" y="163"/>
                        </a:cubicBezTo>
                        <a:cubicBezTo>
                          <a:pt x="80" y="130"/>
                          <a:pt x="71" y="97"/>
                          <a:pt x="64" y="63"/>
                        </a:cubicBezTo>
                        <a:cubicBezTo>
                          <a:pt x="63" y="57"/>
                          <a:pt x="78" y="49"/>
                          <a:pt x="78" y="49"/>
                        </a:cubicBezTo>
                        <a:cubicBezTo>
                          <a:pt x="69" y="46"/>
                          <a:pt x="68" y="50"/>
                          <a:pt x="60" y="45"/>
                        </a:cubicBezTo>
                        <a:cubicBezTo>
                          <a:pt x="55" y="26"/>
                          <a:pt x="54" y="35"/>
                          <a:pt x="56" y="7"/>
                        </a:cubicBezTo>
                        <a:cubicBezTo>
                          <a:pt x="55" y="5"/>
                          <a:pt x="56" y="0"/>
                          <a:pt x="54" y="1"/>
                        </a:cubicBezTo>
                        <a:cubicBezTo>
                          <a:pt x="51" y="2"/>
                          <a:pt x="50" y="7"/>
                          <a:pt x="48" y="9"/>
                        </a:cubicBezTo>
                        <a:cubicBezTo>
                          <a:pt x="41" y="17"/>
                          <a:pt x="24" y="40"/>
                          <a:pt x="14" y="43"/>
                        </a:cubicBezTo>
                        <a:cubicBezTo>
                          <a:pt x="0" y="57"/>
                          <a:pt x="18" y="45"/>
                          <a:pt x="24" y="43"/>
                        </a:cubicBezTo>
                        <a:cubicBezTo>
                          <a:pt x="36" y="31"/>
                          <a:pt x="35" y="31"/>
                          <a:pt x="50" y="27"/>
                        </a:cubicBezTo>
                        <a:cubicBezTo>
                          <a:pt x="59" y="41"/>
                          <a:pt x="60" y="34"/>
                          <a:pt x="56" y="45"/>
                        </a:cubicBezTo>
                        <a:cubicBezTo>
                          <a:pt x="57" y="48"/>
                          <a:pt x="61" y="59"/>
                          <a:pt x="60" y="61"/>
                        </a:cubicBezTo>
                        <a:cubicBezTo>
                          <a:pt x="56" y="71"/>
                          <a:pt x="30" y="69"/>
                          <a:pt x="36" y="69"/>
                        </a:cubicBezTo>
                        <a:cubicBezTo>
                          <a:pt x="42" y="69"/>
                          <a:pt x="48" y="68"/>
                          <a:pt x="54" y="67"/>
                        </a:cubicBezTo>
                        <a:cubicBezTo>
                          <a:pt x="62" y="75"/>
                          <a:pt x="65" y="72"/>
                          <a:pt x="68" y="83"/>
                        </a:cubicBezTo>
                        <a:cubicBezTo>
                          <a:pt x="67" y="88"/>
                          <a:pt x="68" y="94"/>
                          <a:pt x="64" y="97"/>
                        </a:cubicBezTo>
                        <a:cubicBezTo>
                          <a:pt x="57" y="103"/>
                          <a:pt x="39" y="96"/>
                          <a:pt x="54" y="101"/>
                        </a:cubicBezTo>
                        <a:cubicBezTo>
                          <a:pt x="62" y="98"/>
                          <a:pt x="66" y="101"/>
                          <a:pt x="70" y="109"/>
                        </a:cubicBezTo>
                        <a:cubicBezTo>
                          <a:pt x="72" y="113"/>
                          <a:pt x="74" y="121"/>
                          <a:pt x="74" y="121"/>
                        </a:cubicBezTo>
                        <a:cubicBezTo>
                          <a:pt x="75" y="135"/>
                          <a:pt x="78" y="147"/>
                          <a:pt x="80" y="161"/>
                        </a:cubicBezTo>
                        <a:cubicBezTo>
                          <a:pt x="60" y="168"/>
                          <a:pt x="71" y="167"/>
                          <a:pt x="36" y="169"/>
                        </a:cubicBezTo>
                        <a:cubicBezTo>
                          <a:pt x="28" y="171"/>
                          <a:pt x="22" y="173"/>
                          <a:pt x="14" y="177"/>
                        </a:cubicBezTo>
                        <a:cubicBezTo>
                          <a:pt x="9" y="163"/>
                          <a:pt x="12" y="161"/>
                          <a:pt x="6" y="171"/>
                        </a:cubicBezTo>
                        <a:cubicBezTo>
                          <a:pt x="8" y="174"/>
                          <a:pt x="12" y="176"/>
                          <a:pt x="12" y="179"/>
                        </a:cubicBezTo>
                        <a:cubicBezTo>
                          <a:pt x="12" y="181"/>
                          <a:pt x="4" y="182"/>
                          <a:pt x="6" y="183"/>
                        </a:cubicBezTo>
                        <a:cubicBezTo>
                          <a:pt x="10" y="184"/>
                          <a:pt x="27" y="178"/>
                          <a:pt x="30" y="177"/>
                        </a:cubicBezTo>
                        <a:cubicBezTo>
                          <a:pt x="49" y="171"/>
                          <a:pt x="63" y="170"/>
                          <a:pt x="84" y="169"/>
                        </a:cubicBezTo>
                        <a:cubicBezTo>
                          <a:pt x="93" y="172"/>
                          <a:pt x="88" y="172"/>
                          <a:pt x="98" y="169"/>
                        </a:cubicBezTo>
                        <a:close/>
                      </a:path>
                    </a:pathLst>
                  </a:custGeom>
                  <a:solidFill>
                    <a:srgbClr val="170F0D"/>
                  </a:solidFill>
                  <a:ln w="9525">
                    <a:noFill/>
                    <a:round/>
                    <a:headEnd/>
                    <a:tailEnd/>
                  </a:ln>
                </p:spPr>
                <p:txBody>
                  <a:bodyPr wrap="none" lIns="18000" tIns="46800" rIns="18000" bIns="46800" anchor="ctr"/>
                  <a:lstStyle/>
                  <a:p>
                    <a:pPr defTabSz="912546"/>
                    <a:endParaRPr>
                      <a:solidFill>
                        <a:srgbClr val="000000"/>
                      </a:solidFill>
                    </a:endParaRPr>
                  </a:p>
                </p:txBody>
              </p:sp>
              <p:sp>
                <p:nvSpPr>
                  <p:cNvPr id="442048" name="Freeform 350"/>
                  <p:cNvSpPr>
                    <a:spLocks/>
                  </p:cNvSpPr>
                  <p:nvPr/>
                </p:nvSpPr>
                <p:spPr bwMode="gray">
                  <a:xfrm>
                    <a:off x="5504" y="1531"/>
                    <a:ext cx="17" cy="239"/>
                  </a:xfrm>
                  <a:custGeom>
                    <a:avLst/>
                    <a:gdLst>
                      <a:gd name="T0" fmla="*/ 10 w 17"/>
                      <a:gd name="T1" fmla="*/ 17 h 239"/>
                      <a:gd name="T2" fmla="*/ 12 w 17"/>
                      <a:gd name="T3" fmla="*/ 61 h 239"/>
                      <a:gd name="T4" fmla="*/ 12 w 17"/>
                      <a:gd name="T5" fmla="*/ 93 h 239"/>
                      <a:gd name="T6" fmla="*/ 12 w 17"/>
                      <a:gd name="T7" fmla="*/ 183 h 239"/>
                      <a:gd name="T8" fmla="*/ 0 w 17"/>
                      <a:gd name="T9" fmla="*/ 239 h 239"/>
                      <a:gd name="T10" fmla="*/ 10 w 17"/>
                      <a:gd name="T11" fmla="*/ 207 h 239"/>
                      <a:gd name="T12" fmla="*/ 10 w 17"/>
                      <a:gd name="T13" fmla="*/ 171 h 239"/>
                      <a:gd name="T14" fmla="*/ 4 w 17"/>
                      <a:gd name="T15" fmla="*/ 123 h 239"/>
                      <a:gd name="T16" fmla="*/ 4 w 17"/>
                      <a:gd name="T17" fmla="*/ 59 h 239"/>
                      <a:gd name="T18" fmla="*/ 6 w 17"/>
                      <a:gd name="T19" fmla="*/ 25 h 239"/>
                      <a:gd name="T20" fmla="*/ 10 w 17"/>
                      <a:gd name="T21" fmla="*/ 17 h 2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39"/>
                      <a:gd name="T35" fmla="*/ 17 w 17"/>
                      <a:gd name="T36" fmla="*/ 239 h 2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39">
                        <a:moveTo>
                          <a:pt x="10" y="17"/>
                        </a:moveTo>
                        <a:lnTo>
                          <a:pt x="12" y="61"/>
                        </a:lnTo>
                        <a:lnTo>
                          <a:pt x="12" y="93"/>
                        </a:lnTo>
                        <a:lnTo>
                          <a:pt x="12" y="183"/>
                        </a:lnTo>
                        <a:cubicBezTo>
                          <a:pt x="12" y="191"/>
                          <a:pt x="17" y="233"/>
                          <a:pt x="0" y="239"/>
                        </a:cubicBezTo>
                        <a:cubicBezTo>
                          <a:pt x="6" y="229"/>
                          <a:pt x="8" y="218"/>
                          <a:pt x="10" y="207"/>
                        </a:cubicBezTo>
                        <a:cubicBezTo>
                          <a:pt x="5" y="188"/>
                          <a:pt x="4" y="188"/>
                          <a:pt x="10" y="171"/>
                        </a:cubicBezTo>
                        <a:cubicBezTo>
                          <a:pt x="6" y="127"/>
                          <a:pt x="10" y="142"/>
                          <a:pt x="4" y="123"/>
                        </a:cubicBezTo>
                        <a:cubicBezTo>
                          <a:pt x="8" y="101"/>
                          <a:pt x="9" y="81"/>
                          <a:pt x="4" y="59"/>
                        </a:cubicBezTo>
                        <a:cubicBezTo>
                          <a:pt x="5" y="48"/>
                          <a:pt x="5" y="36"/>
                          <a:pt x="6" y="25"/>
                        </a:cubicBezTo>
                        <a:cubicBezTo>
                          <a:pt x="6" y="22"/>
                          <a:pt x="16" y="0"/>
                          <a:pt x="10" y="17"/>
                        </a:cubicBezTo>
                        <a:close/>
                      </a:path>
                    </a:pathLst>
                  </a:custGeom>
                  <a:solidFill>
                    <a:srgbClr val="0E0F12"/>
                  </a:solidFill>
                  <a:ln w="9525">
                    <a:noFill/>
                    <a:round/>
                    <a:headEnd/>
                    <a:tailEnd/>
                  </a:ln>
                </p:spPr>
                <p:txBody>
                  <a:bodyPr wrap="none" lIns="18000" tIns="46800" rIns="18000" bIns="46800" anchor="ctr"/>
                  <a:lstStyle/>
                  <a:p>
                    <a:pPr defTabSz="912546"/>
                    <a:endParaRPr>
                      <a:solidFill>
                        <a:srgbClr val="000000"/>
                      </a:solidFill>
                    </a:endParaRPr>
                  </a:p>
                </p:txBody>
              </p:sp>
              <p:sp>
                <p:nvSpPr>
                  <p:cNvPr id="442049" name="Freeform 351"/>
                  <p:cNvSpPr>
                    <a:spLocks/>
                  </p:cNvSpPr>
                  <p:nvPr/>
                </p:nvSpPr>
                <p:spPr bwMode="gray">
                  <a:xfrm>
                    <a:off x="5340" y="1150"/>
                    <a:ext cx="114" cy="192"/>
                  </a:xfrm>
                  <a:custGeom>
                    <a:avLst/>
                    <a:gdLst>
                      <a:gd name="T0" fmla="*/ 36 w 114"/>
                      <a:gd name="T1" fmla="*/ 10 h 192"/>
                      <a:gd name="T2" fmla="*/ 10 w 114"/>
                      <a:gd name="T3" fmla="*/ 22 h 192"/>
                      <a:gd name="T4" fmla="*/ 8 w 114"/>
                      <a:gd name="T5" fmla="*/ 52 h 192"/>
                      <a:gd name="T6" fmla="*/ 20 w 114"/>
                      <a:gd name="T7" fmla="*/ 56 h 192"/>
                      <a:gd name="T8" fmla="*/ 22 w 114"/>
                      <a:gd name="T9" fmla="*/ 60 h 192"/>
                      <a:gd name="T10" fmla="*/ 36 w 114"/>
                      <a:gd name="T11" fmla="*/ 82 h 192"/>
                      <a:gd name="T12" fmla="*/ 40 w 114"/>
                      <a:gd name="T13" fmla="*/ 110 h 192"/>
                      <a:gd name="T14" fmla="*/ 52 w 114"/>
                      <a:gd name="T15" fmla="*/ 138 h 192"/>
                      <a:gd name="T16" fmla="*/ 74 w 114"/>
                      <a:gd name="T17" fmla="*/ 192 h 192"/>
                      <a:gd name="T18" fmla="*/ 114 w 114"/>
                      <a:gd name="T19" fmla="*/ 184 h 192"/>
                      <a:gd name="T20" fmla="*/ 108 w 114"/>
                      <a:gd name="T21" fmla="*/ 114 h 192"/>
                      <a:gd name="T22" fmla="*/ 98 w 114"/>
                      <a:gd name="T23" fmla="*/ 96 h 192"/>
                      <a:gd name="T24" fmla="*/ 92 w 114"/>
                      <a:gd name="T25" fmla="*/ 88 h 192"/>
                      <a:gd name="T26" fmla="*/ 94 w 114"/>
                      <a:gd name="T27" fmla="*/ 34 h 192"/>
                      <a:gd name="T28" fmla="*/ 76 w 114"/>
                      <a:gd name="T29" fmla="*/ 2 h 192"/>
                      <a:gd name="T30" fmla="*/ 36 w 114"/>
                      <a:gd name="T31" fmla="*/ 10 h 19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4"/>
                      <a:gd name="T49" fmla="*/ 0 h 192"/>
                      <a:gd name="T50" fmla="*/ 114 w 114"/>
                      <a:gd name="T51" fmla="*/ 192 h 19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4" h="192">
                        <a:moveTo>
                          <a:pt x="36" y="10"/>
                        </a:moveTo>
                        <a:cubicBezTo>
                          <a:pt x="10" y="6"/>
                          <a:pt x="5" y="0"/>
                          <a:pt x="10" y="22"/>
                        </a:cubicBezTo>
                        <a:cubicBezTo>
                          <a:pt x="8" y="32"/>
                          <a:pt x="0" y="45"/>
                          <a:pt x="8" y="52"/>
                        </a:cubicBezTo>
                        <a:cubicBezTo>
                          <a:pt x="11" y="55"/>
                          <a:pt x="20" y="56"/>
                          <a:pt x="20" y="56"/>
                        </a:cubicBezTo>
                        <a:cubicBezTo>
                          <a:pt x="25" y="63"/>
                          <a:pt x="26" y="64"/>
                          <a:pt x="22" y="60"/>
                        </a:cubicBezTo>
                        <a:lnTo>
                          <a:pt x="36" y="82"/>
                        </a:lnTo>
                        <a:lnTo>
                          <a:pt x="40" y="110"/>
                        </a:lnTo>
                        <a:lnTo>
                          <a:pt x="52" y="138"/>
                        </a:lnTo>
                        <a:lnTo>
                          <a:pt x="74" y="192"/>
                        </a:lnTo>
                        <a:lnTo>
                          <a:pt x="114" y="184"/>
                        </a:lnTo>
                        <a:lnTo>
                          <a:pt x="108" y="114"/>
                        </a:lnTo>
                        <a:cubicBezTo>
                          <a:pt x="105" y="108"/>
                          <a:pt x="102" y="102"/>
                          <a:pt x="98" y="96"/>
                        </a:cubicBezTo>
                        <a:cubicBezTo>
                          <a:pt x="96" y="93"/>
                          <a:pt x="92" y="88"/>
                          <a:pt x="92" y="88"/>
                        </a:cubicBezTo>
                        <a:cubicBezTo>
                          <a:pt x="99" y="67"/>
                          <a:pt x="101" y="55"/>
                          <a:pt x="94" y="34"/>
                        </a:cubicBezTo>
                        <a:cubicBezTo>
                          <a:pt x="104" y="15"/>
                          <a:pt x="92" y="7"/>
                          <a:pt x="76" y="2"/>
                        </a:cubicBezTo>
                        <a:cubicBezTo>
                          <a:pt x="61" y="3"/>
                          <a:pt x="50" y="5"/>
                          <a:pt x="36" y="10"/>
                        </a:cubicBezTo>
                        <a:close/>
                      </a:path>
                    </a:pathLst>
                  </a:custGeom>
                  <a:solidFill>
                    <a:srgbClr val="D7B491"/>
                  </a:solidFill>
                  <a:ln w="9525">
                    <a:noFill/>
                    <a:round/>
                    <a:headEnd/>
                    <a:tailEnd/>
                  </a:ln>
                </p:spPr>
                <p:txBody>
                  <a:bodyPr wrap="none" lIns="18000" tIns="46800" rIns="18000" bIns="46800" anchor="ctr"/>
                  <a:lstStyle/>
                  <a:p>
                    <a:pPr defTabSz="912546"/>
                    <a:endParaRPr>
                      <a:solidFill>
                        <a:srgbClr val="000000"/>
                      </a:solidFill>
                    </a:endParaRPr>
                  </a:p>
                </p:txBody>
              </p:sp>
              <p:sp>
                <p:nvSpPr>
                  <p:cNvPr id="442050" name="Freeform 352"/>
                  <p:cNvSpPr>
                    <a:spLocks/>
                  </p:cNvSpPr>
                  <p:nvPr/>
                </p:nvSpPr>
                <p:spPr bwMode="gray">
                  <a:xfrm>
                    <a:off x="5346" y="1197"/>
                    <a:ext cx="60" cy="135"/>
                  </a:xfrm>
                  <a:custGeom>
                    <a:avLst/>
                    <a:gdLst>
                      <a:gd name="T0" fmla="*/ 12 w 60"/>
                      <a:gd name="T1" fmla="*/ 125 h 135"/>
                      <a:gd name="T2" fmla="*/ 22 w 60"/>
                      <a:gd name="T3" fmla="*/ 99 h 135"/>
                      <a:gd name="T4" fmla="*/ 10 w 60"/>
                      <a:gd name="T5" fmla="*/ 73 h 135"/>
                      <a:gd name="T6" fmla="*/ 2 w 60"/>
                      <a:gd name="T7" fmla="*/ 59 h 135"/>
                      <a:gd name="T8" fmla="*/ 0 w 60"/>
                      <a:gd name="T9" fmla="*/ 39 h 135"/>
                      <a:gd name="T10" fmla="*/ 8 w 60"/>
                      <a:gd name="T11" fmla="*/ 23 h 135"/>
                      <a:gd name="T12" fmla="*/ 8 w 60"/>
                      <a:gd name="T13" fmla="*/ 49 h 135"/>
                      <a:gd name="T14" fmla="*/ 18 w 60"/>
                      <a:gd name="T15" fmla="*/ 37 h 135"/>
                      <a:gd name="T16" fmla="*/ 34 w 60"/>
                      <a:gd name="T17" fmla="*/ 33 h 135"/>
                      <a:gd name="T18" fmla="*/ 20 w 60"/>
                      <a:gd name="T19" fmla="*/ 51 h 135"/>
                      <a:gd name="T20" fmla="*/ 42 w 60"/>
                      <a:gd name="T21" fmla="*/ 53 h 135"/>
                      <a:gd name="T22" fmla="*/ 44 w 60"/>
                      <a:gd name="T23" fmla="*/ 53 h 135"/>
                      <a:gd name="T24" fmla="*/ 44 w 60"/>
                      <a:gd name="T25" fmla="*/ 67 h 135"/>
                      <a:gd name="T26" fmla="*/ 38 w 60"/>
                      <a:gd name="T27" fmla="*/ 77 h 135"/>
                      <a:gd name="T28" fmla="*/ 40 w 60"/>
                      <a:gd name="T29" fmla="*/ 99 h 135"/>
                      <a:gd name="T30" fmla="*/ 40 w 60"/>
                      <a:gd name="T31" fmla="*/ 135 h 135"/>
                      <a:gd name="T32" fmla="*/ 12 w 60"/>
                      <a:gd name="T33" fmla="*/ 125 h 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135"/>
                      <a:gd name="T53" fmla="*/ 60 w 60"/>
                      <a:gd name="T54" fmla="*/ 135 h 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135">
                        <a:moveTo>
                          <a:pt x="12" y="125"/>
                        </a:moveTo>
                        <a:lnTo>
                          <a:pt x="22" y="99"/>
                        </a:lnTo>
                        <a:cubicBezTo>
                          <a:pt x="18" y="90"/>
                          <a:pt x="14" y="82"/>
                          <a:pt x="10" y="73"/>
                        </a:cubicBezTo>
                        <a:cubicBezTo>
                          <a:pt x="8" y="68"/>
                          <a:pt x="2" y="59"/>
                          <a:pt x="2" y="59"/>
                        </a:cubicBezTo>
                        <a:lnTo>
                          <a:pt x="0" y="39"/>
                        </a:lnTo>
                        <a:cubicBezTo>
                          <a:pt x="1" y="21"/>
                          <a:pt x="8" y="0"/>
                          <a:pt x="8" y="23"/>
                        </a:cubicBezTo>
                        <a:lnTo>
                          <a:pt x="8" y="49"/>
                        </a:lnTo>
                        <a:lnTo>
                          <a:pt x="18" y="37"/>
                        </a:lnTo>
                        <a:lnTo>
                          <a:pt x="34" y="33"/>
                        </a:lnTo>
                        <a:cubicBezTo>
                          <a:pt x="50" y="54"/>
                          <a:pt x="20" y="32"/>
                          <a:pt x="20" y="51"/>
                        </a:cubicBezTo>
                        <a:cubicBezTo>
                          <a:pt x="48" y="45"/>
                          <a:pt x="32" y="43"/>
                          <a:pt x="42" y="53"/>
                        </a:cubicBezTo>
                        <a:cubicBezTo>
                          <a:pt x="42" y="53"/>
                          <a:pt x="43" y="53"/>
                          <a:pt x="44" y="53"/>
                        </a:cubicBezTo>
                        <a:cubicBezTo>
                          <a:pt x="47" y="57"/>
                          <a:pt x="60" y="83"/>
                          <a:pt x="44" y="67"/>
                        </a:cubicBezTo>
                        <a:cubicBezTo>
                          <a:pt x="35" y="70"/>
                          <a:pt x="38" y="67"/>
                          <a:pt x="38" y="77"/>
                        </a:cubicBezTo>
                        <a:lnTo>
                          <a:pt x="40" y="99"/>
                        </a:lnTo>
                        <a:lnTo>
                          <a:pt x="40" y="135"/>
                        </a:lnTo>
                        <a:lnTo>
                          <a:pt x="12" y="125"/>
                        </a:lnTo>
                        <a:close/>
                      </a:path>
                    </a:pathLst>
                  </a:custGeom>
                  <a:solidFill>
                    <a:srgbClr val="DFC4A9"/>
                  </a:solidFill>
                  <a:ln w="9525">
                    <a:noFill/>
                    <a:round/>
                    <a:headEnd/>
                    <a:tailEnd/>
                  </a:ln>
                </p:spPr>
                <p:txBody>
                  <a:bodyPr wrap="none" lIns="18000" tIns="46800" rIns="18000" bIns="46800" anchor="ctr"/>
                  <a:lstStyle/>
                  <a:p>
                    <a:pPr defTabSz="912546"/>
                    <a:endParaRPr>
                      <a:solidFill>
                        <a:srgbClr val="000000"/>
                      </a:solidFill>
                    </a:endParaRPr>
                  </a:p>
                </p:txBody>
              </p:sp>
              <p:sp>
                <p:nvSpPr>
                  <p:cNvPr id="442051" name="Freeform 353"/>
                  <p:cNvSpPr>
                    <a:spLocks/>
                  </p:cNvSpPr>
                  <p:nvPr/>
                </p:nvSpPr>
                <p:spPr bwMode="gray">
                  <a:xfrm>
                    <a:off x="5334" y="1097"/>
                    <a:ext cx="112" cy="123"/>
                  </a:xfrm>
                  <a:custGeom>
                    <a:avLst/>
                    <a:gdLst>
                      <a:gd name="T0" fmla="*/ 44 w 112"/>
                      <a:gd name="T1" fmla="*/ 15 h 123"/>
                      <a:gd name="T2" fmla="*/ 12 w 112"/>
                      <a:gd name="T3" fmla="*/ 15 h 123"/>
                      <a:gd name="T4" fmla="*/ 8 w 112"/>
                      <a:gd name="T5" fmla="*/ 37 h 123"/>
                      <a:gd name="T6" fmla="*/ 0 w 112"/>
                      <a:gd name="T7" fmla="*/ 57 h 123"/>
                      <a:gd name="T8" fmla="*/ 20 w 112"/>
                      <a:gd name="T9" fmla="*/ 99 h 123"/>
                      <a:gd name="T10" fmla="*/ 26 w 112"/>
                      <a:gd name="T11" fmla="*/ 107 h 123"/>
                      <a:gd name="T12" fmla="*/ 28 w 112"/>
                      <a:gd name="T13" fmla="*/ 101 h 123"/>
                      <a:gd name="T14" fmla="*/ 24 w 112"/>
                      <a:gd name="T15" fmla="*/ 87 h 123"/>
                      <a:gd name="T16" fmla="*/ 28 w 112"/>
                      <a:gd name="T17" fmla="*/ 75 h 123"/>
                      <a:gd name="T18" fmla="*/ 22 w 112"/>
                      <a:gd name="T19" fmla="*/ 73 h 123"/>
                      <a:gd name="T20" fmla="*/ 30 w 112"/>
                      <a:gd name="T21" fmla="*/ 79 h 123"/>
                      <a:gd name="T22" fmla="*/ 28 w 112"/>
                      <a:gd name="T23" fmla="*/ 73 h 123"/>
                      <a:gd name="T24" fmla="*/ 36 w 112"/>
                      <a:gd name="T25" fmla="*/ 75 h 123"/>
                      <a:gd name="T26" fmla="*/ 44 w 112"/>
                      <a:gd name="T27" fmla="*/ 79 h 123"/>
                      <a:gd name="T28" fmla="*/ 60 w 112"/>
                      <a:gd name="T29" fmla="*/ 83 h 123"/>
                      <a:gd name="T30" fmla="*/ 54 w 112"/>
                      <a:gd name="T31" fmla="*/ 81 h 123"/>
                      <a:gd name="T32" fmla="*/ 48 w 112"/>
                      <a:gd name="T33" fmla="*/ 77 h 123"/>
                      <a:gd name="T34" fmla="*/ 42 w 112"/>
                      <a:gd name="T35" fmla="*/ 75 h 123"/>
                      <a:gd name="T36" fmla="*/ 68 w 112"/>
                      <a:gd name="T37" fmla="*/ 79 h 123"/>
                      <a:gd name="T38" fmla="*/ 74 w 112"/>
                      <a:gd name="T39" fmla="*/ 77 h 123"/>
                      <a:gd name="T40" fmla="*/ 104 w 112"/>
                      <a:gd name="T41" fmla="*/ 97 h 123"/>
                      <a:gd name="T42" fmla="*/ 104 w 112"/>
                      <a:gd name="T43" fmla="*/ 109 h 123"/>
                      <a:gd name="T44" fmla="*/ 106 w 112"/>
                      <a:gd name="T45" fmla="*/ 123 h 123"/>
                      <a:gd name="T46" fmla="*/ 80 w 112"/>
                      <a:gd name="T47" fmla="*/ 29 h 123"/>
                      <a:gd name="T48" fmla="*/ 44 w 112"/>
                      <a:gd name="T49" fmla="*/ 15 h 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123"/>
                      <a:gd name="T77" fmla="*/ 112 w 112"/>
                      <a:gd name="T78" fmla="*/ 123 h 1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123">
                        <a:moveTo>
                          <a:pt x="44" y="15"/>
                        </a:moveTo>
                        <a:cubicBezTo>
                          <a:pt x="39" y="0"/>
                          <a:pt x="22" y="11"/>
                          <a:pt x="12" y="15"/>
                        </a:cubicBezTo>
                        <a:cubicBezTo>
                          <a:pt x="9" y="27"/>
                          <a:pt x="17" y="28"/>
                          <a:pt x="8" y="37"/>
                        </a:cubicBezTo>
                        <a:cubicBezTo>
                          <a:pt x="6" y="44"/>
                          <a:pt x="2" y="49"/>
                          <a:pt x="0" y="57"/>
                        </a:cubicBezTo>
                        <a:cubicBezTo>
                          <a:pt x="2" y="74"/>
                          <a:pt x="1" y="93"/>
                          <a:pt x="20" y="99"/>
                        </a:cubicBezTo>
                        <a:cubicBezTo>
                          <a:pt x="21" y="102"/>
                          <a:pt x="31" y="123"/>
                          <a:pt x="26" y="107"/>
                        </a:cubicBezTo>
                        <a:cubicBezTo>
                          <a:pt x="27" y="105"/>
                          <a:pt x="28" y="101"/>
                          <a:pt x="28" y="101"/>
                        </a:cubicBezTo>
                        <a:cubicBezTo>
                          <a:pt x="27" y="96"/>
                          <a:pt x="24" y="92"/>
                          <a:pt x="24" y="87"/>
                        </a:cubicBezTo>
                        <a:cubicBezTo>
                          <a:pt x="24" y="83"/>
                          <a:pt x="28" y="75"/>
                          <a:pt x="28" y="75"/>
                        </a:cubicBezTo>
                        <a:cubicBezTo>
                          <a:pt x="26" y="74"/>
                          <a:pt x="21" y="71"/>
                          <a:pt x="22" y="73"/>
                        </a:cubicBezTo>
                        <a:cubicBezTo>
                          <a:pt x="23" y="76"/>
                          <a:pt x="27" y="79"/>
                          <a:pt x="30" y="79"/>
                        </a:cubicBezTo>
                        <a:cubicBezTo>
                          <a:pt x="32" y="79"/>
                          <a:pt x="29" y="75"/>
                          <a:pt x="28" y="73"/>
                        </a:cubicBezTo>
                        <a:cubicBezTo>
                          <a:pt x="27" y="70"/>
                          <a:pt x="33" y="74"/>
                          <a:pt x="36" y="75"/>
                        </a:cubicBezTo>
                        <a:cubicBezTo>
                          <a:pt x="39" y="76"/>
                          <a:pt x="41" y="78"/>
                          <a:pt x="44" y="79"/>
                        </a:cubicBezTo>
                        <a:cubicBezTo>
                          <a:pt x="49" y="81"/>
                          <a:pt x="55" y="82"/>
                          <a:pt x="60" y="83"/>
                        </a:cubicBezTo>
                        <a:cubicBezTo>
                          <a:pt x="62" y="84"/>
                          <a:pt x="56" y="82"/>
                          <a:pt x="54" y="81"/>
                        </a:cubicBezTo>
                        <a:cubicBezTo>
                          <a:pt x="52" y="80"/>
                          <a:pt x="50" y="78"/>
                          <a:pt x="48" y="77"/>
                        </a:cubicBezTo>
                        <a:cubicBezTo>
                          <a:pt x="46" y="76"/>
                          <a:pt x="40" y="74"/>
                          <a:pt x="42" y="75"/>
                        </a:cubicBezTo>
                        <a:cubicBezTo>
                          <a:pt x="56" y="78"/>
                          <a:pt x="47" y="77"/>
                          <a:pt x="68" y="79"/>
                        </a:cubicBezTo>
                        <a:cubicBezTo>
                          <a:pt x="68" y="79"/>
                          <a:pt x="72" y="78"/>
                          <a:pt x="74" y="77"/>
                        </a:cubicBezTo>
                        <a:cubicBezTo>
                          <a:pt x="87" y="81"/>
                          <a:pt x="96" y="85"/>
                          <a:pt x="104" y="97"/>
                        </a:cubicBezTo>
                        <a:cubicBezTo>
                          <a:pt x="103" y="102"/>
                          <a:pt x="104" y="104"/>
                          <a:pt x="104" y="109"/>
                        </a:cubicBezTo>
                        <a:cubicBezTo>
                          <a:pt x="104" y="113"/>
                          <a:pt x="106" y="123"/>
                          <a:pt x="106" y="123"/>
                        </a:cubicBezTo>
                        <a:cubicBezTo>
                          <a:pt x="112" y="105"/>
                          <a:pt x="96" y="40"/>
                          <a:pt x="80" y="29"/>
                        </a:cubicBezTo>
                        <a:cubicBezTo>
                          <a:pt x="69" y="22"/>
                          <a:pt x="53" y="24"/>
                          <a:pt x="44" y="15"/>
                        </a:cubicBezTo>
                        <a:close/>
                      </a:path>
                    </a:pathLst>
                  </a:custGeom>
                  <a:gradFill rotWithShape="1">
                    <a:gsLst>
                      <a:gs pos="0">
                        <a:srgbClr val="B5A179"/>
                      </a:gs>
                      <a:gs pos="100000">
                        <a:srgbClr val="625136"/>
                      </a:gs>
                    </a:gsLst>
                    <a:path path="rect">
                      <a:fillToRect l="50000" t="50000" r="50000" b="50000"/>
                    </a:path>
                  </a:gradFill>
                  <a:ln w="9525">
                    <a:noFill/>
                    <a:round/>
                    <a:headEnd/>
                    <a:tailEnd/>
                  </a:ln>
                </p:spPr>
                <p:txBody>
                  <a:bodyPr wrap="none" lIns="18000" tIns="46800" rIns="18000" bIns="46800" anchor="ctr"/>
                  <a:lstStyle/>
                  <a:p>
                    <a:pPr defTabSz="912546"/>
                    <a:endParaRPr>
                      <a:solidFill>
                        <a:srgbClr val="000000"/>
                      </a:solidFill>
                    </a:endParaRPr>
                  </a:p>
                </p:txBody>
              </p:sp>
              <p:sp>
                <p:nvSpPr>
                  <p:cNvPr id="442052" name="Freeform 354"/>
                  <p:cNvSpPr>
                    <a:spLocks/>
                  </p:cNvSpPr>
                  <p:nvPr/>
                </p:nvSpPr>
                <p:spPr bwMode="gray">
                  <a:xfrm>
                    <a:off x="5410" y="1324"/>
                    <a:ext cx="50" cy="85"/>
                  </a:xfrm>
                  <a:custGeom>
                    <a:avLst/>
                    <a:gdLst>
                      <a:gd name="T0" fmla="*/ 0 w 50"/>
                      <a:gd name="T1" fmla="*/ 8 h 85"/>
                      <a:gd name="T2" fmla="*/ 38 w 50"/>
                      <a:gd name="T3" fmla="*/ 8 h 85"/>
                      <a:gd name="T4" fmla="*/ 42 w 50"/>
                      <a:gd name="T5" fmla="*/ 20 h 85"/>
                      <a:gd name="T6" fmla="*/ 26 w 50"/>
                      <a:gd name="T7" fmla="*/ 64 h 85"/>
                      <a:gd name="T8" fmla="*/ 20 w 50"/>
                      <a:gd name="T9" fmla="*/ 78 h 85"/>
                      <a:gd name="T10" fmla="*/ 18 w 50"/>
                      <a:gd name="T11" fmla="*/ 84 h 85"/>
                      <a:gd name="T12" fmla="*/ 18 w 50"/>
                      <a:gd name="T13" fmla="*/ 76 h 85"/>
                      <a:gd name="T14" fmla="*/ 10 w 50"/>
                      <a:gd name="T15" fmla="*/ 34 h 85"/>
                      <a:gd name="T16" fmla="*/ 0 w 50"/>
                      <a:gd name="T17" fmla="*/ 8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85"/>
                      <a:gd name="T29" fmla="*/ 50 w 50"/>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85">
                        <a:moveTo>
                          <a:pt x="0" y="8"/>
                        </a:moveTo>
                        <a:cubicBezTo>
                          <a:pt x="11" y="15"/>
                          <a:pt x="26" y="9"/>
                          <a:pt x="38" y="8"/>
                        </a:cubicBezTo>
                        <a:cubicBezTo>
                          <a:pt x="50" y="0"/>
                          <a:pt x="39" y="8"/>
                          <a:pt x="42" y="20"/>
                        </a:cubicBezTo>
                        <a:cubicBezTo>
                          <a:pt x="39" y="37"/>
                          <a:pt x="33" y="49"/>
                          <a:pt x="26" y="64"/>
                        </a:cubicBezTo>
                        <a:cubicBezTo>
                          <a:pt x="24" y="69"/>
                          <a:pt x="22" y="73"/>
                          <a:pt x="20" y="78"/>
                        </a:cubicBezTo>
                        <a:cubicBezTo>
                          <a:pt x="19" y="80"/>
                          <a:pt x="19" y="85"/>
                          <a:pt x="18" y="84"/>
                        </a:cubicBezTo>
                        <a:cubicBezTo>
                          <a:pt x="16" y="82"/>
                          <a:pt x="18" y="79"/>
                          <a:pt x="18" y="76"/>
                        </a:cubicBezTo>
                        <a:lnTo>
                          <a:pt x="10" y="34"/>
                        </a:lnTo>
                        <a:lnTo>
                          <a:pt x="0" y="8"/>
                        </a:lnTo>
                        <a:close/>
                      </a:path>
                    </a:pathLst>
                  </a:custGeom>
                  <a:solidFill>
                    <a:srgbClr val="EDEDED"/>
                  </a:solidFill>
                  <a:ln w="9525">
                    <a:noFill/>
                    <a:round/>
                    <a:headEnd/>
                    <a:tailEnd/>
                  </a:ln>
                </p:spPr>
                <p:txBody>
                  <a:bodyPr wrap="none" lIns="18000" tIns="46800" rIns="18000" bIns="46800" anchor="ctr"/>
                  <a:lstStyle/>
                  <a:p>
                    <a:pPr defTabSz="912546"/>
                    <a:endParaRPr>
                      <a:solidFill>
                        <a:srgbClr val="000000"/>
                      </a:solidFill>
                    </a:endParaRPr>
                  </a:p>
                </p:txBody>
              </p:sp>
              <p:sp>
                <p:nvSpPr>
                  <p:cNvPr id="442053" name="Freeform 355"/>
                  <p:cNvSpPr>
                    <a:spLocks/>
                  </p:cNvSpPr>
                  <p:nvPr/>
                </p:nvSpPr>
                <p:spPr bwMode="gray">
                  <a:xfrm>
                    <a:off x="5410" y="1506"/>
                    <a:ext cx="20" cy="40"/>
                  </a:xfrm>
                  <a:custGeom>
                    <a:avLst/>
                    <a:gdLst>
                      <a:gd name="T0" fmla="*/ 10 w 20"/>
                      <a:gd name="T1" fmla="*/ 0 h 40"/>
                      <a:gd name="T2" fmla="*/ 0 w 20"/>
                      <a:gd name="T3" fmla="*/ 40 h 40"/>
                      <a:gd name="T4" fmla="*/ 20 w 20"/>
                      <a:gd name="T5" fmla="*/ 40 h 40"/>
                      <a:gd name="T6" fmla="*/ 10 w 20"/>
                      <a:gd name="T7" fmla="*/ 0 h 40"/>
                      <a:gd name="T8" fmla="*/ 0 60000 65536"/>
                      <a:gd name="T9" fmla="*/ 0 60000 65536"/>
                      <a:gd name="T10" fmla="*/ 0 60000 65536"/>
                      <a:gd name="T11" fmla="*/ 0 60000 65536"/>
                      <a:gd name="T12" fmla="*/ 0 w 20"/>
                      <a:gd name="T13" fmla="*/ 0 h 40"/>
                      <a:gd name="T14" fmla="*/ 20 w 20"/>
                      <a:gd name="T15" fmla="*/ 40 h 40"/>
                    </a:gdLst>
                    <a:ahLst/>
                    <a:cxnLst>
                      <a:cxn ang="T8">
                        <a:pos x="T0" y="T1"/>
                      </a:cxn>
                      <a:cxn ang="T9">
                        <a:pos x="T2" y="T3"/>
                      </a:cxn>
                      <a:cxn ang="T10">
                        <a:pos x="T4" y="T5"/>
                      </a:cxn>
                      <a:cxn ang="T11">
                        <a:pos x="T6" y="T7"/>
                      </a:cxn>
                    </a:cxnLst>
                    <a:rect l="T12" t="T13" r="T14" b="T15"/>
                    <a:pathLst>
                      <a:path w="20" h="40">
                        <a:moveTo>
                          <a:pt x="10" y="0"/>
                        </a:moveTo>
                        <a:lnTo>
                          <a:pt x="0" y="40"/>
                        </a:lnTo>
                        <a:lnTo>
                          <a:pt x="20" y="40"/>
                        </a:lnTo>
                        <a:lnTo>
                          <a:pt x="10" y="0"/>
                        </a:lnTo>
                        <a:close/>
                      </a:path>
                    </a:pathLst>
                  </a:custGeom>
                  <a:solidFill>
                    <a:srgbClr val="EDEDED"/>
                  </a:solidFill>
                  <a:ln w="9525">
                    <a:noFill/>
                    <a:round/>
                    <a:headEnd/>
                    <a:tailEnd/>
                  </a:ln>
                </p:spPr>
                <p:txBody>
                  <a:bodyPr wrap="none" lIns="18000" tIns="46800" rIns="18000" bIns="46800" anchor="ctr"/>
                  <a:lstStyle/>
                  <a:p>
                    <a:pPr defTabSz="912546"/>
                    <a:endParaRPr>
                      <a:solidFill>
                        <a:srgbClr val="000000"/>
                      </a:solidFill>
                    </a:endParaRPr>
                  </a:p>
                </p:txBody>
              </p:sp>
              <p:sp>
                <p:nvSpPr>
                  <p:cNvPr id="442054" name="Freeform 356"/>
                  <p:cNvSpPr>
                    <a:spLocks/>
                  </p:cNvSpPr>
                  <p:nvPr/>
                </p:nvSpPr>
                <p:spPr bwMode="gray">
                  <a:xfrm>
                    <a:off x="5514" y="1552"/>
                    <a:ext cx="42" cy="75"/>
                  </a:xfrm>
                  <a:custGeom>
                    <a:avLst/>
                    <a:gdLst>
                      <a:gd name="T0" fmla="*/ 26 w 42"/>
                      <a:gd name="T1" fmla="*/ 0 h 75"/>
                      <a:gd name="T2" fmla="*/ 6 w 42"/>
                      <a:gd name="T3" fmla="*/ 6 h 75"/>
                      <a:gd name="T4" fmla="*/ 8 w 42"/>
                      <a:gd name="T5" fmla="*/ 30 h 75"/>
                      <a:gd name="T6" fmla="*/ 6 w 42"/>
                      <a:gd name="T7" fmla="*/ 50 h 75"/>
                      <a:gd name="T8" fmla="*/ 2 w 42"/>
                      <a:gd name="T9" fmla="*/ 62 h 75"/>
                      <a:gd name="T10" fmla="*/ 14 w 42"/>
                      <a:gd name="T11" fmla="*/ 66 h 75"/>
                      <a:gd name="T12" fmla="*/ 12 w 42"/>
                      <a:gd name="T13" fmla="*/ 72 h 75"/>
                      <a:gd name="T14" fmla="*/ 22 w 42"/>
                      <a:gd name="T15" fmla="*/ 68 h 75"/>
                      <a:gd name="T16" fmla="*/ 34 w 42"/>
                      <a:gd name="T17" fmla="*/ 60 h 75"/>
                      <a:gd name="T18" fmla="*/ 38 w 42"/>
                      <a:gd name="T19" fmla="*/ 48 h 75"/>
                      <a:gd name="T20" fmla="*/ 42 w 42"/>
                      <a:gd name="T21" fmla="*/ 42 h 75"/>
                      <a:gd name="T22" fmla="*/ 26 w 42"/>
                      <a:gd name="T23" fmla="*/ 0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75"/>
                      <a:gd name="T38" fmla="*/ 42 w 42"/>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75">
                        <a:moveTo>
                          <a:pt x="26" y="0"/>
                        </a:moveTo>
                        <a:cubicBezTo>
                          <a:pt x="11" y="5"/>
                          <a:pt x="18" y="3"/>
                          <a:pt x="6" y="6"/>
                        </a:cubicBezTo>
                        <a:cubicBezTo>
                          <a:pt x="0" y="18"/>
                          <a:pt x="8" y="20"/>
                          <a:pt x="8" y="30"/>
                        </a:cubicBezTo>
                        <a:cubicBezTo>
                          <a:pt x="11" y="40"/>
                          <a:pt x="9" y="38"/>
                          <a:pt x="6" y="50"/>
                        </a:cubicBezTo>
                        <a:cubicBezTo>
                          <a:pt x="5" y="54"/>
                          <a:pt x="2" y="62"/>
                          <a:pt x="2" y="62"/>
                        </a:cubicBezTo>
                        <a:cubicBezTo>
                          <a:pt x="6" y="63"/>
                          <a:pt x="15" y="62"/>
                          <a:pt x="14" y="66"/>
                        </a:cubicBezTo>
                        <a:cubicBezTo>
                          <a:pt x="13" y="68"/>
                          <a:pt x="10" y="71"/>
                          <a:pt x="12" y="72"/>
                        </a:cubicBezTo>
                        <a:cubicBezTo>
                          <a:pt x="16" y="75"/>
                          <a:pt x="20" y="70"/>
                          <a:pt x="22" y="68"/>
                        </a:cubicBezTo>
                        <a:cubicBezTo>
                          <a:pt x="26" y="66"/>
                          <a:pt x="31" y="62"/>
                          <a:pt x="34" y="60"/>
                        </a:cubicBezTo>
                        <a:cubicBezTo>
                          <a:pt x="32" y="59"/>
                          <a:pt x="37" y="50"/>
                          <a:pt x="38" y="48"/>
                        </a:cubicBezTo>
                        <a:cubicBezTo>
                          <a:pt x="40" y="44"/>
                          <a:pt x="42" y="42"/>
                          <a:pt x="42" y="42"/>
                        </a:cubicBezTo>
                        <a:cubicBezTo>
                          <a:pt x="37" y="28"/>
                          <a:pt x="30" y="14"/>
                          <a:pt x="26" y="0"/>
                        </a:cubicBezTo>
                        <a:close/>
                      </a:path>
                    </a:pathLst>
                  </a:custGeom>
                  <a:solidFill>
                    <a:srgbClr val="D7B491"/>
                  </a:solidFill>
                  <a:ln w="3175">
                    <a:noFill/>
                    <a:round/>
                    <a:headEnd/>
                    <a:tailEnd/>
                  </a:ln>
                </p:spPr>
                <p:txBody>
                  <a:bodyPr wrap="none" lIns="18000" tIns="46800" rIns="18000" bIns="46800" anchor="ctr"/>
                  <a:lstStyle/>
                  <a:p>
                    <a:pPr defTabSz="912546"/>
                    <a:endParaRPr>
                      <a:solidFill>
                        <a:srgbClr val="000000"/>
                      </a:solidFill>
                    </a:endParaRPr>
                  </a:p>
                </p:txBody>
              </p:sp>
              <p:sp>
                <p:nvSpPr>
                  <p:cNvPr id="442055" name="Freeform 357"/>
                  <p:cNvSpPr>
                    <a:spLocks/>
                  </p:cNvSpPr>
                  <p:nvPr/>
                </p:nvSpPr>
                <p:spPr bwMode="gray">
                  <a:xfrm>
                    <a:off x="5339" y="1105"/>
                    <a:ext cx="95" cy="80"/>
                  </a:xfrm>
                  <a:custGeom>
                    <a:avLst/>
                    <a:gdLst>
                      <a:gd name="T0" fmla="*/ 43 w 95"/>
                      <a:gd name="T1" fmla="*/ 35 h 80"/>
                      <a:gd name="T2" fmla="*/ 59 w 95"/>
                      <a:gd name="T3" fmla="*/ 23 h 80"/>
                      <a:gd name="T4" fmla="*/ 39 w 95"/>
                      <a:gd name="T5" fmla="*/ 25 h 80"/>
                      <a:gd name="T6" fmla="*/ 35 w 95"/>
                      <a:gd name="T7" fmla="*/ 21 h 80"/>
                      <a:gd name="T8" fmla="*/ 39 w 95"/>
                      <a:gd name="T9" fmla="*/ 15 h 80"/>
                      <a:gd name="T10" fmla="*/ 31 w 95"/>
                      <a:gd name="T11" fmla="*/ 19 h 80"/>
                      <a:gd name="T12" fmla="*/ 37 w 95"/>
                      <a:gd name="T13" fmla="*/ 3 h 80"/>
                      <a:gd name="T14" fmla="*/ 15 w 95"/>
                      <a:gd name="T15" fmla="*/ 5 h 80"/>
                      <a:gd name="T16" fmla="*/ 19 w 95"/>
                      <a:gd name="T17" fmla="*/ 11 h 80"/>
                      <a:gd name="T18" fmla="*/ 9 w 95"/>
                      <a:gd name="T19" fmla="*/ 37 h 80"/>
                      <a:gd name="T20" fmla="*/ 9 w 95"/>
                      <a:gd name="T21" fmla="*/ 59 h 80"/>
                      <a:gd name="T22" fmla="*/ 11 w 95"/>
                      <a:gd name="T23" fmla="*/ 73 h 80"/>
                      <a:gd name="T24" fmla="*/ 5 w 95"/>
                      <a:gd name="T25" fmla="*/ 61 h 80"/>
                      <a:gd name="T26" fmla="*/ 7 w 95"/>
                      <a:gd name="T27" fmla="*/ 43 h 80"/>
                      <a:gd name="T28" fmla="*/ 19 w 95"/>
                      <a:gd name="T29" fmla="*/ 37 h 80"/>
                      <a:gd name="T30" fmla="*/ 15 w 95"/>
                      <a:gd name="T31" fmla="*/ 43 h 80"/>
                      <a:gd name="T32" fmla="*/ 21 w 95"/>
                      <a:gd name="T33" fmla="*/ 37 h 80"/>
                      <a:gd name="T34" fmla="*/ 37 w 95"/>
                      <a:gd name="T35" fmla="*/ 31 h 80"/>
                      <a:gd name="T36" fmla="*/ 37 w 95"/>
                      <a:gd name="T37" fmla="*/ 39 h 80"/>
                      <a:gd name="T38" fmla="*/ 47 w 95"/>
                      <a:gd name="T39" fmla="*/ 41 h 80"/>
                      <a:gd name="T40" fmla="*/ 35 w 95"/>
                      <a:gd name="T41" fmla="*/ 47 h 80"/>
                      <a:gd name="T42" fmla="*/ 23 w 95"/>
                      <a:gd name="T43" fmla="*/ 51 h 80"/>
                      <a:gd name="T44" fmla="*/ 41 w 95"/>
                      <a:gd name="T45" fmla="*/ 75 h 80"/>
                      <a:gd name="T46" fmla="*/ 31 w 95"/>
                      <a:gd name="T47" fmla="*/ 63 h 80"/>
                      <a:gd name="T48" fmla="*/ 43 w 95"/>
                      <a:gd name="T49" fmla="*/ 61 h 80"/>
                      <a:gd name="T50" fmla="*/ 49 w 95"/>
                      <a:gd name="T51" fmla="*/ 65 h 80"/>
                      <a:gd name="T52" fmla="*/ 55 w 95"/>
                      <a:gd name="T53" fmla="*/ 67 h 80"/>
                      <a:gd name="T54" fmla="*/ 49 w 95"/>
                      <a:gd name="T55" fmla="*/ 61 h 80"/>
                      <a:gd name="T56" fmla="*/ 41 w 95"/>
                      <a:gd name="T57" fmla="*/ 57 h 80"/>
                      <a:gd name="T58" fmla="*/ 53 w 95"/>
                      <a:gd name="T59" fmla="*/ 61 h 80"/>
                      <a:gd name="T60" fmla="*/ 69 w 95"/>
                      <a:gd name="T61" fmla="*/ 65 h 80"/>
                      <a:gd name="T62" fmla="*/ 81 w 95"/>
                      <a:gd name="T63" fmla="*/ 73 h 80"/>
                      <a:gd name="T64" fmla="*/ 87 w 95"/>
                      <a:gd name="T65" fmla="*/ 75 h 80"/>
                      <a:gd name="T66" fmla="*/ 57 w 95"/>
                      <a:gd name="T67" fmla="*/ 55 h 80"/>
                      <a:gd name="T68" fmla="*/ 63 w 95"/>
                      <a:gd name="T69" fmla="*/ 59 h 80"/>
                      <a:gd name="T70" fmla="*/ 81 w 95"/>
                      <a:gd name="T71" fmla="*/ 67 h 80"/>
                      <a:gd name="T72" fmla="*/ 95 w 95"/>
                      <a:gd name="T73" fmla="*/ 75 h 80"/>
                      <a:gd name="T74" fmla="*/ 65 w 95"/>
                      <a:gd name="T75" fmla="*/ 53 h 80"/>
                      <a:gd name="T76" fmla="*/ 63 w 95"/>
                      <a:gd name="T77" fmla="*/ 45 h 80"/>
                      <a:gd name="T78" fmla="*/ 77 w 95"/>
                      <a:gd name="T79" fmla="*/ 47 h 80"/>
                      <a:gd name="T80" fmla="*/ 83 w 95"/>
                      <a:gd name="T81" fmla="*/ 53 h 80"/>
                      <a:gd name="T82" fmla="*/ 61 w 95"/>
                      <a:gd name="T83" fmla="*/ 37 h 80"/>
                      <a:gd name="T84" fmla="*/ 45 w 95"/>
                      <a:gd name="T85" fmla="*/ 29 h 80"/>
                      <a:gd name="T86" fmla="*/ 61 w 95"/>
                      <a:gd name="T87" fmla="*/ 25 h 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5"/>
                      <a:gd name="T133" fmla="*/ 0 h 80"/>
                      <a:gd name="T134" fmla="*/ 95 w 95"/>
                      <a:gd name="T135" fmla="*/ 80 h 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5" h="80">
                        <a:moveTo>
                          <a:pt x="43" y="35"/>
                        </a:moveTo>
                        <a:cubicBezTo>
                          <a:pt x="48" y="28"/>
                          <a:pt x="52" y="28"/>
                          <a:pt x="59" y="23"/>
                        </a:cubicBezTo>
                        <a:cubicBezTo>
                          <a:pt x="53" y="21"/>
                          <a:pt x="39" y="25"/>
                          <a:pt x="39" y="25"/>
                        </a:cubicBezTo>
                        <a:cubicBezTo>
                          <a:pt x="49" y="10"/>
                          <a:pt x="40" y="26"/>
                          <a:pt x="35" y="21"/>
                        </a:cubicBezTo>
                        <a:cubicBezTo>
                          <a:pt x="33" y="19"/>
                          <a:pt x="41" y="16"/>
                          <a:pt x="39" y="15"/>
                        </a:cubicBezTo>
                        <a:cubicBezTo>
                          <a:pt x="36" y="14"/>
                          <a:pt x="34" y="18"/>
                          <a:pt x="31" y="19"/>
                        </a:cubicBezTo>
                        <a:cubicBezTo>
                          <a:pt x="28" y="10"/>
                          <a:pt x="34" y="12"/>
                          <a:pt x="37" y="3"/>
                        </a:cubicBezTo>
                        <a:cubicBezTo>
                          <a:pt x="29" y="0"/>
                          <a:pt x="23" y="2"/>
                          <a:pt x="15" y="5"/>
                        </a:cubicBezTo>
                        <a:cubicBezTo>
                          <a:pt x="8" y="12"/>
                          <a:pt x="9" y="21"/>
                          <a:pt x="19" y="11"/>
                        </a:cubicBezTo>
                        <a:cubicBezTo>
                          <a:pt x="22" y="22"/>
                          <a:pt x="18" y="31"/>
                          <a:pt x="9" y="37"/>
                        </a:cubicBezTo>
                        <a:cubicBezTo>
                          <a:pt x="11" y="47"/>
                          <a:pt x="6" y="50"/>
                          <a:pt x="9" y="59"/>
                        </a:cubicBezTo>
                        <a:cubicBezTo>
                          <a:pt x="4" y="77"/>
                          <a:pt x="0" y="77"/>
                          <a:pt x="11" y="73"/>
                        </a:cubicBezTo>
                        <a:cubicBezTo>
                          <a:pt x="16" y="65"/>
                          <a:pt x="18" y="44"/>
                          <a:pt x="5" y="61"/>
                        </a:cubicBezTo>
                        <a:cubicBezTo>
                          <a:pt x="10" y="47"/>
                          <a:pt x="10" y="53"/>
                          <a:pt x="7" y="43"/>
                        </a:cubicBezTo>
                        <a:cubicBezTo>
                          <a:pt x="11" y="41"/>
                          <a:pt x="17" y="33"/>
                          <a:pt x="19" y="37"/>
                        </a:cubicBezTo>
                        <a:cubicBezTo>
                          <a:pt x="20" y="39"/>
                          <a:pt x="13" y="43"/>
                          <a:pt x="15" y="43"/>
                        </a:cubicBezTo>
                        <a:cubicBezTo>
                          <a:pt x="18" y="43"/>
                          <a:pt x="19" y="38"/>
                          <a:pt x="21" y="37"/>
                        </a:cubicBezTo>
                        <a:cubicBezTo>
                          <a:pt x="26" y="34"/>
                          <a:pt x="32" y="34"/>
                          <a:pt x="37" y="31"/>
                        </a:cubicBezTo>
                        <a:cubicBezTo>
                          <a:pt x="27" y="45"/>
                          <a:pt x="25" y="45"/>
                          <a:pt x="37" y="39"/>
                        </a:cubicBezTo>
                        <a:cubicBezTo>
                          <a:pt x="40" y="40"/>
                          <a:pt x="50" y="39"/>
                          <a:pt x="47" y="41"/>
                        </a:cubicBezTo>
                        <a:cubicBezTo>
                          <a:pt x="37" y="49"/>
                          <a:pt x="20" y="42"/>
                          <a:pt x="35" y="47"/>
                        </a:cubicBezTo>
                        <a:cubicBezTo>
                          <a:pt x="31" y="48"/>
                          <a:pt x="27" y="50"/>
                          <a:pt x="23" y="51"/>
                        </a:cubicBezTo>
                        <a:cubicBezTo>
                          <a:pt x="19" y="52"/>
                          <a:pt x="36" y="80"/>
                          <a:pt x="41" y="75"/>
                        </a:cubicBezTo>
                        <a:cubicBezTo>
                          <a:pt x="45" y="71"/>
                          <a:pt x="34" y="67"/>
                          <a:pt x="31" y="63"/>
                        </a:cubicBezTo>
                        <a:cubicBezTo>
                          <a:pt x="27" y="49"/>
                          <a:pt x="33" y="59"/>
                          <a:pt x="43" y="61"/>
                        </a:cubicBezTo>
                        <a:cubicBezTo>
                          <a:pt x="45" y="62"/>
                          <a:pt x="47" y="64"/>
                          <a:pt x="49" y="65"/>
                        </a:cubicBezTo>
                        <a:cubicBezTo>
                          <a:pt x="51" y="66"/>
                          <a:pt x="56" y="68"/>
                          <a:pt x="55" y="67"/>
                        </a:cubicBezTo>
                        <a:cubicBezTo>
                          <a:pt x="53" y="65"/>
                          <a:pt x="51" y="63"/>
                          <a:pt x="49" y="61"/>
                        </a:cubicBezTo>
                        <a:cubicBezTo>
                          <a:pt x="47" y="59"/>
                          <a:pt x="38" y="56"/>
                          <a:pt x="41" y="57"/>
                        </a:cubicBezTo>
                        <a:cubicBezTo>
                          <a:pt x="45" y="58"/>
                          <a:pt x="49" y="60"/>
                          <a:pt x="53" y="61"/>
                        </a:cubicBezTo>
                        <a:cubicBezTo>
                          <a:pt x="58" y="63"/>
                          <a:pt x="69" y="65"/>
                          <a:pt x="69" y="65"/>
                        </a:cubicBezTo>
                        <a:cubicBezTo>
                          <a:pt x="73" y="68"/>
                          <a:pt x="76" y="71"/>
                          <a:pt x="81" y="73"/>
                        </a:cubicBezTo>
                        <a:cubicBezTo>
                          <a:pt x="83" y="74"/>
                          <a:pt x="87" y="77"/>
                          <a:pt x="87" y="75"/>
                        </a:cubicBezTo>
                        <a:cubicBezTo>
                          <a:pt x="87" y="75"/>
                          <a:pt x="57" y="61"/>
                          <a:pt x="57" y="55"/>
                        </a:cubicBezTo>
                        <a:cubicBezTo>
                          <a:pt x="57" y="53"/>
                          <a:pt x="61" y="58"/>
                          <a:pt x="63" y="59"/>
                        </a:cubicBezTo>
                        <a:cubicBezTo>
                          <a:pt x="69" y="62"/>
                          <a:pt x="75" y="65"/>
                          <a:pt x="81" y="67"/>
                        </a:cubicBezTo>
                        <a:cubicBezTo>
                          <a:pt x="94" y="77"/>
                          <a:pt x="95" y="78"/>
                          <a:pt x="95" y="75"/>
                        </a:cubicBezTo>
                        <a:cubicBezTo>
                          <a:pt x="95" y="73"/>
                          <a:pt x="70" y="55"/>
                          <a:pt x="65" y="53"/>
                        </a:cubicBezTo>
                        <a:cubicBezTo>
                          <a:pt x="83" y="49"/>
                          <a:pt x="72" y="48"/>
                          <a:pt x="63" y="45"/>
                        </a:cubicBezTo>
                        <a:cubicBezTo>
                          <a:pt x="70" y="43"/>
                          <a:pt x="69" y="41"/>
                          <a:pt x="77" y="47"/>
                        </a:cubicBezTo>
                        <a:cubicBezTo>
                          <a:pt x="79" y="49"/>
                          <a:pt x="83" y="56"/>
                          <a:pt x="83" y="53"/>
                        </a:cubicBezTo>
                        <a:cubicBezTo>
                          <a:pt x="83" y="43"/>
                          <a:pt x="67" y="39"/>
                          <a:pt x="61" y="37"/>
                        </a:cubicBezTo>
                        <a:cubicBezTo>
                          <a:pt x="55" y="35"/>
                          <a:pt x="45" y="29"/>
                          <a:pt x="45" y="29"/>
                        </a:cubicBezTo>
                        <a:cubicBezTo>
                          <a:pt x="50" y="26"/>
                          <a:pt x="61" y="26"/>
                          <a:pt x="61" y="25"/>
                        </a:cubicBezTo>
                      </a:path>
                    </a:pathLst>
                  </a:custGeom>
                  <a:gradFill rotWithShape="1">
                    <a:gsLst>
                      <a:gs pos="0">
                        <a:srgbClr val="D7CCA5"/>
                      </a:gs>
                      <a:gs pos="100000">
                        <a:srgbClr val="D9CEA9">
                          <a:alpha val="18999"/>
                        </a:srgbClr>
                      </a:gs>
                    </a:gsLst>
                    <a:path path="rect">
                      <a:fillToRect l="50000" t="50000" r="50000" b="50000"/>
                    </a:path>
                  </a:gradFill>
                  <a:ln w="9525">
                    <a:noFill/>
                    <a:round/>
                    <a:headEnd/>
                    <a:tailEnd/>
                  </a:ln>
                </p:spPr>
                <p:txBody>
                  <a:bodyPr wrap="none" lIns="18000" tIns="46800" rIns="18000" bIns="46800" anchor="ctr"/>
                  <a:lstStyle/>
                  <a:p>
                    <a:pPr defTabSz="912546"/>
                    <a:endParaRPr>
                      <a:solidFill>
                        <a:srgbClr val="000000"/>
                      </a:solidFill>
                    </a:endParaRPr>
                  </a:p>
                </p:txBody>
              </p:sp>
              <p:sp>
                <p:nvSpPr>
                  <p:cNvPr id="442056" name="Freeform 358"/>
                  <p:cNvSpPr>
                    <a:spLocks/>
                  </p:cNvSpPr>
                  <p:nvPr/>
                </p:nvSpPr>
                <p:spPr bwMode="gray">
                  <a:xfrm>
                    <a:off x="5360" y="1193"/>
                    <a:ext cx="40" cy="20"/>
                  </a:xfrm>
                  <a:custGeom>
                    <a:avLst/>
                    <a:gdLst>
                      <a:gd name="T0" fmla="*/ 6 w 40"/>
                      <a:gd name="T1" fmla="*/ 13 h 20"/>
                      <a:gd name="T2" fmla="*/ 34 w 40"/>
                      <a:gd name="T3" fmla="*/ 3 h 20"/>
                      <a:gd name="T4" fmla="*/ 6 w 40"/>
                      <a:gd name="T5" fmla="*/ 13 h 20"/>
                      <a:gd name="T6" fmla="*/ 0 60000 65536"/>
                      <a:gd name="T7" fmla="*/ 0 60000 65536"/>
                      <a:gd name="T8" fmla="*/ 0 60000 65536"/>
                      <a:gd name="T9" fmla="*/ 0 w 40"/>
                      <a:gd name="T10" fmla="*/ 0 h 20"/>
                      <a:gd name="T11" fmla="*/ 40 w 40"/>
                      <a:gd name="T12" fmla="*/ 20 h 20"/>
                    </a:gdLst>
                    <a:ahLst/>
                    <a:cxnLst>
                      <a:cxn ang="T6">
                        <a:pos x="T0" y="T1"/>
                      </a:cxn>
                      <a:cxn ang="T7">
                        <a:pos x="T2" y="T3"/>
                      </a:cxn>
                      <a:cxn ang="T8">
                        <a:pos x="T4" y="T5"/>
                      </a:cxn>
                    </a:cxnLst>
                    <a:rect l="T9" t="T10" r="T11" b="T12"/>
                    <a:pathLst>
                      <a:path w="40" h="20">
                        <a:moveTo>
                          <a:pt x="6" y="13"/>
                        </a:moveTo>
                        <a:cubicBezTo>
                          <a:pt x="24" y="1"/>
                          <a:pt x="0" y="0"/>
                          <a:pt x="34" y="3"/>
                        </a:cubicBezTo>
                        <a:cubicBezTo>
                          <a:pt x="40" y="20"/>
                          <a:pt x="15" y="7"/>
                          <a:pt x="6" y="13"/>
                        </a:cubicBezTo>
                        <a:close/>
                      </a:path>
                    </a:pathLst>
                  </a:custGeom>
                  <a:solidFill>
                    <a:srgbClr val="BA9E84"/>
                  </a:solidFill>
                  <a:ln w="9525">
                    <a:noFill/>
                    <a:round/>
                    <a:headEnd/>
                    <a:tailEnd/>
                  </a:ln>
                </p:spPr>
                <p:txBody>
                  <a:bodyPr wrap="none" lIns="18000" tIns="46800" rIns="18000" bIns="46800" anchor="ctr"/>
                  <a:lstStyle/>
                  <a:p>
                    <a:pPr defTabSz="912546"/>
                    <a:endParaRPr>
                      <a:solidFill>
                        <a:srgbClr val="000000"/>
                      </a:solidFill>
                    </a:endParaRPr>
                  </a:p>
                </p:txBody>
              </p:sp>
              <p:sp>
                <p:nvSpPr>
                  <p:cNvPr id="442057" name="Freeform 359"/>
                  <p:cNvSpPr>
                    <a:spLocks/>
                  </p:cNvSpPr>
                  <p:nvPr/>
                </p:nvSpPr>
                <p:spPr bwMode="gray">
                  <a:xfrm>
                    <a:off x="5402" y="1180"/>
                    <a:ext cx="24" cy="30"/>
                  </a:xfrm>
                  <a:custGeom>
                    <a:avLst/>
                    <a:gdLst>
                      <a:gd name="T0" fmla="*/ 16 w 24"/>
                      <a:gd name="T1" fmla="*/ 0 h 30"/>
                      <a:gd name="T2" fmla="*/ 16 w 24"/>
                      <a:gd name="T3" fmla="*/ 30 h 30"/>
                      <a:gd name="T4" fmla="*/ 22 w 24"/>
                      <a:gd name="T5" fmla="*/ 8 h 30"/>
                      <a:gd name="T6" fmla="*/ 16 w 24"/>
                      <a:gd name="T7" fmla="*/ 0 h 30"/>
                      <a:gd name="T8" fmla="*/ 0 60000 65536"/>
                      <a:gd name="T9" fmla="*/ 0 60000 65536"/>
                      <a:gd name="T10" fmla="*/ 0 60000 65536"/>
                      <a:gd name="T11" fmla="*/ 0 60000 65536"/>
                      <a:gd name="T12" fmla="*/ 0 w 24"/>
                      <a:gd name="T13" fmla="*/ 0 h 30"/>
                      <a:gd name="T14" fmla="*/ 24 w 24"/>
                      <a:gd name="T15" fmla="*/ 30 h 30"/>
                    </a:gdLst>
                    <a:ahLst/>
                    <a:cxnLst>
                      <a:cxn ang="T8">
                        <a:pos x="T0" y="T1"/>
                      </a:cxn>
                      <a:cxn ang="T9">
                        <a:pos x="T2" y="T3"/>
                      </a:cxn>
                      <a:cxn ang="T10">
                        <a:pos x="T4" y="T5"/>
                      </a:cxn>
                      <a:cxn ang="T11">
                        <a:pos x="T6" y="T7"/>
                      </a:cxn>
                    </a:cxnLst>
                    <a:rect l="T12" t="T13" r="T14" b="T15"/>
                    <a:pathLst>
                      <a:path w="24" h="30">
                        <a:moveTo>
                          <a:pt x="16" y="0"/>
                        </a:moveTo>
                        <a:cubicBezTo>
                          <a:pt x="2" y="14"/>
                          <a:pt x="0" y="14"/>
                          <a:pt x="16" y="30"/>
                        </a:cubicBezTo>
                        <a:cubicBezTo>
                          <a:pt x="11" y="16"/>
                          <a:pt x="3" y="16"/>
                          <a:pt x="22" y="8"/>
                        </a:cubicBezTo>
                        <a:cubicBezTo>
                          <a:pt x="24" y="1"/>
                          <a:pt x="24" y="0"/>
                          <a:pt x="16" y="0"/>
                        </a:cubicBezTo>
                        <a:close/>
                      </a:path>
                    </a:pathLst>
                  </a:custGeom>
                  <a:solidFill>
                    <a:srgbClr val="BA9E84"/>
                  </a:solidFill>
                  <a:ln w="9525">
                    <a:noFill/>
                    <a:round/>
                    <a:headEnd/>
                    <a:tailEnd/>
                  </a:ln>
                </p:spPr>
                <p:txBody>
                  <a:bodyPr wrap="none" lIns="18000" tIns="46800" rIns="18000" bIns="46800" anchor="ctr"/>
                  <a:lstStyle/>
                  <a:p>
                    <a:pPr defTabSz="912546"/>
                    <a:endParaRPr>
                      <a:solidFill>
                        <a:srgbClr val="000000"/>
                      </a:solidFill>
                    </a:endParaRPr>
                  </a:p>
                </p:txBody>
              </p:sp>
              <p:sp>
                <p:nvSpPr>
                  <p:cNvPr id="442058" name="Freeform 360"/>
                  <p:cNvSpPr>
                    <a:spLocks/>
                  </p:cNvSpPr>
                  <p:nvPr/>
                </p:nvSpPr>
                <p:spPr bwMode="gray">
                  <a:xfrm>
                    <a:off x="5368" y="1234"/>
                    <a:ext cx="86" cy="52"/>
                  </a:xfrm>
                  <a:custGeom>
                    <a:avLst/>
                    <a:gdLst>
                      <a:gd name="T0" fmla="*/ 64 w 86"/>
                      <a:gd name="T1" fmla="*/ 0 h 52"/>
                      <a:gd name="T2" fmla="*/ 34 w 86"/>
                      <a:gd name="T3" fmla="*/ 10 h 52"/>
                      <a:gd name="T4" fmla="*/ 16 w 86"/>
                      <a:gd name="T5" fmla="*/ 4 h 52"/>
                      <a:gd name="T6" fmla="*/ 16 w 86"/>
                      <a:gd name="T7" fmla="*/ 16 h 52"/>
                      <a:gd name="T8" fmla="*/ 6 w 86"/>
                      <a:gd name="T9" fmla="*/ 26 h 52"/>
                      <a:gd name="T10" fmla="*/ 18 w 86"/>
                      <a:gd name="T11" fmla="*/ 20 h 52"/>
                      <a:gd name="T12" fmla="*/ 20 w 86"/>
                      <a:gd name="T13" fmla="*/ 38 h 52"/>
                      <a:gd name="T14" fmla="*/ 14 w 86"/>
                      <a:gd name="T15" fmla="*/ 28 h 52"/>
                      <a:gd name="T16" fmla="*/ 34 w 86"/>
                      <a:gd name="T17" fmla="*/ 52 h 52"/>
                      <a:gd name="T18" fmla="*/ 28 w 86"/>
                      <a:gd name="T19" fmla="*/ 38 h 52"/>
                      <a:gd name="T20" fmla="*/ 26 w 86"/>
                      <a:gd name="T21" fmla="*/ 18 h 52"/>
                      <a:gd name="T22" fmla="*/ 24 w 86"/>
                      <a:gd name="T23" fmla="*/ 12 h 52"/>
                      <a:gd name="T24" fmla="*/ 42 w 86"/>
                      <a:gd name="T25" fmla="*/ 18 h 52"/>
                      <a:gd name="T26" fmla="*/ 54 w 86"/>
                      <a:gd name="T27" fmla="*/ 16 h 52"/>
                      <a:gd name="T28" fmla="*/ 50 w 86"/>
                      <a:gd name="T29" fmla="*/ 30 h 52"/>
                      <a:gd name="T30" fmla="*/ 48 w 86"/>
                      <a:gd name="T31" fmla="*/ 36 h 52"/>
                      <a:gd name="T32" fmla="*/ 60 w 86"/>
                      <a:gd name="T33" fmla="*/ 12 h 52"/>
                      <a:gd name="T34" fmla="*/ 64 w 86"/>
                      <a:gd name="T35" fmla="*/ 4 h 52"/>
                      <a:gd name="T36" fmla="*/ 72 w 86"/>
                      <a:gd name="T37" fmla="*/ 30 h 52"/>
                      <a:gd name="T38" fmla="*/ 64 w 86"/>
                      <a:gd name="T39" fmla="*/ 0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6"/>
                      <a:gd name="T61" fmla="*/ 0 h 52"/>
                      <a:gd name="T62" fmla="*/ 86 w 86"/>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6" h="52">
                        <a:moveTo>
                          <a:pt x="64" y="0"/>
                        </a:moveTo>
                        <a:cubicBezTo>
                          <a:pt x="52" y="10"/>
                          <a:pt x="58" y="13"/>
                          <a:pt x="34" y="10"/>
                        </a:cubicBezTo>
                        <a:cubicBezTo>
                          <a:pt x="28" y="8"/>
                          <a:pt x="16" y="4"/>
                          <a:pt x="16" y="4"/>
                        </a:cubicBezTo>
                        <a:cubicBezTo>
                          <a:pt x="18" y="9"/>
                          <a:pt x="30" y="25"/>
                          <a:pt x="16" y="16"/>
                        </a:cubicBezTo>
                        <a:cubicBezTo>
                          <a:pt x="10" y="19"/>
                          <a:pt x="0" y="23"/>
                          <a:pt x="6" y="26"/>
                        </a:cubicBezTo>
                        <a:cubicBezTo>
                          <a:pt x="10" y="28"/>
                          <a:pt x="14" y="21"/>
                          <a:pt x="18" y="20"/>
                        </a:cubicBezTo>
                        <a:cubicBezTo>
                          <a:pt x="23" y="28"/>
                          <a:pt x="30" y="32"/>
                          <a:pt x="20" y="38"/>
                        </a:cubicBezTo>
                        <a:cubicBezTo>
                          <a:pt x="21" y="34"/>
                          <a:pt x="17" y="25"/>
                          <a:pt x="14" y="28"/>
                        </a:cubicBezTo>
                        <a:cubicBezTo>
                          <a:pt x="4" y="38"/>
                          <a:pt x="28" y="50"/>
                          <a:pt x="34" y="52"/>
                        </a:cubicBezTo>
                        <a:cubicBezTo>
                          <a:pt x="28" y="44"/>
                          <a:pt x="17" y="45"/>
                          <a:pt x="28" y="38"/>
                        </a:cubicBezTo>
                        <a:cubicBezTo>
                          <a:pt x="25" y="28"/>
                          <a:pt x="21" y="29"/>
                          <a:pt x="26" y="18"/>
                        </a:cubicBezTo>
                        <a:cubicBezTo>
                          <a:pt x="25" y="16"/>
                          <a:pt x="22" y="12"/>
                          <a:pt x="24" y="12"/>
                        </a:cubicBezTo>
                        <a:cubicBezTo>
                          <a:pt x="30" y="11"/>
                          <a:pt x="42" y="18"/>
                          <a:pt x="42" y="18"/>
                        </a:cubicBezTo>
                        <a:cubicBezTo>
                          <a:pt x="49" y="28"/>
                          <a:pt x="44" y="19"/>
                          <a:pt x="54" y="16"/>
                        </a:cubicBezTo>
                        <a:cubicBezTo>
                          <a:pt x="49" y="30"/>
                          <a:pt x="55" y="12"/>
                          <a:pt x="50" y="30"/>
                        </a:cubicBezTo>
                        <a:cubicBezTo>
                          <a:pt x="49" y="32"/>
                          <a:pt x="47" y="38"/>
                          <a:pt x="48" y="36"/>
                        </a:cubicBezTo>
                        <a:cubicBezTo>
                          <a:pt x="48" y="36"/>
                          <a:pt x="58" y="16"/>
                          <a:pt x="60" y="12"/>
                        </a:cubicBezTo>
                        <a:cubicBezTo>
                          <a:pt x="61" y="9"/>
                          <a:pt x="64" y="4"/>
                          <a:pt x="64" y="4"/>
                        </a:cubicBezTo>
                        <a:cubicBezTo>
                          <a:pt x="68" y="8"/>
                          <a:pt x="86" y="23"/>
                          <a:pt x="72" y="30"/>
                        </a:cubicBezTo>
                        <a:cubicBezTo>
                          <a:pt x="69" y="32"/>
                          <a:pt x="65" y="3"/>
                          <a:pt x="64" y="0"/>
                        </a:cubicBezTo>
                        <a:close/>
                      </a:path>
                    </a:pathLst>
                  </a:custGeom>
                  <a:solidFill>
                    <a:srgbClr val="BA9E84"/>
                  </a:solidFill>
                  <a:ln w="9525">
                    <a:noFill/>
                    <a:round/>
                    <a:headEnd/>
                    <a:tailEnd/>
                  </a:ln>
                </p:spPr>
                <p:txBody>
                  <a:bodyPr wrap="none" lIns="18000" tIns="46800" rIns="18000" bIns="46800" anchor="ctr"/>
                  <a:lstStyle/>
                  <a:p>
                    <a:pPr defTabSz="912546"/>
                    <a:endParaRPr>
                      <a:solidFill>
                        <a:srgbClr val="000000"/>
                      </a:solidFill>
                    </a:endParaRPr>
                  </a:p>
                </p:txBody>
              </p:sp>
              <p:sp>
                <p:nvSpPr>
                  <p:cNvPr id="442059" name="Freeform 361"/>
                  <p:cNvSpPr>
                    <a:spLocks/>
                  </p:cNvSpPr>
                  <p:nvPr/>
                </p:nvSpPr>
                <p:spPr bwMode="gray">
                  <a:xfrm>
                    <a:off x="5353" y="1260"/>
                    <a:ext cx="41" cy="54"/>
                  </a:xfrm>
                  <a:custGeom>
                    <a:avLst/>
                    <a:gdLst>
                      <a:gd name="T0" fmla="*/ 31 w 41"/>
                      <a:gd name="T1" fmla="*/ 14 h 54"/>
                      <a:gd name="T2" fmla="*/ 19 w 41"/>
                      <a:gd name="T3" fmla="*/ 4 h 54"/>
                      <a:gd name="T4" fmla="*/ 11 w 41"/>
                      <a:gd name="T5" fmla="*/ 0 h 54"/>
                      <a:gd name="T6" fmla="*/ 7 w 41"/>
                      <a:gd name="T7" fmla="*/ 8 h 54"/>
                      <a:gd name="T8" fmla="*/ 3 w 41"/>
                      <a:gd name="T9" fmla="*/ 0 h 54"/>
                      <a:gd name="T10" fmla="*/ 1 w 41"/>
                      <a:gd name="T11" fmla="*/ 6 h 54"/>
                      <a:gd name="T12" fmla="*/ 13 w 41"/>
                      <a:gd name="T13" fmla="*/ 36 h 54"/>
                      <a:gd name="T14" fmla="*/ 17 w 41"/>
                      <a:gd name="T15" fmla="*/ 50 h 54"/>
                      <a:gd name="T16" fmla="*/ 19 w 41"/>
                      <a:gd name="T17" fmla="*/ 34 h 54"/>
                      <a:gd name="T18" fmla="*/ 27 w 41"/>
                      <a:gd name="T19" fmla="*/ 30 h 54"/>
                      <a:gd name="T20" fmla="*/ 31 w 41"/>
                      <a:gd name="T21" fmla="*/ 14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54"/>
                      <a:gd name="T35" fmla="*/ 41 w 41"/>
                      <a:gd name="T36" fmla="*/ 54 h 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54">
                        <a:moveTo>
                          <a:pt x="31" y="14"/>
                        </a:moveTo>
                        <a:cubicBezTo>
                          <a:pt x="27" y="2"/>
                          <a:pt x="26" y="15"/>
                          <a:pt x="19" y="4"/>
                        </a:cubicBezTo>
                        <a:cubicBezTo>
                          <a:pt x="15" y="19"/>
                          <a:pt x="16" y="7"/>
                          <a:pt x="11" y="0"/>
                        </a:cubicBezTo>
                        <a:cubicBezTo>
                          <a:pt x="10" y="3"/>
                          <a:pt x="10" y="8"/>
                          <a:pt x="7" y="8"/>
                        </a:cubicBezTo>
                        <a:cubicBezTo>
                          <a:pt x="4" y="8"/>
                          <a:pt x="6" y="0"/>
                          <a:pt x="3" y="0"/>
                        </a:cubicBezTo>
                        <a:cubicBezTo>
                          <a:pt x="1" y="0"/>
                          <a:pt x="0" y="7"/>
                          <a:pt x="1" y="6"/>
                        </a:cubicBezTo>
                        <a:cubicBezTo>
                          <a:pt x="5" y="16"/>
                          <a:pt x="11" y="25"/>
                          <a:pt x="13" y="36"/>
                        </a:cubicBezTo>
                        <a:cubicBezTo>
                          <a:pt x="16" y="53"/>
                          <a:pt x="0" y="54"/>
                          <a:pt x="17" y="50"/>
                        </a:cubicBezTo>
                        <a:cubicBezTo>
                          <a:pt x="29" y="27"/>
                          <a:pt x="7" y="51"/>
                          <a:pt x="19" y="34"/>
                        </a:cubicBezTo>
                        <a:cubicBezTo>
                          <a:pt x="24" y="36"/>
                          <a:pt x="41" y="35"/>
                          <a:pt x="27" y="30"/>
                        </a:cubicBezTo>
                        <a:cubicBezTo>
                          <a:pt x="23" y="24"/>
                          <a:pt x="20" y="3"/>
                          <a:pt x="31" y="14"/>
                        </a:cubicBezTo>
                        <a:close/>
                      </a:path>
                    </a:pathLst>
                  </a:custGeom>
                  <a:solidFill>
                    <a:srgbClr val="D7B491"/>
                  </a:solidFill>
                  <a:ln w="9525">
                    <a:noFill/>
                    <a:round/>
                    <a:headEnd/>
                    <a:tailEnd/>
                  </a:ln>
                </p:spPr>
                <p:txBody>
                  <a:bodyPr wrap="none" lIns="18000" tIns="46800" rIns="18000" bIns="46800" anchor="ctr"/>
                  <a:lstStyle/>
                  <a:p>
                    <a:pPr defTabSz="912546"/>
                    <a:endParaRPr>
                      <a:solidFill>
                        <a:srgbClr val="000000"/>
                      </a:solidFill>
                    </a:endParaRPr>
                  </a:p>
                </p:txBody>
              </p:sp>
              <p:sp>
                <p:nvSpPr>
                  <p:cNvPr id="442060" name="Freeform 362"/>
                  <p:cNvSpPr>
                    <a:spLocks/>
                  </p:cNvSpPr>
                  <p:nvPr/>
                </p:nvSpPr>
                <p:spPr bwMode="gray">
                  <a:xfrm>
                    <a:off x="5360" y="1898"/>
                    <a:ext cx="56" cy="100"/>
                  </a:xfrm>
                  <a:custGeom>
                    <a:avLst/>
                    <a:gdLst>
                      <a:gd name="T0" fmla="*/ 50 w 56"/>
                      <a:gd name="T1" fmla="*/ 18 h 100"/>
                      <a:gd name="T2" fmla="*/ 50 w 56"/>
                      <a:gd name="T3" fmla="*/ 24 h 100"/>
                      <a:gd name="T4" fmla="*/ 26 w 56"/>
                      <a:gd name="T5" fmla="*/ 72 h 100"/>
                      <a:gd name="T6" fmla="*/ 12 w 56"/>
                      <a:gd name="T7" fmla="*/ 56 h 100"/>
                      <a:gd name="T8" fmla="*/ 20 w 56"/>
                      <a:gd name="T9" fmla="*/ 100 h 100"/>
                      <a:gd name="T10" fmla="*/ 50 w 56"/>
                      <a:gd name="T11" fmla="*/ 80 h 100"/>
                      <a:gd name="T12" fmla="*/ 52 w 56"/>
                      <a:gd name="T13" fmla="*/ 54 h 100"/>
                      <a:gd name="T14" fmla="*/ 54 w 56"/>
                      <a:gd name="T15" fmla="*/ 30 h 100"/>
                      <a:gd name="T16" fmla="*/ 56 w 56"/>
                      <a:gd name="T17" fmla="*/ 14 h 100"/>
                      <a:gd name="T18" fmla="*/ 46 w 56"/>
                      <a:gd name="T19" fmla="*/ 0 h 100"/>
                      <a:gd name="T20" fmla="*/ 50 w 56"/>
                      <a:gd name="T21" fmla="*/ 18 h 1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100"/>
                      <a:gd name="T35" fmla="*/ 56 w 56"/>
                      <a:gd name="T36" fmla="*/ 100 h 1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100">
                        <a:moveTo>
                          <a:pt x="50" y="18"/>
                        </a:moveTo>
                        <a:cubicBezTo>
                          <a:pt x="48" y="25"/>
                          <a:pt x="54" y="24"/>
                          <a:pt x="50" y="24"/>
                        </a:cubicBezTo>
                        <a:cubicBezTo>
                          <a:pt x="46" y="59"/>
                          <a:pt x="55" y="67"/>
                          <a:pt x="26" y="72"/>
                        </a:cubicBezTo>
                        <a:cubicBezTo>
                          <a:pt x="17" y="68"/>
                          <a:pt x="14" y="62"/>
                          <a:pt x="12" y="56"/>
                        </a:cubicBezTo>
                        <a:cubicBezTo>
                          <a:pt x="0" y="72"/>
                          <a:pt x="14" y="96"/>
                          <a:pt x="20" y="100"/>
                        </a:cubicBezTo>
                        <a:cubicBezTo>
                          <a:pt x="30" y="100"/>
                          <a:pt x="41" y="92"/>
                          <a:pt x="50" y="80"/>
                        </a:cubicBezTo>
                        <a:cubicBezTo>
                          <a:pt x="52" y="61"/>
                          <a:pt x="52" y="69"/>
                          <a:pt x="52" y="54"/>
                        </a:cubicBezTo>
                        <a:cubicBezTo>
                          <a:pt x="53" y="46"/>
                          <a:pt x="53" y="38"/>
                          <a:pt x="54" y="30"/>
                        </a:cubicBezTo>
                        <a:cubicBezTo>
                          <a:pt x="55" y="26"/>
                          <a:pt x="56" y="14"/>
                          <a:pt x="56" y="14"/>
                        </a:cubicBezTo>
                        <a:cubicBezTo>
                          <a:pt x="56" y="14"/>
                          <a:pt x="47" y="1"/>
                          <a:pt x="46" y="0"/>
                        </a:cubicBezTo>
                        <a:cubicBezTo>
                          <a:pt x="45" y="1"/>
                          <a:pt x="50" y="14"/>
                          <a:pt x="50" y="18"/>
                        </a:cubicBezTo>
                        <a:close/>
                      </a:path>
                    </a:pathLst>
                  </a:custGeom>
                  <a:solidFill>
                    <a:srgbClr val="27282B"/>
                  </a:solidFill>
                  <a:ln w="9525">
                    <a:noFill/>
                    <a:round/>
                    <a:headEnd/>
                    <a:tailEnd/>
                  </a:ln>
                </p:spPr>
                <p:txBody>
                  <a:bodyPr wrap="none" lIns="18000" tIns="46800" rIns="18000" bIns="46800" anchor="ctr"/>
                  <a:lstStyle/>
                  <a:p>
                    <a:pPr defTabSz="912546"/>
                    <a:endParaRPr>
                      <a:solidFill>
                        <a:srgbClr val="000000"/>
                      </a:solidFill>
                    </a:endParaRPr>
                  </a:p>
                </p:txBody>
              </p:sp>
              <p:sp>
                <p:nvSpPr>
                  <p:cNvPr id="442061" name="Freeform 363"/>
                  <p:cNvSpPr>
                    <a:spLocks/>
                  </p:cNvSpPr>
                  <p:nvPr/>
                </p:nvSpPr>
                <p:spPr bwMode="gray">
                  <a:xfrm>
                    <a:off x="5460" y="1928"/>
                    <a:ext cx="54" cy="91"/>
                  </a:xfrm>
                  <a:custGeom>
                    <a:avLst/>
                    <a:gdLst>
                      <a:gd name="T0" fmla="*/ 18 w 54"/>
                      <a:gd name="T1" fmla="*/ 0 h 91"/>
                      <a:gd name="T2" fmla="*/ 10 w 54"/>
                      <a:gd name="T3" fmla="*/ 12 h 91"/>
                      <a:gd name="T4" fmla="*/ 12 w 54"/>
                      <a:gd name="T5" fmla="*/ 20 h 91"/>
                      <a:gd name="T6" fmla="*/ 14 w 54"/>
                      <a:gd name="T7" fmla="*/ 82 h 91"/>
                      <a:gd name="T8" fmla="*/ 46 w 54"/>
                      <a:gd name="T9" fmla="*/ 68 h 91"/>
                      <a:gd name="T10" fmla="*/ 50 w 54"/>
                      <a:gd name="T11" fmla="*/ 38 h 91"/>
                      <a:gd name="T12" fmla="*/ 48 w 54"/>
                      <a:gd name="T13" fmla="*/ 16 h 91"/>
                      <a:gd name="T14" fmla="*/ 50 w 54"/>
                      <a:gd name="T15" fmla="*/ 24 h 91"/>
                      <a:gd name="T16" fmla="*/ 26 w 54"/>
                      <a:gd name="T17" fmla="*/ 62 h 91"/>
                      <a:gd name="T18" fmla="*/ 12 w 54"/>
                      <a:gd name="T19" fmla="*/ 40 h 91"/>
                      <a:gd name="T20" fmla="*/ 18 w 54"/>
                      <a:gd name="T21" fmla="*/ 0 h 9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91"/>
                      <a:gd name="T35" fmla="*/ 54 w 54"/>
                      <a:gd name="T36" fmla="*/ 91 h 9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91">
                        <a:moveTo>
                          <a:pt x="18" y="0"/>
                        </a:moveTo>
                        <a:cubicBezTo>
                          <a:pt x="16" y="5"/>
                          <a:pt x="11" y="7"/>
                          <a:pt x="10" y="12"/>
                        </a:cubicBezTo>
                        <a:cubicBezTo>
                          <a:pt x="9" y="15"/>
                          <a:pt x="12" y="20"/>
                          <a:pt x="12" y="20"/>
                        </a:cubicBezTo>
                        <a:cubicBezTo>
                          <a:pt x="11" y="41"/>
                          <a:pt x="0" y="60"/>
                          <a:pt x="14" y="82"/>
                        </a:cubicBezTo>
                        <a:cubicBezTo>
                          <a:pt x="25" y="91"/>
                          <a:pt x="38" y="85"/>
                          <a:pt x="46" y="68"/>
                        </a:cubicBezTo>
                        <a:cubicBezTo>
                          <a:pt x="53" y="55"/>
                          <a:pt x="54" y="46"/>
                          <a:pt x="50" y="38"/>
                        </a:cubicBezTo>
                        <a:cubicBezTo>
                          <a:pt x="49" y="31"/>
                          <a:pt x="49" y="23"/>
                          <a:pt x="48" y="16"/>
                        </a:cubicBezTo>
                        <a:cubicBezTo>
                          <a:pt x="46" y="0"/>
                          <a:pt x="48" y="19"/>
                          <a:pt x="50" y="24"/>
                        </a:cubicBezTo>
                        <a:cubicBezTo>
                          <a:pt x="47" y="50"/>
                          <a:pt x="45" y="56"/>
                          <a:pt x="26" y="62"/>
                        </a:cubicBezTo>
                        <a:cubicBezTo>
                          <a:pt x="12" y="62"/>
                          <a:pt x="13" y="50"/>
                          <a:pt x="12" y="40"/>
                        </a:cubicBezTo>
                        <a:lnTo>
                          <a:pt x="18" y="0"/>
                        </a:lnTo>
                        <a:close/>
                      </a:path>
                    </a:pathLst>
                  </a:custGeom>
                  <a:solidFill>
                    <a:srgbClr val="27282B"/>
                  </a:solidFill>
                  <a:ln w="9525">
                    <a:noFill/>
                    <a:round/>
                    <a:headEnd/>
                    <a:tailEnd/>
                  </a:ln>
                </p:spPr>
                <p:txBody>
                  <a:bodyPr wrap="none" lIns="18000" tIns="46800" rIns="18000" bIns="46800" anchor="ctr"/>
                  <a:lstStyle/>
                  <a:p>
                    <a:pPr defTabSz="912546"/>
                    <a:endParaRPr>
                      <a:solidFill>
                        <a:srgbClr val="000000"/>
                      </a:solidFill>
                    </a:endParaRPr>
                  </a:p>
                </p:txBody>
              </p:sp>
              <p:sp>
                <p:nvSpPr>
                  <p:cNvPr id="442062" name="Freeform 364"/>
                  <p:cNvSpPr>
                    <a:spLocks/>
                  </p:cNvSpPr>
                  <p:nvPr/>
                </p:nvSpPr>
                <p:spPr bwMode="gray">
                  <a:xfrm>
                    <a:off x="5478" y="1781"/>
                    <a:ext cx="25" cy="220"/>
                  </a:xfrm>
                  <a:custGeom>
                    <a:avLst/>
                    <a:gdLst>
                      <a:gd name="T0" fmla="*/ 22 w 25"/>
                      <a:gd name="T1" fmla="*/ 11 h 220"/>
                      <a:gd name="T2" fmla="*/ 12 w 25"/>
                      <a:gd name="T3" fmla="*/ 3 h 220"/>
                      <a:gd name="T4" fmla="*/ 8 w 25"/>
                      <a:gd name="T5" fmla="*/ 9 h 220"/>
                      <a:gd name="T6" fmla="*/ 14 w 25"/>
                      <a:gd name="T7" fmla="*/ 111 h 220"/>
                      <a:gd name="T8" fmla="*/ 2 w 25"/>
                      <a:gd name="T9" fmla="*/ 173 h 220"/>
                      <a:gd name="T10" fmla="*/ 14 w 25"/>
                      <a:gd name="T11" fmla="*/ 199 h 220"/>
                      <a:gd name="T12" fmla="*/ 10 w 25"/>
                      <a:gd name="T13" fmla="*/ 193 h 220"/>
                      <a:gd name="T14" fmla="*/ 12 w 25"/>
                      <a:gd name="T15" fmla="*/ 143 h 220"/>
                      <a:gd name="T16" fmla="*/ 18 w 25"/>
                      <a:gd name="T17" fmla="*/ 121 h 220"/>
                      <a:gd name="T18" fmla="*/ 20 w 25"/>
                      <a:gd name="T19" fmla="*/ 113 h 220"/>
                      <a:gd name="T20" fmla="*/ 18 w 25"/>
                      <a:gd name="T21" fmla="*/ 99 h 220"/>
                      <a:gd name="T22" fmla="*/ 22 w 25"/>
                      <a:gd name="T23" fmla="*/ 11 h 2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20"/>
                      <a:gd name="T38" fmla="*/ 25 w 25"/>
                      <a:gd name="T39" fmla="*/ 220 h 2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20">
                        <a:moveTo>
                          <a:pt x="22" y="11"/>
                        </a:moveTo>
                        <a:cubicBezTo>
                          <a:pt x="25" y="0"/>
                          <a:pt x="22" y="0"/>
                          <a:pt x="12" y="3"/>
                        </a:cubicBezTo>
                        <a:cubicBezTo>
                          <a:pt x="8" y="12"/>
                          <a:pt x="8" y="14"/>
                          <a:pt x="8" y="9"/>
                        </a:cubicBezTo>
                        <a:lnTo>
                          <a:pt x="14" y="111"/>
                        </a:lnTo>
                        <a:lnTo>
                          <a:pt x="2" y="173"/>
                        </a:lnTo>
                        <a:cubicBezTo>
                          <a:pt x="2" y="177"/>
                          <a:pt x="0" y="220"/>
                          <a:pt x="14" y="199"/>
                        </a:cubicBezTo>
                        <a:cubicBezTo>
                          <a:pt x="12" y="192"/>
                          <a:pt x="14" y="193"/>
                          <a:pt x="10" y="193"/>
                        </a:cubicBezTo>
                        <a:cubicBezTo>
                          <a:pt x="11" y="182"/>
                          <a:pt x="19" y="150"/>
                          <a:pt x="12" y="143"/>
                        </a:cubicBezTo>
                        <a:cubicBezTo>
                          <a:pt x="16" y="132"/>
                          <a:pt x="13" y="139"/>
                          <a:pt x="18" y="121"/>
                        </a:cubicBezTo>
                        <a:cubicBezTo>
                          <a:pt x="19" y="118"/>
                          <a:pt x="20" y="113"/>
                          <a:pt x="20" y="113"/>
                        </a:cubicBezTo>
                        <a:cubicBezTo>
                          <a:pt x="19" y="108"/>
                          <a:pt x="18" y="99"/>
                          <a:pt x="18" y="99"/>
                        </a:cubicBezTo>
                        <a:lnTo>
                          <a:pt x="22" y="11"/>
                        </a:lnTo>
                        <a:close/>
                      </a:path>
                    </a:pathLst>
                  </a:custGeom>
                  <a:solidFill>
                    <a:srgbClr val="D9B897"/>
                  </a:solidFill>
                  <a:ln w="9525">
                    <a:noFill/>
                    <a:round/>
                    <a:headEnd/>
                    <a:tailEnd/>
                  </a:ln>
                </p:spPr>
                <p:txBody>
                  <a:bodyPr wrap="none" lIns="18000" tIns="46800" rIns="18000" bIns="46800" anchor="ctr"/>
                  <a:lstStyle/>
                  <a:p>
                    <a:pPr defTabSz="912546"/>
                    <a:endParaRPr>
                      <a:solidFill>
                        <a:srgbClr val="000000"/>
                      </a:solidFill>
                    </a:endParaRPr>
                  </a:p>
                </p:txBody>
              </p:sp>
              <p:sp>
                <p:nvSpPr>
                  <p:cNvPr id="442063" name="Freeform 365"/>
                  <p:cNvSpPr>
                    <a:spLocks/>
                  </p:cNvSpPr>
                  <p:nvPr/>
                </p:nvSpPr>
                <p:spPr bwMode="gray">
                  <a:xfrm>
                    <a:off x="5361" y="1775"/>
                    <a:ext cx="48" cy="196"/>
                  </a:xfrm>
                  <a:custGeom>
                    <a:avLst/>
                    <a:gdLst>
                      <a:gd name="T0" fmla="*/ 11 w 48"/>
                      <a:gd name="T1" fmla="*/ 21 h 196"/>
                      <a:gd name="T2" fmla="*/ 1 w 48"/>
                      <a:gd name="T3" fmla="*/ 11 h 196"/>
                      <a:gd name="T4" fmla="*/ 5 w 48"/>
                      <a:gd name="T5" fmla="*/ 35 h 196"/>
                      <a:gd name="T6" fmla="*/ 25 w 48"/>
                      <a:gd name="T7" fmla="*/ 159 h 196"/>
                      <a:gd name="T8" fmla="*/ 23 w 48"/>
                      <a:gd name="T9" fmla="*/ 191 h 196"/>
                      <a:gd name="T10" fmla="*/ 37 w 48"/>
                      <a:gd name="T11" fmla="*/ 183 h 196"/>
                      <a:gd name="T12" fmla="*/ 31 w 48"/>
                      <a:gd name="T13" fmla="*/ 121 h 196"/>
                      <a:gd name="T14" fmla="*/ 27 w 48"/>
                      <a:gd name="T15" fmla="*/ 115 h 196"/>
                      <a:gd name="T16" fmla="*/ 17 w 48"/>
                      <a:gd name="T17" fmla="*/ 61 h 196"/>
                      <a:gd name="T18" fmla="*/ 11 w 48"/>
                      <a:gd name="T19" fmla="*/ 21 h 1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196"/>
                      <a:gd name="T32" fmla="*/ 48 w 48"/>
                      <a:gd name="T33" fmla="*/ 196 h 1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196">
                        <a:moveTo>
                          <a:pt x="11" y="21"/>
                        </a:moveTo>
                        <a:cubicBezTo>
                          <a:pt x="13" y="14"/>
                          <a:pt x="9" y="0"/>
                          <a:pt x="1" y="11"/>
                        </a:cubicBezTo>
                        <a:cubicBezTo>
                          <a:pt x="3" y="32"/>
                          <a:pt x="0" y="25"/>
                          <a:pt x="5" y="35"/>
                        </a:cubicBezTo>
                        <a:cubicBezTo>
                          <a:pt x="26" y="132"/>
                          <a:pt x="25" y="105"/>
                          <a:pt x="25" y="159"/>
                        </a:cubicBezTo>
                        <a:cubicBezTo>
                          <a:pt x="24" y="170"/>
                          <a:pt x="18" y="181"/>
                          <a:pt x="23" y="191"/>
                        </a:cubicBezTo>
                        <a:cubicBezTo>
                          <a:pt x="25" y="196"/>
                          <a:pt x="39" y="188"/>
                          <a:pt x="37" y="183"/>
                        </a:cubicBezTo>
                        <a:cubicBezTo>
                          <a:pt x="38" y="167"/>
                          <a:pt x="48" y="133"/>
                          <a:pt x="31" y="121"/>
                        </a:cubicBezTo>
                        <a:cubicBezTo>
                          <a:pt x="30" y="119"/>
                          <a:pt x="27" y="115"/>
                          <a:pt x="27" y="115"/>
                        </a:cubicBezTo>
                        <a:cubicBezTo>
                          <a:pt x="25" y="108"/>
                          <a:pt x="20" y="77"/>
                          <a:pt x="17" y="61"/>
                        </a:cubicBezTo>
                        <a:lnTo>
                          <a:pt x="11" y="21"/>
                        </a:lnTo>
                        <a:close/>
                      </a:path>
                    </a:pathLst>
                  </a:custGeom>
                  <a:solidFill>
                    <a:srgbClr val="D9B897"/>
                  </a:solidFill>
                  <a:ln w="9525">
                    <a:noFill/>
                    <a:round/>
                    <a:headEnd/>
                    <a:tailEnd/>
                  </a:ln>
                </p:spPr>
                <p:txBody>
                  <a:bodyPr wrap="none" lIns="18000" tIns="46800" rIns="18000" bIns="46800" anchor="ctr"/>
                  <a:lstStyle/>
                  <a:p>
                    <a:pPr defTabSz="912546"/>
                    <a:endParaRPr>
                      <a:solidFill>
                        <a:srgbClr val="000000"/>
                      </a:solidFill>
                    </a:endParaRPr>
                  </a:p>
                </p:txBody>
              </p:sp>
              <p:sp>
                <p:nvSpPr>
                  <p:cNvPr id="442064" name="Freeform 366"/>
                  <p:cNvSpPr>
                    <a:spLocks/>
                  </p:cNvSpPr>
                  <p:nvPr/>
                </p:nvSpPr>
                <p:spPr bwMode="gray">
                  <a:xfrm>
                    <a:off x="5396" y="1220"/>
                    <a:ext cx="30" cy="17"/>
                  </a:xfrm>
                  <a:custGeom>
                    <a:avLst/>
                    <a:gdLst>
                      <a:gd name="T0" fmla="*/ 28 w 30"/>
                      <a:gd name="T1" fmla="*/ 4 h 17"/>
                      <a:gd name="T2" fmla="*/ 0 w 30"/>
                      <a:gd name="T3" fmla="*/ 10 h 17"/>
                      <a:gd name="T4" fmla="*/ 30 w 30"/>
                      <a:gd name="T5" fmla="*/ 0 h 17"/>
                      <a:gd name="T6" fmla="*/ 26 w 30"/>
                      <a:gd name="T7" fmla="*/ 8 h 17"/>
                      <a:gd name="T8" fmla="*/ 28 w 30"/>
                      <a:gd name="T9" fmla="*/ 4 h 17"/>
                      <a:gd name="T10" fmla="*/ 0 60000 65536"/>
                      <a:gd name="T11" fmla="*/ 0 60000 65536"/>
                      <a:gd name="T12" fmla="*/ 0 60000 65536"/>
                      <a:gd name="T13" fmla="*/ 0 60000 65536"/>
                      <a:gd name="T14" fmla="*/ 0 60000 65536"/>
                      <a:gd name="T15" fmla="*/ 0 w 30"/>
                      <a:gd name="T16" fmla="*/ 0 h 17"/>
                      <a:gd name="T17" fmla="*/ 30 w 30"/>
                      <a:gd name="T18" fmla="*/ 17 h 17"/>
                    </a:gdLst>
                    <a:ahLst/>
                    <a:cxnLst>
                      <a:cxn ang="T10">
                        <a:pos x="T0" y="T1"/>
                      </a:cxn>
                      <a:cxn ang="T11">
                        <a:pos x="T2" y="T3"/>
                      </a:cxn>
                      <a:cxn ang="T12">
                        <a:pos x="T4" y="T5"/>
                      </a:cxn>
                      <a:cxn ang="T13">
                        <a:pos x="T6" y="T7"/>
                      </a:cxn>
                      <a:cxn ang="T14">
                        <a:pos x="T8" y="T9"/>
                      </a:cxn>
                    </a:cxnLst>
                    <a:rect l="T15" t="T16" r="T17" b="T18"/>
                    <a:pathLst>
                      <a:path w="30" h="17">
                        <a:moveTo>
                          <a:pt x="28" y="4"/>
                        </a:moveTo>
                        <a:cubicBezTo>
                          <a:pt x="20" y="17"/>
                          <a:pt x="14" y="13"/>
                          <a:pt x="0" y="10"/>
                        </a:cubicBezTo>
                        <a:cubicBezTo>
                          <a:pt x="13" y="7"/>
                          <a:pt x="20" y="7"/>
                          <a:pt x="30" y="0"/>
                        </a:cubicBezTo>
                        <a:cubicBezTo>
                          <a:pt x="29" y="3"/>
                          <a:pt x="27" y="5"/>
                          <a:pt x="26" y="8"/>
                        </a:cubicBezTo>
                        <a:cubicBezTo>
                          <a:pt x="25" y="9"/>
                          <a:pt x="27" y="5"/>
                          <a:pt x="28" y="4"/>
                        </a:cubicBezTo>
                        <a:close/>
                      </a:path>
                    </a:pathLst>
                  </a:custGeom>
                  <a:solidFill>
                    <a:srgbClr val="B38A83"/>
                  </a:solidFill>
                  <a:ln w="9525">
                    <a:noFill/>
                    <a:round/>
                    <a:headEnd/>
                    <a:tailEnd/>
                  </a:ln>
                </p:spPr>
                <p:txBody>
                  <a:bodyPr wrap="none" lIns="18000" tIns="46800" rIns="18000" bIns="46800" anchor="ctr"/>
                  <a:lstStyle/>
                  <a:p>
                    <a:pPr defTabSz="912546"/>
                    <a:endParaRPr>
                      <a:solidFill>
                        <a:srgbClr val="000000"/>
                      </a:solidFill>
                    </a:endParaRPr>
                  </a:p>
                </p:txBody>
              </p:sp>
              <p:sp>
                <p:nvSpPr>
                  <p:cNvPr id="442065" name="Freeform 367"/>
                  <p:cNvSpPr>
                    <a:spLocks/>
                  </p:cNvSpPr>
                  <p:nvPr/>
                </p:nvSpPr>
                <p:spPr bwMode="gray">
                  <a:xfrm>
                    <a:off x="5522" y="1558"/>
                    <a:ext cx="28" cy="56"/>
                  </a:xfrm>
                  <a:custGeom>
                    <a:avLst/>
                    <a:gdLst>
                      <a:gd name="T0" fmla="*/ 20 w 28"/>
                      <a:gd name="T1" fmla="*/ 0 h 56"/>
                      <a:gd name="T2" fmla="*/ 2 w 28"/>
                      <a:gd name="T3" fmla="*/ 4 h 56"/>
                      <a:gd name="T4" fmla="*/ 4 w 28"/>
                      <a:gd name="T5" fmla="*/ 48 h 56"/>
                      <a:gd name="T6" fmla="*/ 14 w 28"/>
                      <a:gd name="T7" fmla="*/ 32 h 56"/>
                      <a:gd name="T8" fmla="*/ 20 w 28"/>
                      <a:gd name="T9" fmla="*/ 20 h 56"/>
                      <a:gd name="T10" fmla="*/ 22 w 28"/>
                      <a:gd name="T11" fmla="*/ 48 h 56"/>
                      <a:gd name="T12" fmla="*/ 18 w 28"/>
                      <a:gd name="T13" fmla="*/ 54 h 56"/>
                      <a:gd name="T14" fmla="*/ 24 w 28"/>
                      <a:gd name="T15" fmla="*/ 50 h 56"/>
                      <a:gd name="T16" fmla="*/ 26 w 28"/>
                      <a:gd name="T17" fmla="*/ 16 h 56"/>
                      <a:gd name="T18" fmla="*/ 20 w 28"/>
                      <a:gd name="T19" fmla="*/ 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56"/>
                      <a:gd name="T32" fmla="*/ 28 w 28"/>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56">
                        <a:moveTo>
                          <a:pt x="20" y="0"/>
                        </a:moveTo>
                        <a:cubicBezTo>
                          <a:pt x="12" y="5"/>
                          <a:pt x="11" y="1"/>
                          <a:pt x="2" y="4"/>
                        </a:cubicBezTo>
                        <a:cubicBezTo>
                          <a:pt x="6" y="19"/>
                          <a:pt x="0" y="33"/>
                          <a:pt x="4" y="48"/>
                        </a:cubicBezTo>
                        <a:cubicBezTo>
                          <a:pt x="14" y="45"/>
                          <a:pt x="5" y="43"/>
                          <a:pt x="14" y="32"/>
                        </a:cubicBezTo>
                        <a:cubicBezTo>
                          <a:pt x="8" y="23"/>
                          <a:pt x="8" y="17"/>
                          <a:pt x="20" y="20"/>
                        </a:cubicBezTo>
                        <a:cubicBezTo>
                          <a:pt x="23" y="33"/>
                          <a:pt x="26" y="36"/>
                          <a:pt x="22" y="48"/>
                        </a:cubicBezTo>
                        <a:cubicBezTo>
                          <a:pt x="21" y="50"/>
                          <a:pt x="16" y="52"/>
                          <a:pt x="18" y="54"/>
                        </a:cubicBezTo>
                        <a:cubicBezTo>
                          <a:pt x="20" y="56"/>
                          <a:pt x="22" y="51"/>
                          <a:pt x="24" y="50"/>
                        </a:cubicBezTo>
                        <a:cubicBezTo>
                          <a:pt x="28" y="37"/>
                          <a:pt x="28" y="32"/>
                          <a:pt x="26" y="16"/>
                        </a:cubicBezTo>
                        <a:cubicBezTo>
                          <a:pt x="25" y="7"/>
                          <a:pt x="13" y="4"/>
                          <a:pt x="20" y="0"/>
                        </a:cubicBezTo>
                        <a:close/>
                      </a:path>
                    </a:pathLst>
                  </a:custGeom>
                  <a:solidFill>
                    <a:srgbClr val="E3CAB1"/>
                  </a:solidFill>
                  <a:ln w="9525">
                    <a:noFill/>
                    <a:round/>
                    <a:headEnd/>
                    <a:tailEnd/>
                  </a:ln>
                </p:spPr>
                <p:txBody>
                  <a:bodyPr wrap="none" lIns="18000" tIns="46800" rIns="18000" bIns="46800" anchor="ctr"/>
                  <a:lstStyle/>
                  <a:p>
                    <a:pPr defTabSz="912546"/>
                    <a:endParaRPr>
                      <a:solidFill>
                        <a:srgbClr val="000000"/>
                      </a:solidFill>
                    </a:endParaRPr>
                  </a:p>
                </p:txBody>
              </p:sp>
            </p:grpSp>
            <p:grpSp>
              <p:nvGrpSpPr>
                <p:cNvPr id="27" name="Group 368"/>
                <p:cNvGrpSpPr>
                  <a:grpSpLocks/>
                </p:cNvGrpSpPr>
                <p:nvPr/>
              </p:nvGrpSpPr>
              <p:grpSpPr bwMode="gray">
                <a:xfrm>
                  <a:off x="4390" y="2610"/>
                  <a:ext cx="130" cy="424"/>
                  <a:chOff x="3480" y="978"/>
                  <a:chExt cx="349" cy="1285"/>
                </a:xfrm>
              </p:grpSpPr>
              <p:sp>
                <p:nvSpPr>
                  <p:cNvPr id="442025" name="Freeform 369"/>
                  <p:cNvSpPr>
                    <a:spLocks/>
                  </p:cNvSpPr>
                  <p:nvPr/>
                </p:nvSpPr>
                <p:spPr bwMode="gray">
                  <a:xfrm>
                    <a:off x="3480" y="2075"/>
                    <a:ext cx="169" cy="109"/>
                  </a:xfrm>
                  <a:custGeom>
                    <a:avLst/>
                    <a:gdLst>
                      <a:gd name="T0" fmla="*/ 76 w 169"/>
                      <a:gd name="T1" fmla="*/ 39 h 109"/>
                      <a:gd name="T2" fmla="*/ 50 w 169"/>
                      <a:gd name="T3" fmla="*/ 61 h 109"/>
                      <a:gd name="T4" fmla="*/ 12 w 169"/>
                      <a:gd name="T5" fmla="*/ 100 h 109"/>
                      <a:gd name="T6" fmla="*/ 36 w 169"/>
                      <a:gd name="T7" fmla="*/ 109 h 109"/>
                      <a:gd name="T8" fmla="*/ 84 w 169"/>
                      <a:gd name="T9" fmla="*/ 103 h 109"/>
                      <a:gd name="T10" fmla="*/ 126 w 169"/>
                      <a:gd name="T11" fmla="*/ 79 h 109"/>
                      <a:gd name="T12" fmla="*/ 165 w 169"/>
                      <a:gd name="T13" fmla="*/ 67 h 109"/>
                      <a:gd name="T14" fmla="*/ 140 w 169"/>
                      <a:gd name="T15" fmla="*/ 55 h 109"/>
                      <a:gd name="T16" fmla="*/ 76 w 169"/>
                      <a:gd name="T17" fmla="*/ 39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9"/>
                      <a:gd name="T28" fmla="*/ 0 h 109"/>
                      <a:gd name="T29" fmla="*/ 169 w 1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9" h="109">
                        <a:moveTo>
                          <a:pt x="76" y="39"/>
                        </a:moveTo>
                        <a:cubicBezTo>
                          <a:pt x="66" y="46"/>
                          <a:pt x="60" y="56"/>
                          <a:pt x="50" y="61"/>
                        </a:cubicBezTo>
                        <a:cubicBezTo>
                          <a:pt x="12" y="70"/>
                          <a:pt x="0" y="88"/>
                          <a:pt x="12" y="100"/>
                        </a:cubicBezTo>
                        <a:cubicBezTo>
                          <a:pt x="20" y="108"/>
                          <a:pt x="25" y="105"/>
                          <a:pt x="36" y="109"/>
                        </a:cubicBezTo>
                        <a:cubicBezTo>
                          <a:pt x="58" y="107"/>
                          <a:pt x="65" y="108"/>
                          <a:pt x="84" y="103"/>
                        </a:cubicBezTo>
                        <a:cubicBezTo>
                          <a:pt x="97" y="94"/>
                          <a:pt x="111" y="83"/>
                          <a:pt x="126" y="79"/>
                        </a:cubicBezTo>
                        <a:cubicBezTo>
                          <a:pt x="139" y="82"/>
                          <a:pt x="150" y="76"/>
                          <a:pt x="165" y="67"/>
                        </a:cubicBezTo>
                        <a:cubicBezTo>
                          <a:pt x="169" y="0"/>
                          <a:pt x="158" y="56"/>
                          <a:pt x="140" y="55"/>
                        </a:cubicBezTo>
                        <a:cubicBezTo>
                          <a:pt x="118" y="51"/>
                          <a:pt x="98" y="43"/>
                          <a:pt x="76" y="39"/>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2026" name="Freeform 370"/>
                  <p:cNvSpPr>
                    <a:spLocks/>
                  </p:cNvSpPr>
                  <p:nvPr/>
                </p:nvSpPr>
                <p:spPr bwMode="gray">
                  <a:xfrm>
                    <a:off x="3642" y="2171"/>
                    <a:ext cx="157" cy="92"/>
                  </a:xfrm>
                  <a:custGeom>
                    <a:avLst/>
                    <a:gdLst>
                      <a:gd name="T0" fmla="*/ 51 w 157"/>
                      <a:gd name="T1" fmla="*/ 4 h 92"/>
                      <a:gd name="T2" fmla="*/ 0 w 157"/>
                      <a:gd name="T3" fmla="*/ 66 h 92"/>
                      <a:gd name="T4" fmla="*/ 87 w 157"/>
                      <a:gd name="T5" fmla="*/ 64 h 92"/>
                      <a:gd name="T6" fmla="*/ 117 w 157"/>
                      <a:gd name="T7" fmla="*/ 34 h 92"/>
                      <a:gd name="T8" fmla="*/ 144 w 157"/>
                      <a:gd name="T9" fmla="*/ 22 h 92"/>
                      <a:gd name="T10" fmla="*/ 141 w 157"/>
                      <a:gd name="T11" fmla="*/ 0 h 92"/>
                      <a:gd name="T12" fmla="*/ 51 w 157"/>
                      <a:gd name="T13" fmla="*/ 4 h 92"/>
                      <a:gd name="T14" fmla="*/ 0 60000 65536"/>
                      <a:gd name="T15" fmla="*/ 0 60000 65536"/>
                      <a:gd name="T16" fmla="*/ 0 60000 65536"/>
                      <a:gd name="T17" fmla="*/ 0 60000 65536"/>
                      <a:gd name="T18" fmla="*/ 0 60000 65536"/>
                      <a:gd name="T19" fmla="*/ 0 60000 65536"/>
                      <a:gd name="T20" fmla="*/ 0 60000 65536"/>
                      <a:gd name="T21" fmla="*/ 0 w 157"/>
                      <a:gd name="T22" fmla="*/ 0 h 92"/>
                      <a:gd name="T23" fmla="*/ 157 w 157"/>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7" h="92">
                        <a:moveTo>
                          <a:pt x="51" y="4"/>
                        </a:moveTo>
                        <a:cubicBezTo>
                          <a:pt x="27" y="37"/>
                          <a:pt x="0" y="37"/>
                          <a:pt x="0" y="66"/>
                        </a:cubicBezTo>
                        <a:cubicBezTo>
                          <a:pt x="3" y="76"/>
                          <a:pt x="27" y="92"/>
                          <a:pt x="87" y="64"/>
                        </a:cubicBezTo>
                        <a:cubicBezTo>
                          <a:pt x="102" y="49"/>
                          <a:pt x="103" y="37"/>
                          <a:pt x="117" y="34"/>
                        </a:cubicBezTo>
                        <a:cubicBezTo>
                          <a:pt x="124" y="28"/>
                          <a:pt x="136" y="26"/>
                          <a:pt x="144" y="22"/>
                        </a:cubicBezTo>
                        <a:cubicBezTo>
                          <a:pt x="148" y="16"/>
                          <a:pt x="157" y="4"/>
                          <a:pt x="141" y="0"/>
                        </a:cubicBezTo>
                        <a:cubicBezTo>
                          <a:pt x="111" y="2"/>
                          <a:pt x="81" y="1"/>
                          <a:pt x="51" y="4"/>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2027" name="Freeform 371"/>
                  <p:cNvSpPr>
                    <a:spLocks/>
                  </p:cNvSpPr>
                  <p:nvPr/>
                </p:nvSpPr>
                <p:spPr bwMode="gray">
                  <a:xfrm>
                    <a:off x="3506" y="1148"/>
                    <a:ext cx="323" cy="1043"/>
                  </a:xfrm>
                  <a:custGeom>
                    <a:avLst/>
                    <a:gdLst>
                      <a:gd name="T0" fmla="*/ 144 w 323"/>
                      <a:gd name="T1" fmla="*/ 760 h 1043"/>
                      <a:gd name="T2" fmla="*/ 148 w 323"/>
                      <a:gd name="T3" fmla="*/ 928 h 1043"/>
                      <a:gd name="T4" fmla="*/ 142 w 323"/>
                      <a:gd name="T5" fmla="*/ 985 h 1043"/>
                      <a:gd name="T6" fmla="*/ 106 w 323"/>
                      <a:gd name="T7" fmla="*/ 986 h 1043"/>
                      <a:gd name="T8" fmla="*/ 49 w 323"/>
                      <a:gd name="T9" fmla="*/ 970 h 1043"/>
                      <a:gd name="T10" fmla="*/ 42 w 323"/>
                      <a:gd name="T11" fmla="*/ 858 h 1043"/>
                      <a:gd name="T12" fmla="*/ 22 w 323"/>
                      <a:gd name="T13" fmla="*/ 568 h 1043"/>
                      <a:gd name="T14" fmla="*/ 28 w 323"/>
                      <a:gd name="T15" fmla="*/ 445 h 1043"/>
                      <a:gd name="T16" fmla="*/ 19 w 323"/>
                      <a:gd name="T17" fmla="*/ 415 h 1043"/>
                      <a:gd name="T18" fmla="*/ 31 w 323"/>
                      <a:gd name="T19" fmla="*/ 391 h 1043"/>
                      <a:gd name="T20" fmla="*/ 37 w 323"/>
                      <a:gd name="T21" fmla="*/ 367 h 1043"/>
                      <a:gd name="T22" fmla="*/ 46 w 323"/>
                      <a:gd name="T23" fmla="*/ 290 h 1043"/>
                      <a:gd name="T24" fmla="*/ 43 w 323"/>
                      <a:gd name="T25" fmla="*/ 211 h 1043"/>
                      <a:gd name="T26" fmla="*/ 48 w 323"/>
                      <a:gd name="T27" fmla="*/ 166 h 1043"/>
                      <a:gd name="T28" fmla="*/ 52 w 323"/>
                      <a:gd name="T29" fmla="*/ 115 h 1043"/>
                      <a:gd name="T30" fmla="*/ 91 w 323"/>
                      <a:gd name="T31" fmla="*/ 79 h 1043"/>
                      <a:gd name="T32" fmla="*/ 136 w 323"/>
                      <a:gd name="T33" fmla="*/ 43 h 1043"/>
                      <a:gd name="T34" fmla="*/ 205 w 323"/>
                      <a:gd name="T35" fmla="*/ 4 h 1043"/>
                      <a:gd name="T36" fmla="*/ 217 w 323"/>
                      <a:gd name="T37" fmla="*/ 19 h 1043"/>
                      <a:gd name="T38" fmla="*/ 235 w 323"/>
                      <a:gd name="T39" fmla="*/ 25 h 1043"/>
                      <a:gd name="T40" fmla="*/ 304 w 323"/>
                      <a:gd name="T41" fmla="*/ 46 h 1043"/>
                      <a:gd name="T42" fmla="*/ 316 w 323"/>
                      <a:gd name="T43" fmla="*/ 103 h 1043"/>
                      <a:gd name="T44" fmla="*/ 316 w 323"/>
                      <a:gd name="T45" fmla="*/ 172 h 1043"/>
                      <a:gd name="T46" fmla="*/ 304 w 323"/>
                      <a:gd name="T47" fmla="*/ 218 h 1043"/>
                      <a:gd name="T48" fmla="*/ 304 w 323"/>
                      <a:gd name="T49" fmla="*/ 286 h 1043"/>
                      <a:gd name="T50" fmla="*/ 278 w 323"/>
                      <a:gd name="T51" fmla="*/ 378 h 1043"/>
                      <a:gd name="T52" fmla="*/ 314 w 323"/>
                      <a:gd name="T53" fmla="*/ 518 h 1043"/>
                      <a:gd name="T54" fmla="*/ 256 w 323"/>
                      <a:gd name="T55" fmla="*/ 542 h 1043"/>
                      <a:gd name="T56" fmla="*/ 256 w 323"/>
                      <a:gd name="T57" fmla="*/ 676 h 1043"/>
                      <a:gd name="T58" fmla="*/ 290 w 323"/>
                      <a:gd name="T59" fmla="*/ 1028 h 1043"/>
                      <a:gd name="T60" fmla="*/ 240 w 323"/>
                      <a:gd name="T61" fmla="*/ 1038 h 1043"/>
                      <a:gd name="T62" fmla="*/ 180 w 323"/>
                      <a:gd name="T63" fmla="*/ 1018 h 1043"/>
                      <a:gd name="T64" fmla="*/ 200 w 323"/>
                      <a:gd name="T65" fmla="*/ 968 h 1043"/>
                      <a:gd name="T66" fmla="*/ 172 w 323"/>
                      <a:gd name="T67" fmla="*/ 888 h 1043"/>
                      <a:gd name="T68" fmla="*/ 162 w 323"/>
                      <a:gd name="T69" fmla="*/ 828 h 1043"/>
                      <a:gd name="T70" fmla="*/ 144 w 323"/>
                      <a:gd name="T71" fmla="*/ 760 h 10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3"/>
                      <a:gd name="T109" fmla="*/ 0 h 1043"/>
                      <a:gd name="T110" fmla="*/ 323 w 323"/>
                      <a:gd name="T111" fmla="*/ 1043 h 10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3" h="1043">
                        <a:moveTo>
                          <a:pt x="144" y="760"/>
                        </a:moveTo>
                        <a:cubicBezTo>
                          <a:pt x="143" y="773"/>
                          <a:pt x="140" y="902"/>
                          <a:pt x="148" y="928"/>
                        </a:cubicBezTo>
                        <a:cubicBezTo>
                          <a:pt x="147" y="952"/>
                          <a:pt x="138" y="956"/>
                          <a:pt x="142" y="985"/>
                        </a:cubicBezTo>
                        <a:cubicBezTo>
                          <a:pt x="137" y="985"/>
                          <a:pt x="121" y="988"/>
                          <a:pt x="106" y="986"/>
                        </a:cubicBezTo>
                        <a:cubicBezTo>
                          <a:pt x="54" y="977"/>
                          <a:pt x="104" y="975"/>
                          <a:pt x="49" y="970"/>
                        </a:cubicBezTo>
                        <a:cubicBezTo>
                          <a:pt x="60" y="928"/>
                          <a:pt x="52" y="894"/>
                          <a:pt x="42" y="858"/>
                        </a:cubicBezTo>
                        <a:cubicBezTo>
                          <a:pt x="48" y="832"/>
                          <a:pt x="40" y="650"/>
                          <a:pt x="22" y="568"/>
                        </a:cubicBezTo>
                        <a:cubicBezTo>
                          <a:pt x="30" y="528"/>
                          <a:pt x="0" y="494"/>
                          <a:pt x="28" y="445"/>
                        </a:cubicBezTo>
                        <a:cubicBezTo>
                          <a:pt x="16" y="429"/>
                          <a:pt x="24" y="431"/>
                          <a:pt x="19" y="415"/>
                        </a:cubicBezTo>
                        <a:cubicBezTo>
                          <a:pt x="23" y="407"/>
                          <a:pt x="29" y="400"/>
                          <a:pt x="31" y="391"/>
                        </a:cubicBezTo>
                        <a:cubicBezTo>
                          <a:pt x="33" y="383"/>
                          <a:pt x="37" y="367"/>
                          <a:pt x="37" y="367"/>
                        </a:cubicBezTo>
                        <a:cubicBezTo>
                          <a:pt x="39" y="341"/>
                          <a:pt x="35" y="312"/>
                          <a:pt x="46" y="290"/>
                        </a:cubicBezTo>
                        <a:cubicBezTo>
                          <a:pt x="44" y="266"/>
                          <a:pt x="42" y="231"/>
                          <a:pt x="43" y="211"/>
                        </a:cubicBezTo>
                        <a:cubicBezTo>
                          <a:pt x="43" y="200"/>
                          <a:pt x="45" y="177"/>
                          <a:pt x="48" y="166"/>
                        </a:cubicBezTo>
                        <a:cubicBezTo>
                          <a:pt x="50" y="150"/>
                          <a:pt x="46" y="131"/>
                          <a:pt x="52" y="115"/>
                        </a:cubicBezTo>
                        <a:cubicBezTo>
                          <a:pt x="52" y="93"/>
                          <a:pt x="78" y="89"/>
                          <a:pt x="91" y="79"/>
                        </a:cubicBezTo>
                        <a:cubicBezTo>
                          <a:pt x="106" y="67"/>
                          <a:pt x="117" y="49"/>
                          <a:pt x="136" y="43"/>
                        </a:cubicBezTo>
                        <a:cubicBezTo>
                          <a:pt x="155" y="30"/>
                          <a:pt x="192" y="9"/>
                          <a:pt x="205" y="4"/>
                        </a:cubicBezTo>
                        <a:cubicBezTo>
                          <a:pt x="218" y="0"/>
                          <a:pt x="212" y="16"/>
                          <a:pt x="217" y="19"/>
                        </a:cubicBezTo>
                        <a:cubicBezTo>
                          <a:pt x="222" y="23"/>
                          <a:pt x="235" y="25"/>
                          <a:pt x="235" y="25"/>
                        </a:cubicBezTo>
                        <a:cubicBezTo>
                          <a:pt x="262" y="30"/>
                          <a:pt x="288" y="30"/>
                          <a:pt x="304" y="46"/>
                        </a:cubicBezTo>
                        <a:cubicBezTo>
                          <a:pt x="308" y="70"/>
                          <a:pt x="310" y="84"/>
                          <a:pt x="316" y="103"/>
                        </a:cubicBezTo>
                        <a:cubicBezTo>
                          <a:pt x="319" y="126"/>
                          <a:pt x="323" y="149"/>
                          <a:pt x="316" y="172"/>
                        </a:cubicBezTo>
                        <a:cubicBezTo>
                          <a:pt x="313" y="184"/>
                          <a:pt x="304" y="218"/>
                          <a:pt x="304" y="218"/>
                        </a:cubicBezTo>
                        <a:cubicBezTo>
                          <a:pt x="307" y="241"/>
                          <a:pt x="299" y="265"/>
                          <a:pt x="304" y="286"/>
                        </a:cubicBezTo>
                        <a:cubicBezTo>
                          <a:pt x="295" y="322"/>
                          <a:pt x="287" y="343"/>
                          <a:pt x="278" y="378"/>
                        </a:cubicBezTo>
                        <a:cubicBezTo>
                          <a:pt x="280" y="405"/>
                          <a:pt x="312" y="495"/>
                          <a:pt x="314" y="518"/>
                        </a:cubicBezTo>
                        <a:cubicBezTo>
                          <a:pt x="282" y="520"/>
                          <a:pt x="266" y="544"/>
                          <a:pt x="256" y="542"/>
                        </a:cubicBezTo>
                        <a:cubicBezTo>
                          <a:pt x="244" y="584"/>
                          <a:pt x="253" y="638"/>
                          <a:pt x="256" y="676"/>
                        </a:cubicBezTo>
                        <a:cubicBezTo>
                          <a:pt x="262" y="757"/>
                          <a:pt x="308" y="928"/>
                          <a:pt x="290" y="1028"/>
                        </a:cubicBezTo>
                        <a:cubicBezTo>
                          <a:pt x="278" y="1022"/>
                          <a:pt x="261" y="1033"/>
                          <a:pt x="240" y="1038"/>
                        </a:cubicBezTo>
                        <a:cubicBezTo>
                          <a:pt x="219" y="1043"/>
                          <a:pt x="190" y="1040"/>
                          <a:pt x="180" y="1018"/>
                        </a:cubicBezTo>
                        <a:cubicBezTo>
                          <a:pt x="184" y="985"/>
                          <a:pt x="190" y="980"/>
                          <a:pt x="200" y="968"/>
                        </a:cubicBezTo>
                        <a:cubicBezTo>
                          <a:pt x="200" y="949"/>
                          <a:pt x="196" y="934"/>
                          <a:pt x="172" y="888"/>
                        </a:cubicBezTo>
                        <a:cubicBezTo>
                          <a:pt x="162" y="868"/>
                          <a:pt x="168" y="868"/>
                          <a:pt x="162" y="828"/>
                        </a:cubicBezTo>
                        <a:cubicBezTo>
                          <a:pt x="157" y="803"/>
                          <a:pt x="147" y="754"/>
                          <a:pt x="144" y="760"/>
                        </a:cubicBezTo>
                        <a:close/>
                      </a:path>
                    </a:pathLst>
                  </a:custGeom>
                  <a:solidFill>
                    <a:srgbClr val="858585"/>
                  </a:solidFill>
                  <a:ln w="6350">
                    <a:noFill/>
                    <a:round/>
                    <a:headEnd/>
                    <a:tailEnd/>
                  </a:ln>
                </p:spPr>
                <p:txBody>
                  <a:bodyPr lIns="45720" tIns="46800" rIns="45720" bIns="46800" anchor="ctr"/>
                  <a:lstStyle/>
                  <a:p>
                    <a:pPr defTabSz="912546"/>
                    <a:endParaRPr>
                      <a:solidFill>
                        <a:srgbClr val="000000"/>
                      </a:solidFill>
                    </a:endParaRPr>
                  </a:p>
                </p:txBody>
              </p:sp>
              <p:sp>
                <p:nvSpPr>
                  <p:cNvPr id="442028" name="Freeform 372"/>
                  <p:cNvSpPr>
                    <a:spLocks/>
                  </p:cNvSpPr>
                  <p:nvPr/>
                </p:nvSpPr>
                <p:spPr bwMode="gray">
                  <a:xfrm>
                    <a:off x="3610" y="1172"/>
                    <a:ext cx="118" cy="212"/>
                  </a:xfrm>
                  <a:custGeom>
                    <a:avLst/>
                    <a:gdLst>
                      <a:gd name="T0" fmla="*/ 118 w 118"/>
                      <a:gd name="T1" fmla="*/ 0 h 212"/>
                      <a:gd name="T2" fmla="*/ 98 w 118"/>
                      <a:gd name="T3" fmla="*/ 18 h 212"/>
                      <a:gd name="T4" fmla="*/ 90 w 118"/>
                      <a:gd name="T5" fmla="*/ 34 h 212"/>
                      <a:gd name="T6" fmla="*/ 36 w 118"/>
                      <a:gd name="T7" fmla="*/ 106 h 212"/>
                      <a:gd name="T8" fmla="*/ 18 w 118"/>
                      <a:gd name="T9" fmla="*/ 126 h 212"/>
                      <a:gd name="T10" fmla="*/ 6 w 118"/>
                      <a:gd name="T11" fmla="*/ 144 h 212"/>
                      <a:gd name="T12" fmla="*/ 2 w 118"/>
                      <a:gd name="T13" fmla="*/ 160 h 212"/>
                      <a:gd name="T14" fmla="*/ 0 w 118"/>
                      <a:gd name="T15" fmla="*/ 168 h 212"/>
                      <a:gd name="T16" fmla="*/ 4 w 118"/>
                      <a:gd name="T17" fmla="*/ 208 h 212"/>
                      <a:gd name="T18" fmla="*/ 6 w 118"/>
                      <a:gd name="T19" fmla="*/ 196 h 212"/>
                      <a:gd name="T20" fmla="*/ 18 w 118"/>
                      <a:gd name="T21" fmla="*/ 146 h 212"/>
                      <a:gd name="T22" fmla="*/ 24 w 118"/>
                      <a:gd name="T23" fmla="*/ 138 h 212"/>
                      <a:gd name="T24" fmla="*/ 30 w 118"/>
                      <a:gd name="T25" fmla="*/ 132 h 212"/>
                      <a:gd name="T26" fmla="*/ 48 w 118"/>
                      <a:gd name="T27" fmla="*/ 102 h 212"/>
                      <a:gd name="T28" fmla="*/ 84 w 118"/>
                      <a:gd name="T29" fmla="*/ 48 h 212"/>
                      <a:gd name="T30" fmla="*/ 96 w 118"/>
                      <a:gd name="T31" fmla="*/ 36 h 212"/>
                      <a:gd name="T32" fmla="*/ 104 w 118"/>
                      <a:gd name="T33" fmla="*/ 20 h 212"/>
                      <a:gd name="T34" fmla="*/ 116 w 118"/>
                      <a:gd name="T35" fmla="*/ 16 h 212"/>
                      <a:gd name="T36" fmla="*/ 118 w 118"/>
                      <a:gd name="T37" fmla="*/ 0 h 2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8"/>
                      <a:gd name="T58" fmla="*/ 0 h 212"/>
                      <a:gd name="T59" fmla="*/ 118 w 118"/>
                      <a:gd name="T60" fmla="*/ 212 h 2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8" h="212">
                        <a:moveTo>
                          <a:pt x="118" y="0"/>
                        </a:moveTo>
                        <a:cubicBezTo>
                          <a:pt x="114" y="13"/>
                          <a:pt x="111" y="15"/>
                          <a:pt x="98" y="18"/>
                        </a:cubicBezTo>
                        <a:cubicBezTo>
                          <a:pt x="92" y="27"/>
                          <a:pt x="100" y="31"/>
                          <a:pt x="90" y="34"/>
                        </a:cubicBezTo>
                        <a:cubicBezTo>
                          <a:pt x="68" y="56"/>
                          <a:pt x="55" y="83"/>
                          <a:pt x="36" y="106"/>
                        </a:cubicBezTo>
                        <a:cubicBezTo>
                          <a:pt x="30" y="113"/>
                          <a:pt x="23" y="118"/>
                          <a:pt x="18" y="126"/>
                        </a:cubicBezTo>
                        <a:cubicBezTo>
                          <a:pt x="14" y="132"/>
                          <a:pt x="6" y="144"/>
                          <a:pt x="6" y="144"/>
                        </a:cubicBezTo>
                        <a:cubicBezTo>
                          <a:pt x="5" y="149"/>
                          <a:pt x="3" y="155"/>
                          <a:pt x="2" y="160"/>
                        </a:cubicBezTo>
                        <a:cubicBezTo>
                          <a:pt x="1" y="163"/>
                          <a:pt x="0" y="168"/>
                          <a:pt x="0" y="168"/>
                        </a:cubicBezTo>
                        <a:cubicBezTo>
                          <a:pt x="1" y="181"/>
                          <a:pt x="1" y="195"/>
                          <a:pt x="4" y="208"/>
                        </a:cubicBezTo>
                        <a:cubicBezTo>
                          <a:pt x="5" y="212"/>
                          <a:pt x="7" y="200"/>
                          <a:pt x="6" y="196"/>
                        </a:cubicBezTo>
                        <a:cubicBezTo>
                          <a:pt x="9" y="183"/>
                          <a:pt x="12" y="157"/>
                          <a:pt x="18" y="146"/>
                        </a:cubicBezTo>
                        <a:cubicBezTo>
                          <a:pt x="20" y="143"/>
                          <a:pt x="22" y="141"/>
                          <a:pt x="24" y="138"/>
                        </a:cubicBezTo>
                        <a:cubicBezTo>
                          <a:pt x="26" y="136"/>
                          <a:pt x="28" y="134"/>
                          <a:pt x="30" y="132"/>
                        </a:cubicBezTo>
                        <a:cubicBezTo>
                          <a:pt x="38" y="119"/>
                          <a:pt x="37" y="113"/>
                          <a:pt x="48" y="102"/>
                        </a:cubicBezTo>
                        <a:cubicBezTo>
                          <a:pt x="52" y="84"/>
                          <a:pt x="72" y="62"/>
                          <a:pt x="84" y="48"/>
                        </a:cubicBezTo>
                        <a:cubicBezTo>
                          <a:pt x="88" y="44"/>
                          <a:pt x="93" y="41"/>
                          <a:pt x="96" y="36"/>
                        </a:cubicBezTo>
                        <a:cubicBezTo>
                          <a:pt x="99" y="31"/>
                          <a:pt x="101" y="25"/>
                          <a:pt x="104" y="20"/>
                        </a:cubicBezTo>
                        <a:cubicBezTo>
                          <a:pt x="106" y="16"/>
                          <a:pt x="116" y="16"/>
                          <a:pt x="116" y="16"/>
                        </a:cubicBezTo>
                        <a:cubicBezTo>
                          <a:pt x="118" y="10"/>
                          <a:pt x="114" y="4"/>
                          <a:pt x="118" y="0"/>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2029" name="Freeform 373"/>
                  <p:cNvSpPr>
                    <a:spLocks/>
                  </p:cNvSpPr>
                  <p:nvPr/>
                </p:nvSpPr>
                <p:spPr bwMode="gray">
                  <a:xfrm>
                    <a:off x="3676" y="1201"/>
                    <a:ext cx="107" cy="485"/>
                  </a:xfrm>
                  <a:custGeom>
                    <a:avLst/>
                    <a:gdLst>
                      <a:gd name="T0" fmla="*/ 78 w 107"/>
                      <a:gd name="T1" fmla="*/ 9 h 485"/>
                      <a:gd name="T2" fmla="*/ 60 w 107"/>
                      <a:gd name="T3" fmla="*/ 55 h 485"/>
                      <a:gd name="T4" fmla="*/ 48 w 107"/>
                      <a:gd name="T5" fmla="*/ 105 h 485"/>
                      <a:gd name="T6" fmla="*/ 50 w 107"/>
                      <a:gd name="T7" fmla="*/ 145 h 485"/>
                      <a:gd name="T8" fmla="*/ 30 w 107"/>
                      <a:gd name="T9" fmla="*/ 259 h 485"/>
                      <a:gd name="T10" fmla="*/ 12 w 107"/>
                      <a:gd name="T11" fmla="*/ 291 h 485"/>
                      <a:gd name="T12" fmla="*/ 16 w 107"/>
                      <a:gd name="T13" fmla="*/ 319 h 485"/>
                      <a:gd name="T14" fmla="*/ 0 w 107"/>
                      <a:gd name="T15" fmla="*/ 301 h 485"/>
                      <a:gd name="T16" fmla="*/ 10 w 107"/>
                      <a:gd name="T17" fmla="*/ 325 h 485"/>
                      <a:gd name="T18" fmla="*/ 42 w 107"/>
                      <a:gd name="T19" fmla="*/ 433 h 485"/>
                      <a:gd name="T20" fmla="*/ 64 w 107"/>
                      <a:gd name="T21" fmla="*/ 459 h 485"/>
                      <a:gd name="T22" fmla="*/ 74 w 107"/>
                      <a:gd name="T23" fmla="*/ 477 h 485"/>
                      <a:gd name="T24" fmla="*/ 86 w 107"/>
                      <a:gd name="T25" fmla="*/ 485 h 485"/>
                      <a:gd name="T26" fmla="*/ 96 w 107"/>
                      <a:gd name="T27" fmla="*/ 473 h 485"/>
                      <a:gd name="T28" fmla="*/ 88 w 107"/>
                      <a:gd name="T29" fmla="*/ 425 h 485"/>
                      <a:gd name="T30" fmla="*/ 84 w 107"/>
                      <a:gd name="T31" fmla="*/ 419 h 485"/>
                      <a:gd name="T32" fmla="*/ 94 w 107"/>
                      <a:gd name="T33" fmla="*/ 457 h 485"/>
                      <a:gd name="T34" fmla="*/ 68 w 107"/>
                      <a:gd name="T35" fmla="*/ 445 h 485"/>
                      <a:gd name="T36" fmla="*/ 82 w 107"/>
                      <a:gd name="T37" fmla="*/ 399 h 485"/>
                      <a:gd name="T38" fmla="*/ 92 w 107"/>
                      <a:gd name="T39" fmla="*/ 383 h 485"/>
                      <a:gd name="T40" fmla="*/ 106 w 107"/>
                      <a:gd name="T41" fmla="*/ 337 h 485"/>
                      <a:gd name="T42" fmla="*/ 104 w 107"/>
                      <a:gd name="T43" fmla="*/ 329 h 485"/>
                      <a:gd name="T44" fmla="*/ 102 w 107"/>
                      <a:gd name="T45" fmla="*/ 335 h 485"/>
                      <a:gd name="T46" fmla="*/ 94 w 107"/>
                      <a:gd name="T47" fmla="*/ 355 h 485"/>
                      <a:gd name="T48" fmla="*/ 72 w 107"/>
                      <a:gd name="T49" fmla="*/ 409 h 485"/>
                      <a:gd name="T50" fmla="*/ 60 w 107"/>
                      <a:gd name="T51" fmla="*/ 435 h 485"/>
                      <a:gd name="T52" fmla="*/ 34 w 107"/>
                      <a:gd name="T53" fmla="*/ 419 h 485"/>
                      <a:gd name="T54" fmla="*/ 30 w 107"/>
                      <a:gd name="T55" fmla="*/ 413 h 485"/>
                      <a:gd name="T56" fmla="*/ 24 w 107"/>
                      <a:gd name="T57" fmla="*/ 411 h 485"/>
                      <a:gd name="T58" fmla="*/ 12 w 107"/>
                      <a:gd name="T59" fmla="*/ 373 h 485"/>
                      <a:gd name="T60" fmla="*/ 36 w 107"/>
                      <a:gd name="T61" fmla="*/ 289 h 485"/>
                      <a:gd name="T62" fmla="*/ 34 w 107"/>
                      <a:gd name="T63" fmla="*/ 263 h 485"/>
                      <a:gd name="T64" fmla="*/ 52 w 107"/>
                      <a:gd name="T65" fmla="*/ 229 h 485"/>
                      <a:gd name="T66" fmla="*/ 54 w 107"/>
                      <a:gd name="T67" fmla="*/ 199 h 485"/>
                      <a:gd name="T68" fmla="*/ 58 w 107"/>
                      <a:gd name="T69" fmla="*/ 179 h 485"/>
                      <a:gd name="T70" fmla="*/ 68 w 107"/>
                      <a:gd name="T71" fmla="*/ 175 h 485"/>
                      <a:gd name="T72" fmla="*/ 70 w 107"/>
                      <a:gd name="T73" fmla="*/ 169 h 485"/>
                      <a:gd name="T74" fmla="*/ 54 w 107"/>
                      <a:gd name="T75" fmla="*/ 129 h 485"/>
                      <a:gd name="T76" fmla="*/ 56 w 107"/>
                      <a:gd name="T77" fmla="*/ 103 h 485"/>
                      <a:gd name="T78" fmla="*/ 62 w 107"/>
                      <a:gd name="T79" fmla="*/ 79 h 485"/>
                      <a:gd name="T80" fmla="*/ 76 w 107"/>
                      <a:gd name="T81" fmla="*/ 23 h 485"/>
                      <a:gd name="T82" fmla="*/ 84 w 107"/>
                      <a:gd name="T83" fmla="*/ 7 h 485"/>
                      <a:gd name="T84" fmla="*/ 90 w 107"/>
                      <a:gd name="T85" fmla="*/ 1 h 485"/>
                      <a:gd name="T86" fmla="*/ 78 w 107"/>
                      <a:gd name="T87" fmla="*/ 9 h 4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7"/>
                      <a:gd name="T133" fmla="*/ 0 h 485"/>
                      <a:gd name="T134" fmla="*/ 107 w 107"/>
                      <a:gd name="T135" fmla="*/ 485 h 4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7" h="485">
                        <a:moveTo>
                          <a:pt x="78" y="9"/>
                        </a:moveTo>
                        <a:cubicBezTo>
                          <a:pt x="74" y="26"/>
                          <a:pt x="65" y="39"/>
                          <a:pt x="60" y="55"/>
                        </a:cubicBezTo>
                        <a:cubicBezTo>
                          <a:pt x="58" y="72"/>
                          <a:pt x="51" y="88"/>
                          <a:pt x="48" y="105"/>
                        </a:cubicBezTo>
                        <a:cubicBezTo>
                          <a:pt x="49" y="118"/>
                          <a:pt x="50" y="132"/>
                          <a:pt x="50" y="145"/>
                        </a:cubicBezTo>
                        <a:cubicBezTo>
                          <a:pt x="50" y="186"/>
                          <a:pt x="40" y="220"/>
                          <a:pt x="30" y="259"/>
                        </a:cubicBezTo>
                        <a:cubicBezTo>
                          <a:pt x="27" y="271"/>
                          <a:pt x="23" y="286"/>
                          <a:pt x="12" y="291"/>
                        </a:cubicBezTo>
                        <a:cubicBezTo>
                          <a:pt x="14" y="302"/>
                          <a:pt x="19" y="308"/>
                          <a:pt x="16" y="319"/>
                        </a:cubicBezTo>
                        <a:cubicBezTo>
                          <a:pt x="11" y="312"/>
                          <a:pt x="5" y="308"/>
                          <a:pt x="0" y="301"/>
                        </a:cubicBezTo>
                        <a:cubicBezTo>
                          <a:pt x="3" y="313"/>
                          <a:pt x="8" y="311"/>
                          <a:pt x="10" y="325"/>
                        </a:cubicBezTo>
                        <a:cubicBezTo>
                          <a:pt x="5" y="365"/>
                          <a:pt x="7" y="409"/>
                          <a:pt x="42" y="433"/>
                        </a:cubicBezTo>
                        <a:cubicBezTo>
                          <a:pt x="47" y="441"/>
                          <a:pt x="56" y="454"/>
                          <a:pt x="64" y="459"/>
                        </a:cubicBezTo>
                        <a:cubicBezTo>
                          <a:pt x="66" y="464"/>
                          <a:pt x="70" y="473"/>
                          <a:pt x="74" y="477"/>
                        </a:cubicBezTo>
                        <a:cubicBezTo>
                          <a:pt x="77" y="480"/>
                          <a:pt x="86" y="485"/>
                          <a:pt x="86" y="485"/>
                        </a:cubicBezTo>
                        <a:cubicBezTo>
                          <a:pt x="94" y="482"/>
                          <a:pt x="99" y="482"/>
                          <a:pt x="96" y="473"/>
                        </a:cubicBezTo>
                        <a:cubicBezTo>
                          <a:pt x="105" y="456"/>
                          <a:pt x="107" y="438"/>
                          <a:pt x="88" y="425"/>
                        </a:cubicBezTo>
                        <a:cubicBezTo>
                          <a:pt x="87" y="423"/>
                          <a:pt x="84" y="417"/>
                          <a:pt x="84" y="419"/>
                        </a:cubicBezTo>
                        <a:cubicBezTo>
                          <a:pt x="84" y="429"/>
                          <a:pt x="91" y="448"/>
                          <a:pt x="94" y="457"/>
                        </a:cubicBezTo>
                        <a:cubicBezTo>
                          <a:pt x="80" y="471"/>
                          <a:pt x="77" y="458"/>
                          <a:pt x="68" y="445"/>
                        </a:cubicBezTo>
                        <a:cubicBezTo>
                          <a:pt x="80" y="433"/>
                          <a:pt x="78" y="415"/>
                          <a:pt x="82" y="399"/>
                        </a:cubicBezTo>
                        <a:cubicBezTo>
                          <a:pt x="84" y="393"/>
                          <a:pt x="90" y="389"/>
                          <a:pt x="92" y="383"/>
                        </a:cubicBezTo>
                        <a:cubicBezTo>
                          <a:pt x="98" y="368"/>
                          <a:pt x="101" y="352"/>
                          <a:pt x="106" y="337"/>
                        </a:cubicBezTo>
                        <a:cubicBezTo>
                          <a:pt x="105" y="334"/>
                          <a:pt x="106" y="330"/>
                          <a:pt x="104" y="329"/>
                        </a:cubicBezTo>
                        <a:cubicBezTo>
                          <a:pt x="102" y="328"/>
                          <a:pt x="103" y="333"/>
                          <a:pt x="102" y="335"/>
                        </a:cubicBezTo>
                        <a:cubicBezTo>
                          <a:pt x="93" y="356"/>
                          <a:pt x="103" y="328"/>
                          <a:pt x="94" y="355"/>
                        </a:cubicBezTo>
                        <a:cubicBezTo>
                          <a:pt x="86" y="379"/>
                          <a:pt x="88" y="388"/>
                          <a:pt x="72" y="409"/>
                        </a:cubicBezTo>
                        <a:cubicBezTo>
                          <a:pt x="69" y="420"/>
                          <a:pt x="71" y="431"/>
                          <a:pt x="60" y="435"/>
                        </a:cubicBezTo>
                        <a:cubicBezTo>
                          <a:pt x="55" y="425"/>
                          <a:pt x="45" y="423"/>
                          <a:pt x="34" y="419"/>
                        </a:cubicBezTo>
                        <a:cubicBezTo>
                          <a:pt x="33" y="417"/>
                          <a:pt x="32" y="415"/>
                          <a:pt x="30" y="413"/>
                        </a:cubicBezTo>
                        <a:cubicBezTo>
                          <a:pt x="28" y="412"/>
                          <a:pt x="25" y="412"/>
                          <a:pt x="24" y="411"/>
                        </a:cubicBezTo>
                        <a:cubicBezTo>
                          <a:pt x="20" y="407"/>
                          <a:pt x="14" y="381"/>
                          <a:pt x="12" y="373"/>
                        </a:cubicBezTo>
                        <a:cubicBezTo>
                          <a:pt x="10" y="340"/>
                          <a:pt x="8" y="308"/>
                          <a:pt x="36" y="289"/>
                        </a:cubicBezTo>
                        <a:cubicBezTo>
                          <a:pt x="42" y="280"/>
                          <a:pt x="36" y="273"/>
                          <a:pt x="34" y="263"/>
                        </a:cubicBezTo>
                        <a:cubicBezTo>
                          <a:pt x="36" y="253"/>
                          <a:pt x="45" y="236"/>
                          <a:pt x="52" y="229"/>
                        </a:cubicBezTo>
                        <a:cubicBezTo>
                          <a:pt x="58" y="211"/>
                          <a:pt x="56" y="221"/>
                          <a:pt x="54" y="199"/>
                        </a:cubicBezTo>
                        <a:cubicBezTo>
                          <a:pt x="55" y="192"/>
                          <a:pt x="55" y="185"/>
                          <a:pt x="58" y="179"/>
                        </a:cubicBezTo>
                        <a:cubicBezTo>
                          <a:pt x="60" y="176"/>
                          <a:pt x="65" y="177"/>
                          <a:pt x="68" y="175"/>
                        </a:cubicBezTo>
                        <a:cubicBezTo>
                          <a:pt x="70" y="174"/>
                          <a:pt x="69" y="171"/>
                          <a:pt x="70" y="169"/>
                        </a:cubicBezTo>
                        <a:cubicBezTo>
                          <a:pt x="66" y="155"/>
                          <a:pt x="58" y="143"/>
                          <a:pt x="54" y="129"/>
                        </a:cubicBezTo>
                        <a:cubicBezTo>
                          <a:pt x="55" y="120"/>
                          <a:pt x="55" y="112"/>
                          <a:pt x="56" y="103"/>
                        </a:cubicBezTo>
                        <a:cubicBezTo>
                          <a:pt x="57" y="95"/>
                          <a:pt x="62" y="79"/>
                          <a:pt x="62" y="79"/>
                        </a:cubicBezTo>
                        <a:cubicBezTo>
                          <a:pt x="63" y="62"/>
                          <a:pt x="68" y="39"/>
                          <a:pt x="76" y="23"/>
                        </a:cubicBezTo>
                        <a:cubicBezTo>
                          <a:pt x="79" y="18"/>
                          <a:pt x="81" y="12"/>
                          <a:pt x="84" y="7"/>
                        </a:cubicBezTo>
                        <a:cubicBezTo>
                          <a:pt x="85" y="4"/>
                          <a:pt x="93" y="0"/>
                          <a:pt x="90" y="1"/>
                        </a:cubicBezTo>
                        <a:cubicBezTo>
                          <a:pt x="85" y="3"/>
                          <a:pt x="82" y="6"/>
                          <a:pt x="78" y="9"/>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2030" name="Freeform 374"/>
                  <p:cNvSpPr>
                    <a:spLocks/>
                  </p:cNvSpPr>
                  <p:nvPr/>
                </p:nvSpPr>
                <p:spPr bwMode="gray">
                  <a:xfrm>
                    <a:off x="3529" y="1484"/>
                    <a:ext cx="41" cy="110"/>
                  </a:xfrm>
                  <a:custGeom>
                    <a:avLst/>
                    <a:gdLst>
                      <a:gd name="T0" fmla="*/ 37 w 41"/>
                      <a:gd name="T1" fmla="*/ 6 h 110"/>
                      <a:gd name="T2" fmla="*/ 41 w 41"/>
                      <a:gd name="T3" fmla="*/ 58 h 110"/>
                      <a:gd name="T4" fmla="*/ 11 w 41"/>
                      <a:gd name="T5" fmla="*/ 90 h 110"/>
                      <a:gd name="T6" fmla="*/ 3 w 41"/>
                      <a:gd name="T7" fmla="*/ 110 h 110"/>
                      <a:gd name="T8" fmla="*/ 15 w 41"/>
                      <a:gd name="T9" fmla="*/ 78 h 110"/>
                      <a:gd name="T10" fmla="*/ 29 w 41"/>
                      <a:gd name="T11" fmla="*/ 58 h 110"/>
                      <a:gd name="T12" fmla="*/ 21 w 41"/>
                      <a:gd name="T13" fmla="*/ 40 h 110"/>
                      <a:gd name="T14" fmla="*/ 33 w 41"/>
                      <a:gd name="T15" fmla="*/ 30 h 110"/>
                      <a:gd name="T16" fmla="*/ 39 w 41"/>
                      <a:gd name="T17" fmla="*/ 8 h 110"/>
                      <a:gd name="T18" fmla="*/ 37 w 41"/>
                      <a:gd name="T19" fmla="*/ 6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110"/>
                      <a:gd name="T32" fmla="*/ 41 w 41"/>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110">
                        <a:moveTo>
                          <a:pt x="37" y="6"/>
                        </a:moveTo>
                        <a:cubicBezTo>
                          <a:pt x="34" y="24"/>
                          <a:pt x="30" y="41"/>
                          <a:pt x="41" y="58"/>
                        </a:cubicBezTo>
                        <a:cubicBezTo>
                          <a:pt x="37" y="70"/>
                          <a:pt x="23" y="86"/>
                          <a:pt x="11" y="90"/>
                        </a:cubicBezTo>
                        <a:cubicBezTo>
                          <a:pt x="6" y="105"/>
                          <a:pt x="9" y="98"/>
                          <a:pt x="3" y="110"/>
                        </a:cubicBezTo>
                        <a:cubicBezTo>
                          <a:pt x="0" y="100"/>
                          <a:pt x="9" y="87"/>
                          <a:pt x="15" y="78"/>
                        </a:cubicBezTo>
                        <a:cubicBezTo>
                          <a:pt x="17" y="70"/>
                          <a:pt x="29" y="58"/>
                          <a:pt x="29" y="58"/>
                        </a:cubicBezTo>
                        <a:cubicBezTo>
                          <a:pt x="35" y="41"/>
                          <a:pt x="34" y="48"/>
                          <a:pt x="21" y="40"/>
                        </a:cubicBezTo>
                        <a:cubicBezTo>
                          <a:pt x="14" y="30"/>
                          <a:pt x="23" y="32"/>
                          <a:pt x="33" y="30"/>
                        </a:cubicBezTo>
                        <a:cubicBezTo>
                          <a:pt x="38" y="12"/>
                          <a:pt x="35" y="19"/>
                          <a:pt x="39" y="8"/>
                        </a:cubicBezTo>
                        <a:cubicBezTo>
                          <a:pt x="34" y="1"/>
                          <a:pt x="34" y="0"/>
                          <a:pt x="37" y="6"/>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2031" name="Freeform 375"/>
                  <p:cNvSpPr>
                    <a:spLocks/>
                  </p:cNvSpPr>
                  <p:nvPr/>
                </p:nvSpPr>
                <p:spPr bwMode="gray">
                  <a:xfrm>
                    <a:off x="3564" y="1678"/>
                    <a:ext cx="89" cy="436"/>
                  </a:xfrm>
                  <a:custGeom>
                    <a:avLst/>
                    <a:gdLst>
                      <a:gd name="T0" fmla="*/ 24 w 89"/>
                      <a:gd name="T1" fmla="*/ 22 h 436"/>
                      <a:gd name="T2" fmla="*/ 38 w 89"/>
                      <a:gd name="T3" fmla="*/ 62 h 436"/>
                      <a:gd name="T4" fmla="*/ 62 w 89"/>
                      <a:gd name="T5" fmla="*/ 142 h 436"/>
                      <a:gd name="T6" fmla="*/ 66 w 89"/>
                      <a:gd name="T7" fmla="*/ 218 h 436"/>
                      <a:gd name="T8" fmla="*/ 56 w 89"/>
                      <a:gd name="T9" fmla="*/ 250 h 436"/>
                      <a:gd name="T10" fmla="*/ 76 w 89"/>
                      <a:gd name="T11" fmla="*/ 296 h 436"/>
                      <a:gd name="T12" fmla="*/ 68 w 89"/>
                      <a:gd name="T13" fmla="*/ 336 h 436"/>
                      <a:gd name="T14" fmla="*/ 56 w 89"/>
                      <a:gd name="T15" fmla="*/ 304 h 436"/>
                      <a:gd name="T16" fmla="*/ 52 w 89"/>
                      <a:gd name="T17" fmla="*/ 266 h 436"/>
                      <a:gd name="T18" fmla="*/ 48 w 89"/>
                      <a:gd name="T19" fmla="*/ 308 h 436"/>
                      <a:gd name="T20" fmla="*/ 78 w 89"/>
                      <a:gd name="T21" fmla="*/ 378 h 436"/>
                      <a:gd name="T22" fmla="*/ 82 w 89"/>
                      <a:gd name="T23" fmla="*/ 402 h 436"/>
                      <a:gd name="T24" fmla="*/ 74 w 89"/>
                      <a:gd name="T25" fmla="*/ 436 h 436"/>
                      <a:gd name="T26" fmla="*/ 60 w 89"/>
                      <a:gd name="T27" fmla="*/ 406 h 436"/>
                      <a:gd name="T28" fmla="*/ 46 w 89"/>
                      <a:gd name="T29" fmla="*/ 388 h 436"/>
                      <a:gd name="T30" fmla="*/ 34 w 89"/>
                      <a:gd name="T31" fmla="*/ 370 h 436"/>
                      <a:gd name="T32" fmla="*/ 6 w 89"/>
                      <a:gd name="T33" fmla="*/ 320 h 436"/>
                      <a:gd name="T34" fmla="*/ 12 w 89"/>
                      <a:gd name="T35" fmla="*/ 326 h 436"/>
                      <a:gd name="T36" fmla="*/ 22 w 89"/>
                      <a:gd name="T37" fmla="*/ 350 h 436"/>
                      <a:gd name="T38" fmla="*/ 44 w 89"/>
                      <a:gd name="T39" fmla="*/ 404 h 436"/>
                      <a:gd name="T40" fmla="*/ 42 w 89"/>
                      <a:gd name="T41" fmla="*/ 428 h 436"/>
                      <a:gd name="T42" fmla="*/ 26 w 89"/>
                      <a:gd name="T43" fmla="*/ 420 h 436"/>
                      <a:gd name="T44" fmla="*/ 8 w 89"/>
                      <a:gd name="T45" fmla="*/ 380 h 436"/>
                      <a:gd name="T46" fmla="*/ 2 w 89"/>
                      <a:gd name="T47" fmla="*/ 348 h 436"/>
                      <a:gd name="T48" fmla="*/ 0 w 89"/>
                      <a:gd name="T49" fmla="*/ 230 h 436"/>
                      <a:gd name="T50" fmla="*/ 4 w 89"/>
                      <a:gd name="T51" fmla="*/ 244 h 436"/>
                      <a:gd name="T52" fmla="*/ 14 w 89"/>
                      <a:gd name="T53" fmla="*/ 292 h 436"/>
                      <a:gd name="T54" fmla="*/ 26 w 89"/>
                      <a:gd name="T55" fmla="*/ 336 h 436"/>
                      <a:gd name="T56" fmla="*/ 42 w 89"/>
                      <a:gd name="T57" fmla="*/ 354 h 436"/>
                      <a:gd name="T58" fmla="*/ 48 w 89"/>
                      <a:gd name="T59" fmla="*/ 326 h 436"/>
                      <a:gd name="T60" fmla="*/ 44 w 89"/>
                      <a:gd name="T61" fmla="*/ 314 h 436"/>
                      <a:gd name="T62" fmla="*/ 34 w 89"/>
                      <a:gd name="T63" fmla="*/ 272 h 436"/>
                      <a:gd name="T64" fmla="*/ 28 w 89"/>
                      <a:gd name="T65" fmla="*/ 254 h 436"/>
                      <a:gd name="T66" fmla="*/ 30 w 89"/>
                      <a:gd name="T67" fmla="*/ 220 h 436"/>
                      <a:gd name="T68" fmla="*/ 32 w 89"/>
                      <a:gd name="T69" fmla="*/ 214 h 436"/>
                      <a:gd name="T70" fmla="*/ 38 w 89"/>
                      <a:gd name="T71" fmla="*/ 184 h 436"/>
                      <a:gd name="T72" fmla="*/ 22 w 89"/>
                      <a:gd name="T73" fmla="*/ 64 h 436"/>
                      <a:gd name="T74" fmla="*/ 26 w 89"/>
                      <a:gd name="T75" fmla="*/ 0 h 4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9"/>
                      <a:gd name="T115" fmla="*/ 0 h 436"/>
                      <a:gd name="T116" fmla="*/ 89 w 89"/>
                      <a:gd name="T117" fmla="*/ 436 h 4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9" h="436">
                        <a:moveTo>
                          <a:pt x="24" y="22"/>
                        </a:moveTo>
                        <a:cubicBezTo>
                          <a:pt x="37" y="31"/>
                          <a:pt x="29" y="49"/>
                          <a:pt x="38" y="62"/>
                        </a:cubicBezTo>
                        <a:cubicBezTo>
                          <a:pt x="43" y="90"/>
                          <a:pt x="53" y="116"/>
                          <a:pt x="62" y="142"/>
                        </a:cubicBezTo>
                        <a:cubicBezTo>
                          <a:pt x="60" y="169"/>
                          <a:pt x="63" y="191"/>
                          <a:pt x="66" y="218"/>
                        </a:cubicBezTo>
                        <a:cubicBezTo>
                          <a:pt x="65" y="238"/>
                          <a:pt x="72" y="282"/>
                          <a:pt x="56" y="250"/>
                        </a:cubicBezTo>
                        <a:cubicBezTo>
                          <a:pt x="58" y="270"/>
                          <a:pt x="64" y="280"/>
                          <a:pt x="76" y="296"/>
                        </a:cubicBezTo>
                        <a:cubicBezTo>
                          <a:pt x="75" y="310"/>
                          <a:pt x="78" y="346"/>
                          <a:pt x="68" y="336"/>
                        </a:cubicBezTo>
                        <a:cubicBezTo>
                          <a:pt x="61" y="329"/>
                          <a:pt x="61" y="314"/>
                          <a:pt x="56" y="304"/>
                        </a:cubicBezTo>
                        <a:cubicBezTo>
                          <a:pt x="55" y="291"/>
                          <a:pt x="53" y="253"/>
                          <a:pt x="52" y="266"/>
                        </a:cubicBezTo>
                        <a:cubicBezTo>
                          <a:pt x="51" y="280"/>
                          <a:pt x="48" y="308"/>
                          <a:pt x="48" y="308"/>
                        </a:cubicBezTo>
                        <a:cubicBezTo>
                          <a:pt x="51" y="333"/>
                          <a:pt x="57" y="362"/>
                          <a:pt x="78" y="378"/>
                        </a:cubicBezTo>
                        <a:cubicBezTo>
                          <a:pt x="87" y="397"/>
                          <a:pt x="89" y="389"/>
                          <a:pt x="82" y="402"/>
                        </a:cubicBezTo>
                        <a:cubicBezTo>
                          <a:pt x="80" y="414"/>
                          <a:pt x="77" y="425"/>
                          <a:pt x="74" y="436"/>
                        </a:cubicBezTo>
                        <a:cubicBezTo>
                          <a:pt x="71" y="422"/>
                          <a:pt x="70" y="416"/>
                          <a:pt x="60" y="406"/>
                        </a:cubicBezTo>
                        <a:cubicBezTo>
                          <a:pt x="57" y="396"/>
                          <a:pt x="55" y="393"/>
                          <a:pt x="46" y="388"/>
                        </a:cubicBezTo>
                        <a:cubicBezTo>
                          <a:pt x="43" y="380"/>
                          <a:pt x="41" y="375"/>
                          <a:pt x="34" y="370"/>
                        </a:cubicBezTo>
                        <a:cubicBezTo>
                          <a:pt x="23" y="354"/>
                          <a:pt x="12" y="338"/>
                          <a:pt x="6" y="320"/>
                        </a:cubicBezTo>
                        <a:cubicBezTo>
                          <a:pt x="5" y="317"/>
                          <a:pt x="10" y="324"/>
                          <a:pt x="12" y="326"/>
                        </a:cubicBezTo>
                        <a:cubicBezTo>
                          <a:pt x="15" y="334"/>
                          <a:pt x="18" y="342"/>
                          <a:pt x="22" y="350"/>
                        </a:cubicBezTo>
                        <a:cubicBezTo>
                          <a:pt x="26" y="372"/>
                          <a:pt x="24" y="391"/>
                          <a:pt x="44" y="404"/>
                        </a:cubicBezTo>
                        <a:cubicBezTo>
                          <a:pt x="46" y="419"/>
                          <a:pt x="48" y="429"/>
                          <a:pt x="42" y="428"/>
                        </a:cubicBezTo>
                        <a:cubicBezTo>
                          <a:pt x="36" y="427"/>
                          <a:pt x="26" y="420"/>
                          <a:pt x="26" y="420"/>
                        </a:cubicBezTo>
                        <a:cubicBezTo>
                          <a:pt x="22" y="408"/>
                          <a:pt x="14" y="392"/>
                          <a:pt x="8" y="380"/>
                        </a:cubicBezTo>
                        <a:cubicBezTo>
                          <a:pt x="6" y="369"/>
                          <a:pt x="4" y="359"/>
                          <a:pt x="2" y="348"/>
                        </a:cubicBezTo>
                        <a:cubicBezTo>
                          <a:pt x="12" y="308"/>
                          <a:pt x="0" y="269"/>
                          <a:pt x="0" y="230"/>
                        </a:cubicBezTo>
                        <a:cubicBezTo>
                          <a:pt x="0" y="225"/>
                          <a:pt x="3" y="239"/>
                          <a:pt x="4" y="244"/>
                        </a:cubicBezTo>
                        <a:cubicBezTo>
                          <a:pt x="6" y="261"/>
                          <a:pt x="9" y="276"/>
                          <a:pt x="14" y="292"/>
                        </a:cubicBezTo>
                        <a:cubicBezTo>
                          <a:pt x="16" y="308"/>
                          <a:pt x="19" y="322"/>
                          <a:pt x="26" y="336"/>
                        </a:cubicBezTo>
                        <a:cubicBezTo>
                          <a:pt x="30" y="343"/>
                          <a:pt x="42" y="354"/>
                          <a:pt x="42" y="354"/>
                        </a:cubicBezTo>
                        <a:cubicBezTo>
                          <a:pt x="58" y="351"/>
                          <a:pt x="51" y="340"/>
                          <a:pt x="48" y="326"/>
                        </a:cubicBezTo>
                        <a:cubicBezTo>
                          <a:pt x="47" y="322"/>
                          <a:pt x="44" y="314"/>
                          <a:pt x="44" y="314"/>
                        </a:cubicBezTo>
                        <a:cubicBezTo>
                          <a:pt x="42" y="291"/>
                          <a:pt x="40" y="291"/>
                          <a:pt x="34" y="272"/>
                        </a:cubicBezTo>
                        <a:cubicBezTo>
                          <a:pt x="32" y="266"/>
                          <a:pt x="28" y="254"/>
                          <a:pt x="28" y="254"/>
                        </a:cubicBezTo>
                        <a:cubicBezTo>
                          <a:pt x="29" y="243"/>
                          <a:pt x="29" y="231"/>
                          <a:pt x="30" y="220"/>
                        </a:cubicBezTo>
                        <a:cubicBezTo>
                          <a:pt x="30" y="218"/>
                          <a:pt x="32" y="216"/>
                          <a:pt x="32" y="214"/>
                        </a:cubicBezTo>
                        <a:cubicBezTo>
                          <a:pt x="34" y="204"/>
                          <a:pt x="38" y="184"/>
                          <a:pt x="38" y="184"/>
                        </a:cubicBezTo>
                        <a:cubicBezTo>
                          <a:pt x="36" y="142"/>
                          <a:pt x="41" y="101"/>
                          <a:pt x="22" y="64"/>
                        </a:cubicBezTo>
                        <a:cubicBezTo>
                          <a:pt x="23" y="43"/>
                          <a:pt x="26" y="21"/>
                          <a:pt x="26" y="0"/>
                        </a:cubicBezTo>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2032" name="Freeform 376"/>
                  <p:cNvSpPr>
                    <a:spLocks/>
                  </p:cNvSpPr>
                  <p:nvPr/>
                </p:nvSpPr>
                <p:spPr bwMode="gray">
                  <a:xfrm>
                    <a:off x="3557" y="1504"/>
                    <a:ext cx="127" cy="142"/>
                  </a:xfrm>
                  <a:custGeom>
                    <a:avLst/>
                    <a:gdLst>
                      <a:gd name="T0" fmla="*/ 95 w 127"/>
                      <a:gd name="T1" fmla="*/ 0 h 142"/>
                      <a:gd name="T2" fmla="*/ 127 w 127"/>
                      <a:gd name="T3" fmla="*/ 52 h 142"/>
                      <a:gd name="T4" fmla="*/ 105 w 127"/>
                      <a:gd name="T5" fmla="*/ 38 h 142"/>
                      <a:gd name="T6" fmla="*/ 97 w 127"/>
                      <a:gd name="T7" fmla="*/ 108 h 142"/>
                      <a:gd name="T8" fmla="*/ 89 w 127"/>
                      <a:gd name="T9" fmla="*/ 46 h 142"/>
                      <a:gd name="T10" fmla="*/ 69 w 127"/>
                      <a:gd name="T11" fmla="*/ 78 h 142"/>
                      <a:gd name="T12" fmla="*/ 67 w 127"/>
                      <a:gd name="T13" fmla="*/ 126 h 142"/>
                      <a:gd name="T14" fmla="*/ 65 w 127"/>
                      <a:gd name="T15" fmla="*/ 140 h 142"/>
                      <a:gd name="T16" fmla="*/ 63 w 127"/>
                      <a:gd name="T17" fmla="*/ 132 h 142"/>
                      <a:gd name="T18" fmla="*/ 65 w 127"/>
                      <a:gd name="T19" fmla="*/ 88 h 142"/>
                      <a:gd name="T20" fmla="*/ 75 w 127"/>
                      <a:gd name="T21" fmla="*/ 62 h 142"/>
                      <a:gd name="T22" fmla="*/ 47 w 127"/>
                      <a:gd name="T23" fmla="*/ 22 h 142"/>
                      <a:gd name="T24" fmla="*/ 29 w 127"/>
                      <a:gd name="T25" fmla="*/ 50 h 142"/>
                      <a:gd name="T26" fmla="*/ 25 w 127"/>
                      <a:gd name="T27" fmla="*/ 66 h 142"/>
                      <a:gd name="T28" fmla="*/ 23 w 127"/>
                      <a:gd name="T29" fmla="*/ 114 h 142"/>
                      <a:gd name="T30" fmla="*/ 21 w 127"/>
                      <a:gd name="T31" fmla="*/ 108 h 142"/>
                      <a:gd name="T32" fmla="*/ 17 w 127"/>
                      <a:gd name="T33" fmla="*/ 78 h 142"/>
                      <a:gd name="T34" fmla="*/ 13 w 127"/>
                      <a:gd name="T35" fmla="*/ 72 h 142"/>
                      <a:gd name="T36" fmla="*/ 7 w 127"/>
                      <a:gd name="T37" fmla="*/ 70 h 142"/>
                      <a:gd name="T38" fmla="*/ 3 w 127"/>
                      <a:gd name="T39" fmla="*/ 84 h 142"/>
                      <a:gd name="T40" fmla="*/ 5 w 127"/>
                      <a:gd name="T41" fmla="*/ 118 h 142"/>
                      <a:gd name="T42" fmla="*/ 5 w 127"/>
                      <a:gd name="T43" fmla="*/ 54 h 142"/>
                      <a:gd name="T44" fmla="*/ 15 w 127"/>
                      <a:gd name="T45" fmla="*/ 42 h 142"/>
                      <a:gd name="T46" fmla="*/ 23 w 127"/>
                      <a:gd name="T47" fmla="*/ 98 h 142"/>
                      <a:gd name="T48" fmla="*/ 17 w 127"/>
                      <a:gd name="T49" fmla="*/ 32 h 142"/>
                      <a:gd name="T50" fmla="*/ 23 w 127"/>
                      <a:gd name="T51" fmla="*/ 22 h 142"/>
                      <a:gd name="T52" fmla="*/ 87 w 127"/>
                      <a:gd name="T53" fmla="*/ 20 h 142"/>
                      <a:gd name="T54" fmla="*/ 95 w 127"/>
                      <a:gd name="T55" fmla="*/ 0 h 1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7"/>
                      <a:gd name="T85" fmla="*/ 0 h 142"/>
                      <a:gd name="T86" fmla="*/ 127 w 127"/>
                      <a:gd name="T87" fmla="*/ 142 h 1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7" h="142">
                        <a:moveTo>
                          <a:pt x="95" y="0"/>
                        </a:moveTo>
                        <a:cubicBezTo>
                          <a:pt x="104" y="18"/>
                          <a:pt x="118" y="34"/>
                          <a:pt x="127" y="52"/>
                        </a:cubicBezTo>
                        <a:cubicBezTo>
                          <a:pt x="113" y="55"/>
                          <a:pt x="116" y="44"/>
                          <a:pt x="105" y="38"/>
                        </a:cubicBezTo>
                        <a:cubicBezTo>
                          <a:pt x="97" y="61"/>
                          <a:pt x="105" y="85"/>
                          <a:pt x="97" y="108"/>
                        </a:cubicBezTo>
                        <a:cubicBezTo>
                          <a:pt x="96" y="98"/>
                          <a:pt x="101" y="50"/>
                          <a:pt x="89" y="46"/>
                        </a:cubicBezTo>
                        <a:cubicBezTo>
                          <a:pt x="80" y="52"/>
                          <a:pt x="76" y="68"/>
                          <a:pt x="69" y="78"/>
                        </a:cubicBezTo>
                        <a:cubicBezTo>
                          <a:pt x="73" y="96"/>
                          <a:pt x="73" y="109"/>
                          <a:pt x="67" y="126"/>
                        </a:cubicBezTo>
                        <a:cubicBezTo>
                          <a:pt x="66" y="131"/>
                          <a:pt x="68" y="136"/>
                          <a:pt x="65" y="140"/>
                        </a:cubicBezTo>
                        <a:cubicBezTo>
                          <a:pt x="63" y="142"/>
                          <a:pt x="63" y="135"/>
                          <a:pt x="63" y="132"/>
                        </a:cubicBezTo>
                        <a:cubicBezTo>
                          <a:pt x="63" y="117"/>
                          <a:pt x="63" y="103"/>
                          <a:pt x="65" y="88"/>
                        </a:cubicBezTo>
                        <a:cubicBezTo>
                          <a:pt x="66" y="79"/>
                          <a:pt x="72" y="70"/>
                          <a:pt x="75" y="62"/>
                        </a:cubicBezTo>
                        <a:cubicBezTo>
                          <a:pt x="72" y="33"/>
                          <a:pt x="77" y="26"/>
                          <a:pt x="47" y="22"/>
                        </a:cubicBezTo>
                        <a:cubicBezTo>
                          <a:pt x="29" y="25"/>
                          <a:pt x="34" y="34"/>
                          <a:pt x="29" y="50"/>
                        </a:cubicBezTo>
                        <a:cubicBezTo>
                          <a:pt x="27" y="55"/>
                          <a:pt x="25" y="66"/>
                          <a:pt x="25" y="66"/>
                        </a:cubicBezTo>
                        <a:cubicBezTo>
                          <a:pt x="24" y="82"/>
                          <a:pt x="25" y="98"/>
                          <a:pt x="23" y="114"/>
                        </a:cubicBezTo>
                        <a:cubicBezTo>
                          <a:pt x="23" y="116"/>
                          <a:pt x="21" y="110"/>
                          <a:pt x="21" y="108"/>
                        </a:cubicBezTo>
                        <a:cubicBezTo>
                          <a:pt x="21" y="107"/>
                          <a:pt x="18" y="80"/>
                          <a:pt x="17" y="78"/>
                        </a:cubicBezTo>
                        <a:cubicBezTo>
                          <a:pt x="16" y="76"/>
                          <a:pt x="14" y="74"/>
                          <a:pt x="13" y="72"/>
                        </a:cubicBezTo>
                        <a:cubicBezTo>
                          <a:pt x="7" y="43"/>
                          <a:pt x="10" y="48"/>
                          <a:pt x="7" y="70"/>
                        </a:cubicBezTo>
                        <a:cubicBezTo>
                          <a:pt x="6" y="75"/>
                          <a:pt x="4" y="80"/>
                          <a:pt x="3" y="84"/>
                        </a:cubicBezTo>
                        <a:cubicBezTo>
                          <a:pt x="4" y="95"/>
                          <a:pt x="5" y="129"/>
                          <a:pt x="5" y="118"/>
                        </a:cubicBezTo>
                        <a:cubicBezTo>
                          <a:pt x="5" y="107"/>
                          <a:pt x="0" y="70"/>
                          <a:pt x="5" y="54"/>
                        </a:cubicBezTo>
                        <a:cubicBezTo>
                          <a:pt x="6" y="49"/>
                          <a:pt x="12" y="46"/>
                          <a:pt x="15" y="42"/>
                        </a:cubicBezTo>
                        <a:cubicBezTo>
                          <a:pt x="18" y="61"/>
                          <a:pt x="20" y="79"/>
                          <a:pt x="23" y="98"/>
                        </a:cubicBezTo>
                        <a:cubicBezTo>
                          <a:pt x="23" y="90"/>
                          <a:pt x="35" y="38"/>
                          <a:pt x="17" y="32"/>
                        </a:cubicBezTo>
                        <a:cubicBezTo>
                          <a:pt x="30" y="29"/>
                          <a:pt x="42" y="28"/>
                          <a:pt x="23" y="22"/>
                        </a:cubicBezTo>
                        <a:cubicBezTo>
                          <a:pt x="42" y="17"/>
                          <a:pt x="67" y="21"/>
                          <a:pt x="87" y="20"/>
                        </a:cubicBezTo>
                        <a:cubicBezTo>
                          <a:pt x="92" y="17"/>
                          <a:pt x="101" y="6"/>
                          <a:pt x="95" y="0"/>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2033" name="Freeform 377"/>
                  <p:cNvSpPr>
                    <a:spLocks/>
                  </p:cNvSpPr>
                  <p:nvPr/>
                </p:nvSpPr>
                <p:spPr bwMode="gray">
                  <a:xfrm>
                    <a:off x="3558" y="1130"/>
                    <a:ext cx="162" cy="398"/>
                  </a:xfrm>
                  <a:custGeom>
                    <a:avLst/>
                    <a:gdLst>
                      <a:gd name="T0" fmla="*/ 154 w 162"/>
                      <a:gd name="T1" fmla="*/ 12 h 398"/>
                      <a:gd name="T2" fmla="*/ 110 w 162"/>
                      <a:gd name="T3" fmla="*/ 18 h 398"/>
                      <a:gd name="T4" fmla="*/ 98 w 162"/>
                      <a:gd name="T5" fmla="*/ 30 h 398"/>
                      <a:gd name="T6" fmla="*/ 80 w 162"/>
                      <a:gd name="T7" fmla="*/ 42 h 398"/>
                      <a:gd name="T8" fmla="*/ 66 w 162"/>
                      <a:gd name="T9" fmla="*/ 74 h 398"/>
                      <a:gd name="T10" fmla="*/ 56 w 162"/>
                      <a:gd name="T11" fmla="*/ 100 h 398"/>
                      <a:gd name="T12" fmla="*/ 34 w 162"/>
                      <a:gd name="T13" fmla="*/ 198 h 398"/>
                      <a:gd name="T14" fmla="*/ 20 w 162"/>
                      <a:gd name="T15" fmla="*/ 330 h 398"/>
                      <a:gd name="T16" fmla="*/ 6 w 162"/>
                      <a:gd name="T17" fmla="*/ 360 h 398"/>
                      <a:gd name="T18" fmla="*/ 22 w 162"/>
                      <a:gd name="T19" fmla="*/ 398 h 398"/>
                      <a:gd name="T20" fmla="*/ 96 w 162"/>
                      <a:gd name="T21" fmla="*/ 388 h 398"/>
                      <a:gd name="T22" fmla="*/ 72 w 162"/>
                      <a:gd name="T23" fmla="*/ 326 h 398"/>
                      <a:gd name="T24" fmla="*/ 48 w 162"/>
                      <a:gd name="T25" fmla="*/ 258 h 398"/>
                      <a:gd name="T26" fmla="*/ 52 w 162"/>
                      <a:gd name="T27" fmla="*/ 192 h 398"/>
                      <a:gd name="T28" fmla="*/ 88 w 162"/>
                      <a:gd name="T29" fmla="*/ 106 h 398"/>
                      <a:gd name="T30" fmla="*/ 162 w 162"/>
                      <a:gd name="T31" fmla="*/ 18 h 398"/>
                      <a:gd name="T32" fmla="*/ 154 w 162"/>
                      <a:gd name="T33" fmla="*/ 12 h 3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2"/>
                      <a:gd name="T52" fmla="*/ 0 h 398"/>
                      <a:gd name="T53" fmla="*/ 162 w 162"/>
                      <a:gd name="T54" fmla="*/ 398 h 3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2" h="398">
                        <a:moveTo>
                          <a:pt x="154" y="12"/>
                        </a:moveTo>
                        <a:cubicBezTo>
                          <a:pt x="139" y="7"/>
                          <a:pt x="124" y="14"/>
                          <a:pt x="110" y="18"/>
                        </a:cubicBezTo>
                        <a:cubicBezTo>
                          <a:pt x="90" y="31"/>
                          <a:pt x="120" y="10"/>
                          <a:pt x="98" y="30"/>
                        </a:cubicBezTo>
                        <a:cubicBezTo>
                          <a:pt x="93" y="35"/>
                          <a:pt x="80" y="42"/>
                          <a:pt x="80" y="42"/>
                        </a:cubicBezTo>
                        <a:cubicBezTo>
                          <a:pt x="76" y="54"/>
                          <a:pt x="74" y="64"/>
                          <a:pt x="66" y="74"/>
                        </a:cubicBezTo>
                        <a:cubicBezTo>
                          <a:pt x="62" y="83"/>
                          <a:pt x="59" y="90"/>
                          <a:pt x="56" y="100"/>
                        </a:cubicBezTo>
                        <a:cubicBezTo>
                          <a:pt x="51" y="121"/>
                          <a:pt x="40" y="160"/>
                          <a:pt x="34" y="198"/>
                        </a:cubicBezTo>
                        <a:cubicBezTo>
                          <a:pt x="34" y="205"/>
                          <a:pt x="47" y="303"/>
                          <a:pt x="20" y="330"/>
                        </a:cubicBezTo>
                        <a:cubicBezTo>
                          <a:pt x="16" y="341"/>
                          <a:pt x="9" y="348"/>
                          <a:pt x="6" y="360"/>
                        </a:cubicBezTo>
                        <a:cubicBezTo>
                          <a:pt x="8" y="389"/>
                          <a:pt x="0" y="393"/>
                          <a:pt x="22" y="398"/>
                        </a:cubicBezTo>
                        <a:cubicBezTo>
                          <a:pt x="81" y="394"/>
                          <a:pt x="64" y="393"/>
                          <a:pt x="96" y="388"/>
                        </a:cubicBezTo>
                        <a:cubicBezTo>
                          <a:pt x="92" y="368"/>
                          <a:pt x="78" y="344"/>
                          <a:pt x="72" y="326"/>
                        </a:cubicBezTo>
                        <a:cubicBezTo>
                          <a:pt x="64" y="302"/>
                          <a:pt x="62" y="290"/>
                          <a:pt x="48" y="258"/>
                        </a:cubicBezTo>
                        <a:cubicBezTo>
                          <a:pt x="49" y="230"/>
                          <a:pt x="39" y="211"/>
                          <a:pt x="52" y="192"/>
                        </a:cubicBezTo>
                        <a:cubicBezTo>
                          <a:pt x="59" y="167"/>
                          <a:pt x="70" y="136"/>
                          <a:pt x="88" y="106"/>
                        </a:cubicBezTo>
                        <a:cubicBezTo>
                          <a:pt x="112" y="50"/>
                          <a:pt x="151" y="35"/>
                          <a:pt x="162" y="18"/>
                        </a:cubicBezTo>
                        <a:cubicBezTo>
                          <a:pt x="161" y="17"/>
                          <a:pt x="148" y="0"/>
                          <a:pt x="154" y="12"/>
                        </a:cubicBezTo>
                        <a:close/>
                      </a:path>
                    </a:pathLst>
                  </a:custGeom>
                  <a:solidFill>
                    <a:srgbClr val="ACD9F8"/>
                  </a:solidFill>
                  <a:ln w="6350">
                    <a:noFill/>
                    <a:round/>
                    <a:headEnd/>
                    <a:tailEnd/>
                  </a:ln>
                </p:spPr>
                <p:txBody>
                  <a:bodyPr lIns="45720" tIns="46800" rIns="45720" bIns="46800" anchor="ctr"/>
                  <a:lstStyle/>
                  <a:p>
                    <a:pPr defTabSz="912546"/>
                    <a:endParaRPr>
                      <a:solidFill>
                        <a:srgbClr val="000000"/>
                      </a:solidFill>
                    </a:endParaRPr>
                  </a:p>
                </p:txBody>
              </p:sp>
              <p:sp>
                <p:nvSpPr>
                  <p:cNvPr id="442034" name="Freeform 378"/>
                  <p:cNvSpPr>
                    <a:spLocks/>
                  </p:cNvSpPr>
                  <p:nvPr/>
                </p:nvSpPr>
                <p:spPr bwMode="gray">
                  <a:xfrm>
                    <a:off x="3555" y="1152"/>
                    <a:ext cx="109" cy="351"/>
                  </a:xfrm>
                  <a:custGeom>
                    <a:avLst/>
                    <a:gdLst>
                      <a:gd name="T0" fmla="*/ 107 w 109"/>
                      <a:gd name="T1" fmla="*/ 20 h 351"/>
                      <a:gd name="T2" fmla="*/ 89 w 109"/>
                      <a:gd name="T3" fmla="*/ 18 h 351"/>
                      <a:gd name="T4" fmla="*/ 79 w 109"/>
                      <a:gd name="T5" fmla="*/ 46 h 351"/>
                      <a:gd name="T6" fmla="*/ 83 w 109"/>
                      <a:gd name="T7" fmla="*/ 60 h 351"/>
                      <a:gd name="T8" fmla="*/ 45 w 109"/>
                      <a:gd name="T9" fmla="*/ 144 h 351"/>
                      <a:gd name="T10" fmla="*/ 0 w 109"/>
                      <a:gd name="T11" fmla="*/ 312 h 351"/>
                      <a:gd name="T12" fmla="*/ 24 w 109"/>
                      <a:gd name="T13" fmla="*/ 351 h 351"/>
                      <a:gd name="T14" fmla="*/ 54 w 109"/>
                      <a:gd name="T15" fmla="*/ 321 h 351"/>
                      <a:gd name="T16" fmla="*/ 57 w 109"/>
                      <a:gd name="T17" fmla="*/ 246 h 351"/>
                      <a:gd name="T18" fmla="*/ 49 w 109"/>
                      <a:gd name="T19" fmla="*/ 202 h 351"/>
                      <a:gd name="T20" fmla="*/ 57 w 109"/>
                      <a:gd name="T21" fmla="*/ 168 h 351"/>
                      <a:gd name="T22" fmla="*/ 67 w 109"/>
                      <a:gd name="T23" fmla="*/ 144 h 351"/>
                      <a:gd name="T24" fmla="*/ 103 w 109"/>
                      <a:gd name="T25" fmla="*/ 70 h 351"/>
                      <a:gd name="T26" fmla="*/ 95 w 109"/>
                      <a:gd name="T27" fmla="*/ 40 h 351"/>
                      <a:gd name="T28" fmla="*/ 95 w 109"/>
                      <a:gd name="T29" fmla="*/ 22 h 351"/>
                      <a:gd name="T30" fmla="*/ 93 w 109"/>
                      <a:gd name="T31" fmla="*/ 0 h 3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9"/>
                      <a:gd name="T49" fmla="*/ 0 h 351"/>
                      <a:gd name="T50" fmla="*/ 109 w 109"/>
                      <a:gd name="T51" fmla="*/ 351 h 3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9" h="351">
                        <a:moveTo>
                          <a:pt x="107" y="20"/>
                        </a:moveTo>
                        <a:cubicBezTo>
                          <a:pt x="99" y="26"/>
                          <a:pt x="97" y="23"/>
                          <a:pt x="89" y="18"/>
                        </a:cubicBezTo>
                        <a:cubicBezTo>
                          <a:pt x="82" y="28"/>
                          <a:pt x="93" y="37"/>
                          <a:pt x="79" y="46"/>
                        </a:cubicBezTo>
                        <a:cubicBezTo>
                          <a:pt x="63" y="70"/>
                          <a:pt x="91" y="26"/>
                          <a:pt x="83" y="60"/>
                        </a:cubicBezTo>
                        <a:cubicBezTo>
                          <a:pt x="83" y="61"/>
                          <a:pt x="58" y="105"/>
                          <a:pt x="45" y="144"/>
                        </a:cubicBezTo>
                        <a:lnTo>
                          <a:pt x="0" y="312"/>
                        </a:lnTo>
                        <a:cubicBezTo>
                          <a:pt x="0" y="332"/>
                          <a:pt x="16" y="346"/>
                          <a:pt x="24" y="351"/>
                        </a:cubicBezTo>
                        <a:lnTo>
                          <a:pt x="54" y="321"/>
                        </a:lnTo>
                        <a:cubicBezTo>
                          <a:pt x="57" y="302"/>
                          <a:pt x="55" y="265"/>
                          <a:pt x="57" y="246"/>
                        </a:cubicBezTo>
                        <a:cubicBezTo>
                          <a:pt x="58" y="236"/>
                          <a:pt x="49" y="202"/>
                          <a:pt x="49" y="202"/>
                        </a:cubicBezTo>
                        <a:cubicBezTo>
                          <a:pt x="50" y="181"/>
                          <a:pt x="47" y="182"/>
                          <a:pt x="57" y="168"/>
                        </a:cubicBezTo>
                        <a:cubicBezTo>
                          <a:pt x="62" y="150"/>
                          <a:pt x="60" y="155"/>
                          <a:pt x="67" y="144"/>
                        </a:cubicBezTo>
                        <a:cubicBezTo>
                          <a:pt x="74" y="116"/>
                          <a:pt x="83" y="90"/>
                          <a:pt x="103" y="70"/>
                        </a:cubicBezTo>
                        <a:cubicBezTo>
                          <a:pt x="106" y="57"/>
                          <a:pt x="104" y="49"/>
                          <a:pt x="95" y="40"/>
                        </a:cubicBezTo>
                        <a:cubicBezTo>
                          <a:pt x="97" y="30"/>
                          <a:pt x="109" y="22"/>
                          <a:pt x="95" y="22"/>
                        </a:cubicBezTo>
                        <a:lnTo>
                          <a:pt x="93" y="0"/>
                        </a:lnTo>
                      </a:path>
                    </a:pathLst>
                  </a:custGeom>
                  <a:solidFill>
                    <a:srgbClr val="CC0000"/>
                  </a:solidFill>
                  <a:ln w="12700">
                    <a:noFill/>
                    <a:round/>
                    <a:headEnd/>
                    <a:tailEnd/>
                  </a:ln>
                </p:spPr>
                <p:txBody>
                  <a:bodyPr lIns="45720" tIns="46800" rIns="45720" bIns="46800" anchor="ctr"/>
                  <a:lstStyle/>
                  <a:p>
                    <a:pPr defTabSz="912546"/>
                    <a:endParaRPr>
                      <a:solidFill>
                        <a:srgbClr val="000000"/>
                      </a:solidFill>
                    </a:endParaRPr>
                  </a:p>
                </p:txBody>
              </p:sp>
              <p:sp>
                <p:nvSpPr>
                  <p:cNvPr id="442035" name="Freeform 379"/>
                  <p:cNvSpPr>
                    <a:spLocks/>
                  </p:cNvSpPr>
                  <p:nvPr/>
                </p:nvSpPr>
                <p:spPr bwMode="gray">
                  <a:xfrm>
                    <a:off x="3611" y="1002"/>
                    <a:ext cx="115" cy="177"/>
                  </a:xfrm>
                  <a:custGeom>
                    <a:avLst/>
                    <a:gdLst>
                      <a:gd name="T0" fmla="*/ 47 w 115"/>
                      <a:gd name="T1" fmla="*/ 2 h 177"/>
                      <a:gd name="T2" fmla="*/ 17 w 115"/>
                      <a:gd name="T3" fmla="*/ 10 h 177"/>
                      <a:gd name="T4" fmla="*/ 5 w 115"/>
                      <a:gd name="T5" fmla="*/ 30 h 177"/>
                      <a:gd name="T6" fmla="*/ 5 w 115"/>
                      <a:gd name="T7" fmla="*/ 62 h 177"/>
                      <a:gd name="T8" fmla="*/ 5 w 115"/>
                      <a:gd name="T9" fmla="*/ 98 h 177"/>
                      <a:gd name="T10" fmla="*/ 15 w 115"/>
                      <a:gd name="T11" fmla="*/ 116 h 177"/>
                      <a:gd name="T12" fmla="*/ 19 w 115"/>
                      <a:gd name="T13" fmla="*/ 136 h 177"/>
                      <a:gd name="T14" fmla="*/ 37 w 115"/>
                      <a:gd name="T15" fmla="*/ 154 h 177"/>
                      <a:gd name="T16" fmla="*/ 43 w 115"/>
                      <a:gd name="T17" fmla="*/ 166 h 177"/>
                      <a:gd name="T18" fmla="*/ 49 w 115"/>
                      <a:gd name="T19" fmla="*/ 170 h 177"/>
                      <a:gd name="T20" fmla="*/ 77 w 115"/>
                      <a:gd name="T21" fmla="*/ 154 h 177"/>
                      <a:gd name="T22" fmla="*/ 97 w 115"/>
                      <a:gd name="T23" fmla="*/ 140 h 177"/>
                      <a:gd name="T24" fmla="*/ 101 w 115"/>
                      <a:gd name="T25" fmla="*/ 100 h 177"/>
                      <a:gd name="T26" fmla="*/ 111 w 115"/>
                      <a:gd name="T27" fmla="*/ 86 h 177"/>
                      <a:gd name="T28" fmla="*/ 103 w 115"/>
                      <a:gd name="T29" fmla="*/ 58 h 177"/>
                      <a:gd name="T30" fmla="*/ 73 w 115"/>
                      <a:gd name="T31" fmla="*/ 0 h 177"/>
                      <a:gd name="T32" fmla="*/ 47 w 115"/>
                      <a:gd name="T33" fmla="*/ 2 h 1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77"/>
                      <a:gd name="T53" fmla="*/ 115 w 115"/>
                      <a:gd name="T54" fmla="*/ 177 h 1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77">
                        <a:moveTo>
                          <a:pt x="47" y="2"/>
                        </a:moveTo>
                        <a:cubicBezTo>
                          <a:pt x="35" y="4"/>
                          <a:pt x="27" y="3"/>
                          <a:pt x="17" y="10"/>
                        </a:cubicBezTo>
                        <a:cubicBezTo>
                          <a:pt x="13" y="17"/>
                          <a:pt x="9" y="23"/>
                          <a:pt x="5" y="30"/>
                        </a:cubicBezTo>
                        <a:cubicBezTo>
                          <a:pt x="1" y="45"/>
                          <a:pt x="0" y="48"/>
                          <a:pt x="5" y="62"/>
                        </a:cubicBezTo>
                        <a:cubicBezTo>
                          <a:pt x="2" y="79"/>
                          <a:pt x="2" y="73"/>
                          <a:pt x="5" y="98"/>
                        </a:cubicBezTo>
                        <a:cubicBezTo>
                          <a:pt x="6" y="105"/>
                          <a:pt x="15" y="116"/>
                          <a:pt x="15" y="116"/>
                        </a:cubicBezTo>
                        <a:cubicBezTo>
                          <a:pt x="16" y="123"/>
                          <a:pt x="18" y="129"/>
                          <a:pt x="19" y="136"/>
                        </a:cubicBezTo>
                        <a:cubicBezTo>
                          <a:pt x="21" y="144"/>
                          <a:pt x="37" y="154"/>
                          <a:pt x="37" y="154"/>
                        </a:cubicBezTo>
                        <a:cubicBezTo>
                          <a:pt x="38" y="158"/>
                          <a:pt x="42" y="162"/>
                          <a:pt x="43" y="166"/>
                        </a:cubicBezTo>
                        <a:cubicBezTo>
                          <a:pt x="44" y="175"/>
                          <a:pt x="34" y="177"/>
                          <a:pt x="49" y="170"/>
                        </a:cubicBezTo>
                        <a:cubicBezTo>
                          <a:pt x="54" y="162"/>
                          <a:pt x="67" y="156"/>
                          <a:pt x="77" y="154"/>
                        </a:cubicBezTo>
                        <a:cubicBezTo>
                          <a:pt x="84" y="147"/>
                          <a:pt x="90" y="147"/>
                          <a:pt x="97" y="140"/>
                        </a:cubicBezTo>
                        <a:cubicBezTo>
                          <a:pt x="99" y="127"/>
                          <a:pt x="98" y="113"/>
                          <a:pt x="101" y="100"/>
                        </a:cubicBezTo>
                        <a:cubicBezTo>
                          <a:pt x="102" y="94"/>
                          <a:pt x="108" y="91"/>
                          <a:pt x="111" y="86"/>
                        </a:cubicBezTo>
                        <a:cubicBezTo>
                          <a:pt x="113" y="71"/>
                          <a:pt x="115" y="66"/>
                          <a:pt x="103" y="58"/>
                        </a:cubicBezTo>
                        <a:cubicBezTo>
                          <a:pt x="97" y="34"/>
                          <a:pt x="101" y="9"/>
                          <a:pt x="73" y="0"/>
                        </a:cubicBezTo>
                        <a:cubicBezTo>
                          <a:pt x="44" y="2"/>
                          <a:pt x="36" y="2"/>
                          <a:pt x="47" y="2"/>
                        </a:cubicBezTo>
                        <a:close/>
                      </a:path>
                    </a:pathLst>
                  </a:custGeom>
                  <a:solidFill>
                    <a:srgbClr val="D4956A"/>
                  </a:solidFill>
                  <a:ln w="12700">
                    <a:noFill/>
                    <a:round/>
                    <a:headEnd/>
                    <a:tailEnd/>
                  </a:ln>
                </p:spPr>
                <p:txBody>
                  <a:bodyPr lIns="45720" tIns="46800" rIns="45720" bIns="46800" anchor="ctr"/>
                  <a:lstStyle/>
                  <a:p>
                    <a:pPr defTabSz="912546"/>
                    <a:endParaRPr>
                      <a:solidFill>
                        <a:srgbClr val="000000"/>
                      </a:solidFill>
                    </a:endParaRPr>
                  </a:p>
                </p:txBody>
              </p:sp>
              <p:sp>
                <p:nvSpPr>
                  <p:cNvPr id="442036" name="Freeform 380"/>
                  <p:cNvSpPr>
                    <a:spLocks/>
                  </p:cNvSpPr>
                  <p:nvPr/>
                </p:nvSpPr>
                <p:spPr bwMode="gray">
                  <a:xfrm>
                    <a:off x="3653" y="1058"/>
                    <a:ext cx="41" cy="28"/>
                  </a:xfrm>
                  <a:custGeom>
                    <a:avLst/>
                    <a:gdLst>
                      <a:gd name="T0" fmla="*/ 41 w 41"/>
                      <a:gd name="T1" fmla="*/ 12 h 28"/>
                      <a:gd name="T2" fmla="*/ 27 w 41"/>
                      <a:gd name="T3" fmla="*/ 0 h 28"/>
                      <a:gd name="T4" fmla="*/ 13 w 41"/>
                      <a:gd name="T5" fmla="*/ 28 h 28"/>
                      <a:gd name="T6" fmla="*/ 41 w 41"/>
                      <a:gd name="T7" fmla="*/ 12 h 28"/>
                      <a:gd name="T8" fmla="*/ 0 60000 65536"/>
                      <a:gd name="T9" fmla="*/ 0 60000 65536"/>
                      <a:gd name="T10" fmla="*/ 0 60000 65536"/>
                      <a:gd name="T11" fmla="*/ 0 60000 65536"/>
                      <a:gd name="T12" fmla="*/ 0 w 41"/>
                      <a:gd name="T13" fmla="*/ 0 h 28"/>
                      <a:gd name="T14" fmla="*/ 41 w 41"/>
                      <a:gd name="T15" fmla="*/ 28 h 28"/>
                    </a:gdLst>
                    <a:ahLst/>
                    <a:cxnLst>
                      <a:cxn ang="T8">
                        <a:pos x="T0" y="T1"/>
                      </a:cxn>
                      <a:cxn ang="T9">
                        <a:pos x="T2" y="T3"/>
                      </a:cxn>
                      <a:cxn ang="T10">
                        <a:pos x="T4" y="T5"/>
                      </a:cxn>
                      <a:cxn ang="T11">
                        <a:pos x="T6" y="T7"/>
                      </a:cxn>
                    </a:cxnLst>
                    <a:rect l="T12" t="T13" r="T14" b="T15"/>
                    <a:pathLst>
                      <a:path w="41" h="28">
                        <a:moveTo>
                          <a:pt x="41" y="12"/>
                        </a:moveTo>
                        <a:cubicBezTo>
                          <a:pt x="38" y="4"/>
                          <a:pt x="34" y="5"/>
                          <a:pt x="27" y="0"/>
                        </a:cubicBezTo>
                        <a:cubicBezTo>
                          <a:pt x="2" y="3"/>
                          <a:pt x="0" y="8"/>
                          <a:pt x="13" y="28"/>
                        </a:cubicBezTo>
                        <a:cubicBezTo>
                          <a:pt x="17" y="27"/>
                          <a:pt x="41" y="16"/>
                          <a:pt x="41" y="12"/>
                        </a:cubicBezTo>
                        <a:close/>
                      </a:path>
                    </a:pathLst>
                  </a:custGeom>
                  <a:solidFill>
                    <a:srgbClr val="C38557"/>
                  </a:solidFill>
                  <a:ln w="12700">
                    <a:noFill/>
                    <a:round/>
                    <a:headEnd/>
                    <a:tailEnd/>
                  </a:ln>
                </p:spPr>
                <p:txBody>
                  <a:bodyPr lIns="45720" tIns="46800" rIns="45720" bIns="46800" anchor="ctr"/>
                  <a:lstStyle/>
                  <a:p>
                    <a:pPr defTabSz="912546"/>
                    <a:endParaRPr>
                      <a:solidFill>
                        <a:srgbClr val="000000"/>
                      </a:solidFill>
                    </a:endParaRPr>
                  </a:p>
                </p:txBody>
              </p:sp>
              <p:sp>
                <p:nvSpPr>
                  <p:cNvPr id="442037" name="Freeform 381"/>
                  <p:cNvSpPr>
                    <a:spLocks/>
                  </p:cNvSpPr>
                  <p:nvPr/>
                </p:nvSpPr>
                <p:spPr bwMode="gray">
                  <a:xfrm>
                    <a:off x="3609" y="1060"/>
                    <a:ext cx="39" cy="26"/>
                  </a:xfrm>
                  <a:custGeom>
                    <a:avLst/>
                    <a:gdLst>
                      <a:gd name="T0" fmla="*/ 5 w 39"/>
                      <a:gd name="T1" fmla="*/ 6 h 26"/>
                      <a:gd name="T2" fmla="*/ 39 w 39"/>
                      <a:gd name="T3" fmla="*/ 2 h 26"/>
                      <a:gd name="T4" fmla="*/ 25 w 39"/>
                      <a:gd name="T5" fmla="*/ 26 h 26"/>
                      <a:gd name="T6" fmla="*/ 9 w 39"/>
                      <a:gd name="T7" fmla="*/ 14 h 26"/>
                      <a:gd name="T8" fmla="*/ 5 w 39"/>
                      <a:gd name="T9" fmla="*/ 6 h 26"/>
                      <a:gd name="T10" fmla="*/ 0 60000 65536"/>
                      <a:gd name="T11" fmla="*/ 0 60000 65536"/>
                      <a:gd name="T12" fmla="*/ 0 60000 65536"/>
                      <a:gd name="T13" fmla="*/ 0 60000 65536"/>
                      <a:gd name="T14" fmla="*/ 0 60000 65536"/>
                      <a:gd name="T15" fmla="*/ 0 w 39"/>
                      <a:gd name="T16" fmla="*/ 0 h 26"/>
                      <a:gd name="T17" fmla="*/ 39 w 39"/>
                      <a:gd name="T18" fmla="*/ 26 h 26"/>
                    </a:gdLst>
                    <a:ahLst/>
                    <a:cxnLst>
                      <a:cxn ang="T10">
                        <a:pos x="T0" y="T1"/>
                      </a:cxn>
                      <a:cxn ang="T11">
                        <a:pos x="T2" y="T3"/>
                      </a:cxn>
                      <a:cxn ang="T12">
                        <a:pos x="T4" y="T5"/>
                      </a:cxn>
                      <a:cxn ang="T13">
                        <a:pos x="T6" y="T7"/>
                      </a:cxn>
                      <a:cxn ang="T14">
                        <a:pos x="T8" y="T9"/>
                      </a:cxn>
                    </a:cxnLst>
                    <a:rect l="T15" t="T16" r="T17" b="T18"/>
                    <a:pathLst>
                      <a:path w="39" h="26">
                        <a:moveTo>
                          <a:pt x="5" y="6"/>
                        </a:moveTo>
                        <a:cubicBezTo>
                          <a:pt x="20" y="0"/>
                          <a:pt x="21" y="0"/>
                          <a:pt x="39" y="2"/>
                        </a:cubicBezTo>
                        <a:cubicBezTo>
                          <a:pt x="36" y="15"/>
                          <a:pt x="38" y="23"/>
                          <a:pt x="25" y="26"/>
                        </a:cubicBezTo>
                        <a:cubicBezTo>
                          <a:pt x="20" y="19"/>
                          <a:pt x="16" y="19"/>
                          <a:pt x="9" y="14"/>
                        </a:cubicBezTo>
                        <a:cubicBezTo>
                          <a:pt x="0" y="1"/>
                          <a:pt x="19" y="1"/>
                          <a:pt x="5" y="6"/>
                        </a:cubicBezTo>
                        <a:close/>
                      </a:path>
                    </a:pathLst>
                  </a:custGeom>
                  <a:solidFill>
                    <a:srgbClr val="C38557"/>
                  </a:solidFill>
                  <a:ln w="12700">
                    <a:noFill/>
                    <a:round/>
                    <a:headEnd/>
                    <a:tailEnd/>
                  </a:ln>
                </p:spPr>
                <p:txBody>
                  <a:bodyPr lIns="45720" tIns="46800" rIns="45720" bIns="46800" anchor="ctr"/>
                  <a:lstStyle/>
                  <a:p>
                    <a:pPr defTabSz="912546"/>
                    <a:endParaRPr>
                      <a:solidFill>
                        <a:srgbClr val="000000"/>
                      </a:solidFill>
                    </a:endParaRPr>
                  </a:p>
                </p:txBody>
              </p:sp>
              <p:sp>
                <p:nvSpPr>
                  <p:cNvPr id="442038" name="Freeform 382"/>
                  <p:cNvSpPr>
                    <a:spLocks/>
                  </p:cNvSpPr>
                  <p:nvPr/>
                </p:nvSpPr>
                <p:spPr bwMode="gray">
                  <a:xfrm>
                    <a:off x="3640" y="1124"/>
                    <a:ext cx="63" cy="50"/>
                  </a:xfrm>
                  <a:custGeom>
                    <a:avLst/>
                    <a:gdLst>
                      <a:gd name="T0" fmla="*/ 62 w 63"/>
                      <a:gd name="T1" fmla="*/ 0 h 50"/>
                      <a:gd name="T2" fmla="*/ 0 w 63"/>
                      <a:gd name="T3" fmla="*/ 28 h 50"/>
                      <a:gd name="T4" fmla="*/ 12 w 63"/>
                      <a:gd name="T5" fmla="*/ 50 h 50"/>
                      <a:gd name="T6" fmla="*/ 40 w 63"/>
                      <a:gd name="T7" fmla="*/ 28 h 50"/>
                      <a:gd name="T8" fmla="*/ 54 w 63"/>
                      <a:gd name="T9" fmla="*/ 24 h 50"/>
                      <a:gd name="T10" fmla="*/ 62 w 63"/>
                      <a:gd name="T11" fmla="*/ 0 h 50"/>
                      <a:gd name="T12" fmla="*/ 0 60000 65536"/>
                      <a:gd name="T13" fmla="*/ 0 60000 65536"/>
                      <a:gd name="T14" fmla="*/ 0 60000 65536"/>
                      <a:gd name="T15" fmla="*/ 0 60000 65536"/>
                      <a:gd name="T16" fmla="*/ 0 60000 65536"/>
                      <a:gd name="T17" fmla="*/ 0 60000 65536"/>
                      <a:gd name="T18" fmla="*/ 0 w 63"/>
                      <a:gd name="T19" fmla="*/ 0 h 50"/>
                      <a:gd name="T20" fmla="*/ 63 w 63"/>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63" h="50">
                        <a:moveTo>
                          <a:pt x="62" y="0"/>
                        </a:moveTo>
                        <a:cubicBezTo>
                          <a:pt x="46" y="22"/>
                          <a:pt x="16" y="29"/>
                          <a:pt x="0" y="28"/>
                        </a:cubicBezTo>
                        <a:cubicBezTo>
                          <a:pt x="6" y="38"/>
                          <a:pt x="9" y="40"/>
                          <a:pt x="12" y="50"/>
                        </a:cubicBezTo>
                        <a:cubicBezTo>
                          <a:pt x="22" y="48"/>
                          <a:pt x="30" y="34"/>
                          <a:pt x="40" y="28"/>
                        </a:cubicBezTo>
                        <a:cubicBezTo>
                          <a:pt x="44" y="26"/>
                          <a:pt x="30" y="42"/>
                          <a:pt x="54" y="24"/>
                        </a:cubicBezTo>
                        <a:cubicBezTo>
                          <a:pt x="55" y="22"/>
                          <a:pt x="63" y="1"/>
                          <a:pt x="62" y="0"/>
                        </a:cubicBezTo>
                        <a:close/>
                      </a:path>
                    </a:pathLst>
                  </a:custGeom>
                  <a:solidFill>
                    <a:srgbClr val="C38557"/>
                  </a:solidFill>
                  <a:ln w="12700">
                    <a:noFill/>
                    <a:round/>
                    <a:headEnd/>
                    <a:tailEnd/>
                  </a:ln>
                </p:spPr>
                <p:txBody>
                  <a:bodyPr lIns="45720" tIns="46800" rIns="45720" bIns="46800" anchor="ctr"/>
                  <a:lstStyle/>
                  <a:p>
                    <a:pPr defTabSz="912546"/>
                    <a:endParaRPr>
                      <a:solidFill>
                        <a:srgbClr val="000000"/>
                      </a:solidFill>
                    </a:endParaRPr>
                  </a:p>
                </p:txBody>
              </p:sp>
              <p:sp>
                <p:nvSpPr>
                  <p:cNvPr id="442039" name="Freeform 383"/>
                  <p:cNvSpPr>
                    <a:spLocks/>
                  </p:cNvSpPr>
                  <p:nvPr/>
                </p:nvSpPr>
                <p:spPr bwMode="gray">
                  <a:xfrm>
                    <a:off x="3606" y="978"/>
                    <a:ext cx="116" cy="108"/>
                  </a:xfrm>
                  <a:custGeom>
                    <a:avLst/>
                    <a:gdLst>
                      <a:gd name="T0" fmla="*/ 102 w 116"/>
                      <a:gd name="T1" fmla="*/ 108 h 108"/>
                      <a:gd name="T2" fmla="*/ 110 w 116"/>
                      <a:gd name="T3" fmla="*/ 94 h 108"/>
                      <a:gd name="T4" fmla="*/ 116 w 116"/>
                      <a:gd name="T5" fmla="*/ 76 h 108"/>
                      <a:gd name="T6" fmla="*/ 104 w 116"/>
                      <a:gd name="T7" fmla="*/ 36 h 108"/>
                      <a:gd name="T8" fmla="*/ 76 w 116"/>
                      <a:gd name="T9" fmla="*/ 8 h 108"/>
                      <a:gd name="T10" fmla="*/ 52 w 116"/>
                      <a:gd name="T11" fmla="*/ 0 h 108"/>
                      <a:gd name="T12" fmla="*/ 46 w 116"/>
                      <a:gd name="T13" fmla="*/ 2 h 108"/>
                      <a:gd name="T14" fmla="*/ 40 w 116"/>
                      <a:gd name="T15" fmla="*/ 8 h 108"/>
                      <a:gd name="T16" fmla="*/ 24 w 116"/>
                      <a:gd name="T17" fmla="*/ 12 h 108"/>
                      <a:gd name="T18" fmla="*/ 16 w 116"/>
                      <a:gd name="T19" fmla="*/ 16 h 108"/>
                      <a:gd name="T20" fmla="*/ 0 w 116"/>
                      <a:gd name="T21" fmla="*/ 52 h 108"/>
                      <a:gd name="T22" fmla="*/ 6 w 116"/>
                      <a:gd name="T23" fmla="*/ 88 h 108"/>
                      <a:gd name="T24" fmla="*/ 26 w 116"/>
                      <a:gd name="T25" fmla="*/ 38 h 108"/>
                      <a:gd name="T26" fmla="*/ 64 w 116"/>
                      <a:gd name="T27" fmla="*/ 40 h 108"/>
                      <a:gd name="T28" fmla="*/ 90 w 116"/>
                      <a:gd name="T29" fmla="*/ 60 h 108"/>
                      <a:gd name="T30" fmla="*/ 98 w 116"/>
                      <a:gd name="T31" fmla="*/ 72 h 108"/>
                      <a:gd name="T32" fmla="*/ 102 w 116"/>
                      <a:gd name="T33" fmla="*/ 84 h 108"/>
                      <a:gd name="T34" fmla="*/ 102 w 116"/>
                      <a:gd name="T35" fmla="*/ 108 h 1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6"/>
                      <a:gd name="T55" fmla="*/ 0 h 108"/>
                      <a:gd name="T56" fmla="*/ 116 w 116"/>
                      <a:gd name="T57" fmla="*/ 108 h 1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6" h="108">
                        <a:moveTo>
                          <a:pt x="102" y="108"/>
                        </a:moveTo>
                        <a:cubicBezTo>
                          <a:pt x="104" y="103"/>
                          <a:pt x="108" y="99"/>
                          <a:pt x="110" y="94"/>
                        </a:cubicBezTo>
                        <a:cubicBezTo>
                          <a:pt x="113" y="88"/>
                          <a:pt x="116" y="76"/>
                          <a:pt x="116" y="76"/>
                        </a:cubicBezTo>
                        <a:cubicBezTo>
                          <a:pt x="111" y="62"/>
                          <a:pt x="116" y="44"/>
                          <a:pt x="104" y="36"/>
                        </a:cubicBezTo>
                        <a:cubicBezTo>
                          <a:pt x="98" y="24"/>
                          <a:pt x="89" y="13"/>
                          <a:pt x="76" y="8"/>
                        </a:cubicBezTo>
                        <a:cubicBezTo>
                          <a:pt x="68" y="5"/>
                          <a:pt x="52" y="0"/>
                          <a:pt x="52" y="0"/>
                        </a:cubicBezTo>
                        <a:cubicBezTo>
                          <a:pt x="50" y="1"/>
                          <a:pt x="48" y="1"/>
                          <a:pt x="46" y="2"/>
                        </a:cubicBezTo>
                        <a:cubicBezTo>
                          <a:pt x="44" y="4"/>
                          <a:pt x="43" y="7"/>
                          <a:pt x="40" y="8"/>
                        </a:cubicBezTo>
                        <a:cubicBezTo>
                          <a:pt x="35" y="10"/>
                          <a:pt x="29" y="10"/>
                          <a:pt x="24" y="12"/>
                        </a:cubicBezTo>
                        <a:cubicBezTo>
                          <a:pt x="21" y="13"/>
                          <a:pt x="19" y="15"/>
                          <a:pt x="16" y="16"/>
                        </a:cubicBezTo>
                        <a:cubicBezTo>
                          <a:pt x="10" y="28"/>
                          <a:pt x="4" y="40"/>
                          <a:pt x="0" y="52"/>
                        </a:cubicBezTo>
                        <a:cubicBezTo>
                          <a:pt x="2" y="64"/>
                          <a:pt x="2" y="76"/>
                          <a:pt x="6" y="88"/>
                        </a:cubicBezTo>
                        <a:cubicBezTo>
                          <a:pt x="12" y="69"/>
                          <a:pt x="4" y="45"/>
                          <a:pt x="26" y="38"/>
                        </a:cubicBezTo>
                        <a:cubicBezTo>
                          <a:pt x="46" y="45"/>
                          <a:pt x="34" y="42"/>
                          <a:pt x="64" y="40"/>
                        </a:cubicBezTo>
                        <a:cubicBezTo>
                          <a:pt x="85" y="30"/>
                          <a:pt x="77" y="51"/>
                          <a:pt x="90" y="60"/>
                        </a:cubicBezTo>
                        <a:cubicBezTo>
                          <a:pt x="97" y="80"/>
                          <a:pt x="86" y="50"/>
                          <a:pt x="98" y="72"/>
                        </a:cubicBezTo>
                        <a:cubicBezTo>
                          <a:pt x="100" y="76"/>
                          <a:pt x="102" y="84"/>
                          <a:pt x="102" y="84"/>
                        </a:cubicBezTo>
                        <a:cubicBezTo>
                          <a:pt x="100" y="93"/>
                          <a:pt x="102" y="99"/>
                          <a:pt x="102" y="108"/>
                        </a:cubicBezTo>
                        <a:close/>
                      </a:path>
                    </a:pathLst>
                  </a:custGeom>
                  <a:solidFill>
                    <a:srgbClr val="76624E"/>
                  </a:solidFill>
                  <a:ln w="12700">
                    <a:noFill/>
                    <a:round/>
                    <a:headEnd/>
                    <a:tailEnd/>
                  </a:ln>
                </p:spPr>
                <p:txBody>
                  <a:bodyPr lIns="45720" tIns="46800" rIns="45720" bIns="46800" anchor="ctr"/>
                  <a:lstStyle/>
                  <a:p>
                    <a:pPr defTabSz="912546"/>
                    <a:endParaRPr>
                      <a:solidFill>
                        <a:srgbClr val="000000"/>
                      </a:solidFill>
                    </a:endParaRPr>
                  </a:p>
                </p:txBody>
              </p:sp>
              <p:sp>
                <p:nvSpPr>
                  <p:cNvPr id="442040" name="Freeform 384"/>
                  <p:cNvSpPr>
                    <a:spLocks/>
                  </p:cNvSpPr>
                  <p:nvPr/>
                </p:nvSpPr>
                <p:spPr bwMode="gray">
                  <a:xfrm>
                    <a:off x="3569" y="1436"/>
                    <a:ext cx="87" cy="90"/>
                  </a:xfrm>
                  <a:custGeom>
                    <a:avLst/>
                    <a:gdLst>
                      <a:gd name="T0" fmla="*/ 51 w 87"/>
                      <a:gd name="T1" fmla="*/ 0 h 90"/>
                      <a:gd name="T2" fmla="*/ 63 w 87"/>
                      <a:gd name="T3" fmla="*/ 32 h 90"/>
                      <a:gd name="T4" fmla="*/ 77 w 87"/>
                      <a:gd name="T5" fmla="*/ 66 h 90"/>
                      <a:gd name="T6" fmla="*/ 33 w 87"/>
                      <a:gd name="T7" fmla="*/ 86 h 90"/>
                      <a:gd name="T8" fmla="*/ 11 w 87"/>
                      <a:gd name="T9" fmla="*/ 88 h 90"/>
                      <a:gd name="T10" fmla="*/ 3 w 87"/>
                      <a:gd name="T11" fmla="*/ 90 h 90"/>
                      <a:gd name="T12" fmla="*/ 69 w 87"/>
                      <a:gd name="T13" fmla="*/ 88 h 90"/>
                      <a:gd name="T14" fmla="*/ 87 w 87"/>
                      <a:gd name="T15" fmla="*/ 80 h 90"/>
                      <a:gd name="T16" fmla="*/ 75 w 87"/>
                      <a:gd name="T17" fmla="*/ 56 h 90"/>
                      <a:gd name="T18" fmla="*/ 51 w 87"/>
                      <a:gd name="T19" fmla="*/ 0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90"/>
                      <a:gd name="T32" fmla="*/ 87 w 87"/>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90">
                        <a:moveTo>
                          <a:pt x="51" y="0"/>
                        </a:moveTo>
                        <a:cubicBezTo>
                          <a:pt x="58" y="10"/>
                          <a:pt x="59" y="21"/>
                          <a:pt x="63" y="32"/>
                        </a:cubicBezTo>
                        <a:cubicBezTo>
                          <a:pt x="64" y="43"/>
                          <a:pt x="64" y="62"/>
                          <a:pt x="77" y="66"/>
                        </a:cubicBezTo>
                        <a:cubicBezTo>
                          <a:pt x="58" y="85"/>
                          <a:pt x="73" y="83"/>
                          <a:pt x="33" y="86"/>
                        </a:cubicBezTo>
                        <a:cubicBezTo>
                          <a:pt x="17" y="83"/>
                          <a:pt x="21" y="81"/>
                          <a:pt x="11" y="88"/>
                        </a:cubicBezTo>
                        <a:cubicBezTo>
                          <a:pt x="9" y="90"/>
                          <a:pt x="0" y="90"/>
                          <a:pt x="3" y="90"/>
                        </a:cubicBezTo>
                        <a:cubicBezTo>
                          <a:pt x="25" y="90"/>
                          <a:pt x="47" y="89"/>
                          <a:pt x="69" y="88"/>
                        </a:cubicBezTo>
                        <a:cubicBezTo>
                          <a:pt x="76" y="86"/>
                          <a:pt x="80" y="82"/>
                          <a:pt x="87" y="80"/>
                        </a:cubicBezTo>
                        <a:cubicBezTo>
                          <a:pt x="85" y="69"/>
                          <a:pt x="83" y="64"/>
                          <a:pt x="75" y="56"/>
                        </a:cubicBezTo>
                        <a:cubicBezTo>
                          <a:pt x="72" y="35"/>
                          <a:pt x="51" y="12"/>
                          <a:pt x="51" y="0"/>
                        </a:cubicBezTo>
                        <a:close/>
                      </a:path>
                    </a:pathLst>
                  </a:custGeom>
                  <a:solidFill>
                    <a:srgbClr val="8CC7E8"/>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8" name="Group 385"/>
                <p:cNvGrpSpPr>
                  <a:grpSpLocks/>
                </p:cNvGrpSpPr>
                <p:nvPr/>
              </p:nvGrpSpPr>
              <p:grpSpPr bwMode="gray">
                <a:xfrm flipH="1">
                  <a:off x="4176" y="2599"/>
                  <a:ext cx="172" cy="406"/>
                  <a:chOff x="469" y="791"/>
                  <a:chExt cx="144" cy="353"/>
                </a:xfrm>
              </p:grpSpPr>
              <p:sp>
                <p:nvSpPr>
                  <p:cNvPr id="442012" name="Freeform 386"/>
                  <p:cNvSpPr>
                    <a:spLocks/>
                  </p:cNvSpPr>
                  <p:nvPr/>
                </p:nvSpPr>
                <p:spPr bwMode="gray">
                  <a:xfrm>
                    <a:off x="469" y="1080"/>
                    <a:ext cx="144" cy="64"/>
                  </a:xfrm>
                  <a:custGeom>
                    <a:avLst/>
                    <a:gdLst>
                      <a:gd name="T0" fmla="*/ 1575 w 116"/>
                      <a:gd name="T1" fmla="*/ 1047 h 44"/>
                      <a:gd name="T2" fmla="*/ 843 w 116"/>
                      <a:gd name="T3" fmla="*/ 0 h 44"/>
                      <a:gd name="T4" fmla="*/ 184 w 116"/>
                      <a:gd name="T5" fmla="*/ 1523 h 44"/>
                      <a:gd name="T6" fmla="*/ 259 w 116"/>
                      <a:gd name="T7" fmla="*/ 3148 h 44"/>
                      <a:gd name="T8" fmla="*/ 50 w 116"/>
                      <a:gd name="T9" fmla="*/ 3705 h 44"/>
                      <a:gd name="T10" fmla="*/ 395 w 116"/>
                      <a:gd name="T11" fmla="*/ 5724 h 44"/>
                      <a:gd name="T12" fmla="*/ 1712 w 116"/>
                      <a:gd name="T13" fmla="*/ 4185 h 44"/>
                      <a:gd name="T14" fmla="*/ 1917 w 116"/>
                      <a:gd name="T15" fmla="*/ 3705 h 44"/>
                      <a:gd name="T16" fmla="*/ 1575 w 116"/>
                      <a:gd name="T17" fmla="*/ 1047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6"/>
                      <a:gd name="T28" fmla="*/ 0 h 44"/>
                      <a:gd name="T29" fmla="*/ 116 w 116"/>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6" h="44">
                        <a:moveTo>
                          <a:pt x="95" y="8"/>
                        </a:moveTo>
                        <a:cubicBezTo>
                          <a:pt x="80" y="6"/>
                          <a:pt x="66" y="0"/>
                          <a:pt x="51" y="0"/>
                        </a:cubicBezTo>
                        <a:cubicBezTo>
                          <a:pt x="37" y="0"/>
                          <a:pt x="11" y="12"/>
                          <a:pt x="11" y="12"/>
                        </a:cubicBezTo>
                        <a:cubicBezTo>
                          <a:pt x="12" y="16"/>
                          <a:pt x="17" y="20"/>
                          <a:pt x="15" y="24"/>
                        </a:cubicBezTo>
                        <a:cubicBezTo>
                          <a:pt x="13" y="28"/>
                          <a:pt x="4" y="24"/>
                          <a:pt x="3" y="28"/>
                        </a:cubicBezTo>
                        <a:cubicBezTo>
                          <a:pt x="0" y="39"/>
                          <a:pt x="18" y="42"/>
                          <a:pt x="23" y="44"/>
                        </a:cubicBezTo>
                        <a:cubicBezTo>
                          <a:pt x="53" y="36"/>
                          <a:pt x="66" y="35"/>
                          <a:pt x="103" y="32"/>
                        </a:cubicBezTo>
                        <a:cubicBezTo>
                          <a:pt x="107" y="31"/>
                          <a:pt x="113" y="32"/>
                          <a:pt x="115" y="28"/>
                        </a:cubicBezTo>
                        <a:cubicBezTo>
                          <a:pt x="116" y="26"/>
                          <a:pt x="111" y="0"/>
                          <a:pt x="95" y="8"/>
                        </a:cubicBezTo>
                        <a:close/>
                      </a:path>
                    </a:pathLst>
                  </a:custGeom>
                  <a:noFill/>
                  <a:ln w="9525">
                    <a:noFill/>
                    <a:round/>
                    <a:headEnd/>
                    <a:tailEnd/>
                  </a:ln>
                </p:spPr>
                <p:txBody>
                  <a:bodyPr lIns="0" tIns="0" rIns="0" bIns="0" anchor="ctr"/>
                  <a:lstStyle/>
                  <a:p>
                    <a:pPr defTabSz="912546"/>
                    <a:endParaRPr>
                      <a:solidFill>
                        <a:srgbClr val="000000"/>
                      </a:solidFill>
                    </a:endParaRPr>
                  </a:p>
                </p:txBody>
              </p:sp>
              <p:grpSp>
                <p:nvGrpSpPr>
                  <p:cNvPr id="29" name="Group 387"/>
                  <p:cNvGrpSpPr>
                    <a:grpSpLocks/>
                  </p:cNvGrpSpPr>
                  <p:nvPr/>
                </p:nvGrpSpPr>
                <p:grpSpPr bwMode="gray">
                  <a:xfrm>
                    <a:off x="471" y="791"/>
                    <a:ext cx="119" cy="349"/>
                    <a:chOff x="471" y="791"/>
                    <a:chExt cx="119" cy="349"/>
                  </a:xfrm>
                </p:grpSpPr>
                <p:sp>
                  <p:nvSpPr>
                    <p:cNvPr id="442014" name="Freeform 388"/>
                    <p:cNvSpPr>
                      <a:spLocks/>
                    </p:cNvSpPr>
                    <p:nvPr/>
                  </p:nvSpPr>
                  <p:spPr bwMode="gray">
                    <a:xfrm>
                      <a:off x="516" y="1088"/>
                      <a:ext cx="56" cy="52"/>
                    </a:xfrm>
                    <a:custGeom>
                      <a:avLst/>
                      <a:gdLst>
                        <a:gd name="T0" fmla="*/ 47 w 56"/>
                        <a:gd name="T1" fmla="*/ 7 h 52"/>
                        <a:gd name="T2" fmla="*/ 56 w 56"/>
                        <a:gd name="T3" fmla="*/ 25 h 52"/>
                        <a:gd name="T4" fmla="*/ 47 w 56"/>
                        <a:gd name="T5" fmla="*/ 37 h 52"/>
                        <a:gd name="T6" fmla="*/ 33 w 56"/>
                        <a:gd name="T7" fmla="*/ 46 h 52"/>
                        <a:gd name="T8" fmla="*/ 33 w 56"/>
                        <a:gd name="T9" fmla="*/ 28 h 52"/>
                        <a:gd name="T10" fmla="*/ 27 w 56"/>
                        <a:gd name="T11" fmla="*/ 7 h 52"/>
                        <a:gd name="T12" fmla="*/ 21 w 56"/>
                        <a:gd name="T13" fmla="*/ 22 h 52"/>
                        <a:gd name="T14" fmla="*/ 26 w 56"/>
                        <a:gd name="T15" fmla="*/ 46 h 52"/>
                        <a:gd name="T16" fmla="*/ 8 w 56"/>
                        <a:gd name="T17" fmla="*/ 46 h 52"/>
                        <a:gd name="T18" fmla="*/ 3 w 56"/>
                        <a:gd name="T19" fmla="*/ 30 h 52"/>
                        <a:gd name="T20" fmla="*/ 11 w 56"/>
                        <a:gd name="T21" fmla="*/ 16 h 52"/>
                        <a:gd name="T22" fmla="*/ 32 w 56"/>
                        <a:gd name="T23" fmla="*/ 0 h 52"/>
                        <a:gd name="T24" fmla="*/ 47 w 56"/>
                        <a:gd name="T25" fmla="*/ 7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2"/>
                        <a:gd name="T41" fmla="*/ 56 w 56"/>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2">
                          <a:moveTo>
                            <a:pt x="47" y="7"/>
                          </a:moveTo>
                          <a:cubicBezTo>
                            <a:pt x="48" y="13"/>
                            <a:pt x="52" y="20"/>
                            <a:pt x="56" y="25"/>
                          </a:cubicBezTo>
                          <a:cubicBezTo>
                            <a:pt x="49" y="29"/>
                            <a:pt x="53" y="32"/>
                            <a:pt x="47" y="37"/>
                          </a:cubicBezTo>
                          <a:cubicBezTo>
                            <a:pt x="43" y="40"/>
                            <a:pt x="37" y="43"/>
                            <a:pt x="33" y="46"/>
                          </a:cubicBezTo>
                          <a:cubicBezTo>
                            <a:pt x="16" y="44"/>
                            <a:pt x="24" y="35"/>
                            <a:pt x="33" y="28"/>
                          </a:cubicBezTo>
                          <a:cubicBezTo>
                            <a:pt x="37" y="21"/>
                            <a:pt x="34" y="11"/>
                            <a:pt x="27" y="7"/>
                          </a:cubicBezTo>
                          <a:cubicBezTo>
                            <a:pt x="24" y="12"/>
                            <a:pt x="24" y="17"/>
                            <a:pt x="21" y="22"/>
                          </a:cubicBezTo>
                          <a:cubicBezTo>
                            <a:pt x="22" y="31"/>
                            <a:pt x="22" y="38"/>
                            <a:pt x="26" y="46"/>
                          </a:cubicBezTo>
                          <a:cubicBezTo>
                            <a:pt x="18" y="51"/>
                            <a:pt x="16" y="52"/>
                            <a:pt x="8" y="46"/>
                          </a:cubicBezTo>
                          <a:cubicBezTo>
                            <a:pt x="5" y="41"/>
                            <a:pt x="6" y="35"/>
                            <a:pt x="3" y="30"/>
                          </a:cubicBezTo>
                          <a:cubicBezTo>
                            <a:pt x="1" y="20"/>
                            <a:pt x="0" y="20"/>
                            <a:pt x="11" y="16"/>
                          </a:cubicBezTo>
                          <a:cubicBezTo>
                            <a:pt x="19" y="10"/>
                            <a:pt x="22" y="2"/>
                            <a:pt x="32" y="0"/>
                          </a:cubicBezTo>
                          <a:cubicBezTo>
                            <a:pt x="36" y="5"/>
                            <a:pt x="41" y="13"/>
                            <a:pt x="47" y="7"/>
                          </a:cubicBezTo>
                          <a:close/>
                        </a:path>
                      </a:pathLst>
                    </a:custGeom>
                    <a:solidFill>
                      <a:srgbClr val="4B301B"/>
                    </a:solidFill>
                    <a:ln w="9525">
                      <a:noFill/>
                      <a:round/>
                      <a:headEnd/>
                      <a:tailEnd/>
                    </a:ln>
                  </p:spPr>
                  <p:txBody>
                    <a:bodyPr lIns="0" tIns="0" rIns="0" bIns="0" anchor="ctr"/>
                    <a:lstStyle/>
                    <a:p>
                      <a:pPr defTabSz="912546"/>
                      <a:endParaRPr>
                        <a:solidFill>
                          <a:srgbClr val="000000"/>
                        </a:solidFill>
                      </a:endParaRPr>
                    </a:p>
                  </p:txBody>
                </p:sp>
                <p:sp>
                  <p:nvSpPr>
                    <p:cNvPr id="442015" name="Freeform 389"/>
                    <p:cNvSpPr>
                      <a:spLocks/>
                    </p:cNvSpPr>
                    <p:nvPr/>
                  </p:nvSpPr>
                  <p:spPr bwMode="gray">
                    <a:xfrm>
                      <a:off x="471" y="833"/>
                      <a:ext cx="119" cy="286"/>
                    </a:xfrm>
                    <a:custGeom>
                      <a:avLst/>
                      <a:gdLst>
                        <a:gd name="T0" fmla="*/ 60 w 119"/>
                        <a:gd name="T1" fmla="*/ 7 h 286"/>
                        <a:gd name="T2" fmla="*/ 45 w 119"/>
                        <a:gd name="T3" fmla="*/ 13 h 286"/>
                        <a:gd name="T4" fmla="*/ 23 w 119"/>
                        <a:gd name="T5" fmla="*/ 16 h 286"/>
                        <a:gd name="T6" fmla="*/ 11 w 119"/>
                        <a:gd name="T7" fmla="*/ 31 h 286"/>
                        <a:gd name="T8" fmla="*/ 0 w 119"/>
                        <a:gd name="T9" fmla="*/ 91 h 286"/>
                        <a:gd name="T10" fmla="*/ 8 w 119"/>
                        <a:gd name="T11" fmla="*/ 109 h 286"/>
                        <a:gd name="T12" fmla="*/ 20 w 119"/>
                        <a:gd name="T13" fmla="*/ 141 h 286"/>
                        <a:gd name="T14" fmla="*/ 35 w 119"/>
                        <a:gd name="T15" fmla="*/ 192 h 286"/>
                        <a:gd name="T16" fmla="*/ 44 w 119"/>
                        <a:gd name="T17" fmla="*/ 220 h 286"/>
                        <a:gd name="T18" fmla="*/ 45 w 119"/>
                        <a:gd name="T19" fmla="*/ 276 h 286"/>
                        <a:gd name="T20" fmla="*/ 66 w 119"/>
                        <a:gd name="T21" fmla="*/ 282 h 286"/>
                        <a:gd name="T22" fmla="*/ 71 w 119"/>
                        <a:gd name="T23" fmla="*/ 265 h 286"/>
                        <a:gd name="T24" fmla="*/ 77 w 119"/>
                        <a:gd name="T25" fmla="*/ 279 h 286"/>
                        <a:gd name="T26" fmla="*/ 95 w 119"/>
                        <a:gd name="T27" fmla="*/ 276 h 286"/>
                        <a:gd name="T28" fmla="*/ 90 w 119"/>
                        <a:gd name="T29" fmla="*/ 255 h 286"/>
                        <a:gd name="T30" fmla="*/ 80 w 119"/>
                        <a:gd name="T31" fmla="*/ 226 h 286"/>
                        <a:gd name="T32" fmla="*/ 86 w 119"/>
                        <a:gd name="T33" fmla="*/ 211 h 286"/>
                        <a:gd name="T34" fmla="*/ 96 w 119"/>
                        <a:gd name="T35" fmla="*/ 174 h 286"/>
                        <a:gd name="T36" fmla="*/ 110 w 119"/>
                        <a:gd name="T37" fmla="*/ 141 h 286"/>
                        <a:gd name="T38" fmla="*/ 104 w 119"/>
                        <a:gd name="T39" fmla="*/ 91 h 286"/>
                        <a:gd name="T40" fmla="*/ 108 w 119"/>
                        <a:gd name="T41" fmla="*/ 72 h 286"/>
                        <a:gd name="T42" fmla="*/ 95 w 119"/>
                        <a:gd name="T43" fmla="*/ 27 h 286"/>
                        <a:gd name="T44" fmla="*/ 81 w 119"/>
                        <a:gd name="T45" fmla="*/ 19 h 286"/>
                        <a:gd name="T46" fmla="*/ 60 w 119"/>
                        <a:gd name="T47" fmla="*/ 7 h 28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9"/>
                        <a:gd name="T73" fmla="*/ 0 h 286"/>
                        <a:gd name="T74" fmla="*/ 119 w 119"/>
                        <a:gd name="T75" fmla="*/ 286 h 28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9" h="286">
                          <a:moveTo>
                            <a:pt x="60" y="7"/>
                          </a:moveTo>
                          <a:cubicBezTo>
                            <a:pt x="55" y="10"/>
                            <a:pt x="51" y="12"/>
                            <a:pt x="45" y="13"/>
                          </a:cubicBezTo>
                          <a:cubicBezTo>
                            <a:pt x="39" y="14"/>
                            <a:pt x="30" y="12"/>
                            <a:pt x="23" y="16"/>
                          </a:cubicBezTo>
                          <a:cubicBezTo>
                            <a:pt x="17" y="20"/>
                            <a:pt x="15" y="19"/>
                            <a:pt x="11" y="31"/>
                          </a:cubicBezTo>
                          <a:cubicBezTo>
                            <a:pt x="12" y="48"/>
                            <a:pt x="5" y="70"/>
                            <a:pt x="0" y="91"/>
                          </a:cubicBezTo>
                          <a:cubicBezTo>
                            <a:pt x="2" y="100"/>
                            <a:pt x="1" y="103"/>
                            <a:pt x="8" y="109"/>
                          </a:cubicBezTo>
                          <a:cubicBezTo>
                            <a:pt x="10" y="119"/>
                            <a:pt x="11" y="136"/>
                            <a:pt x="20" y="141"/>
                          </a:cubicBezTo>
                          <a:cubicBezTo>
                            <a:pt x="36" y="133"/>
                            <a:pt x="30" y="176"/>
                            <a:pt x="35" y="192"/>
                          </a:cubicBezTo>
                          <a:cubicBezTo>
                            <a:pt x="36" y="201"/>
                            <a:pt x="38" y="212"/>
                            <a:pt x="44" y="220"/>
                          </a:cubicBezTo>
                          <a:cubicBezTo>
                            <a:pt x="47" y="228"/>
                            <a:pt x="41" y="266"/>
                            <a:pt x="45" y="276"/>
                          </a:cubicBezTo>
                          <a:cubicBezTo>
                            <a:pt x="49" y="286"/>
                            <a:pt x="62" y="284"/>
                            <a:pt x="66" y="282"/>
                          </a:cubicBezTo>
                          <a:cubicBezTo>
                            <a:pt x="70" y="280"/>
                            <a:pt x="69" y="265"/>
                            <a:pt x="71" y="265"/>
                          </a:cubicBezTo>
                          <a:cubicBezTo>
                            <a:pt x="72" y="271"/>
                            <a:pt x="75" y="274"/>
                            <a:pt x="77" y="279"/>
                          </a:cubicBezTo>
                          <a:cubicBezTo>
                            <a:pt x="84" y="282"/>
                            <a:pt x="86" y="281"/>
                            <a:pt x="95" y="276"/>
                          </a:cubicBezTo>
                          <a:cubicBezTo>
                            <a:pt x="99" y="270"/>
                            <a:pt x="93" y="261"/>
                            <a:pt x="90" y="255"/>
                          </a:cubicBezTo>
                          <a:cubicBezTo>
                            <a:pt x="89" y="249"/>
                            <a:pt x="84" y="231"/>
                            <a:pt x="80" y="226"/>
                          </a:cubicBezTo>
                          <a:cubicBezTo>
                            <a:pt x="80" y="222"/>
                            <a:pt x="81" y="223"/>
                            <a:pt x="86" y="211"/>
                          </a:cubicBezTo>
                          <a:cubicBezTo>
                            <a:pt x="88" y="200"/>
                            <a:pt x="92" y="186"/>
                            <a:pt x="96" y="174"/>
                          </a:cubicBezTo>
                          <a:cubicBezTo>
                            <a:pt x="102" y="153"/>
                            <a:pt x="101" y="158"/>
                            <a:pt x="110" y="141"/>
                          </a:cubicBezTo>
                          <a:cubicBezTo>
                            <a:pt x="106" y="124"/>
                            <a:pt x="106" y="108"/>
                            <a:pt x="104" y="91"/>
                          </a:cubicBezTo>
                          <a:cubicBezTo>
                            <a:pt x="105" y="84"/>
                            <a:pt x="107" y="79"/>
                            <a:pt x="108" y="72"/>
                          </a:cubicBezTo>
                          <a:cubicBezTo>
                            <a:pt x="107" y="40"/>
                            <a:pt x="119" y="30"/>
                            <a:pt x="95" y="27"/>
                          </a:cubicBezTo>
                          <a:cubicBezTo>
                            <a:pt x="90" y="24"/>
                            <a:pt x="86" y="21"/>
                            <a:pt x="81" y="19"/>
                          </a:cubicBezTo>
                          <a:cubicBezTo>
                            <a:pt x="79" y="16"/>
                            <a:pt x="60" y="0"/>
                            <a:pt x="60" y="7"/>
                          </a:cubicBezTo>
                          <a:close/>
                        </a:path>
                      </a:pathLst>
                    </a:custGeom>
                    <a:solidFill>
                      <a:srgbClr val="03285F"/>
                    </a:solidFill>
                    <a:ln w="9525">
                      <a:noFill/>
                      <a:round/>
                      <a:headEnd/>
                      <a:tailEnd/>
                    </a:ln>
                  </p:spPr>
                  <p:txBody>
                    <a:bodyPr lIns="0" tIns="0" rIns="0" bIns="0" anchor="ctr"/>
                    <a:lstStyle/>
                    <a:p>
                      <a:pPr defTabSz="912546"/>
                      <a:endParaRPr>
                        <a:solidFill>
                          <a:srgbClr val="000000"/>
                        </a:solidFill>
                      </a:endParaRPr>
                    </a:p>
                  </p:txBody>
                </p:sp>
                <p:sp>
                  <p:nvSpPr>
                    <p:cNvPr id="442016" name="Freeform 390"/>
                    <p:cNvSpPr>
                      <a:spLocks/>
                    </p:cNvSpPr>
                    <p:nvPr/>
                  </p:nvSpPr>
                  <p:spPr bwMode="gray">
                    <a:xfrm>
                      <a:off x="520" y="794"/>
                      <a:ext cx="42" cy="67"/>
                    </a:xfrm>
                    <a:custGeom>
                      <a:avLst/>
                      <a:gdLst>
                        <a:gd name="T0" fmla="*/ 38 w 42"/>
                        <a:gd name="T1" fmla="*/ 31 h 67"/>
                        <a:gd name="T2" fmla="*/ 26 w 42"/>
                        <a:gd name="T3" fmla="*/ 3 h 67"/>
                        <a:gd name="T4" fmla="*/ 8 w 42"/>
                        <a:gd name="T5" fmla="*/ 4 h 67"/>
                        <a:gd name="T6" fmla="*/ 1 w 42"/>
                        <a:gd name="T7" fmla="*/ 19 h 67"/>
                        <a:gd name="T8" fmla="*/ 7 w 42"/>
                        <a:gd name="T9" fmla="*/ 46 h 67"/>
                        <a:gd name="T10" fmla="*/ 17 w 42"/>
                        <a:gd name="T11" fmla="*/ 55 h 67"/>
                        <a:gd name="T12" fmla="*/ 34 w 42"/>
                        <a:gd name="T13" fmla="*/ 51 h 67"/>
                        <a:gd name="T14" fmla="*/ 38 w 42"/>
                        <a:gd name="T15" fmla="*/ 31 h 67"/>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67"/>
                        <a:gd name="T26" fmla="*/ 42 w 42"/>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67">
                          <a:moveTo>
                            <a:pt x="38" y="31"/>
                          </a:moveTo>
                          <a:cubicBezTo>
                            <a:pt x="42" y="17"/>
                            <a:pt x="40" y="10"/>
                            <a:pt x="26" y="3"/>
                          </a:cubicBezTo>
                          <a:cubicBezTo>
                            <a:pt x="21" y="0"/>
                            <a:pt x="8" y="4"/>
                            <a:pt x="8" y="4"/>
                          </a:cubicBezTo>
                          <a:cubicBezTo>
                            <a:pt x="5" y="10"/>
                            <a:pt x="2" y="12"/>
                            <a:pt x="1" y="19"/>
                          </a:cubicBezTo>
                          <a:cubicBezTo>
                            <a:pt x="2" y="32"/>
                            <a:pt x="0" y="37"/>
                            <a:pt x="7" y="46"/>
                          </a:cubicBezTo>
                          <a:cubicBezTo>
                            <a:pt x="8" y="53"/>
                            <a:pt x="11" y="51"/>
                            <a:pt x="17" y="55"/>
                          </a:cubicBezTo>
                          <a:cubicBezTo>
                            <a:pt x="22" y="67"/>
                            <a:pt x="25" y="54"/>
                            <a:pt x="34" y="51"/>
                          </a:cubicBezTo>
                          <a:cubicBezTo>
                            <a:pt x="37" y="48"/>
                            <a:pt x="40" y="39"/>
                            <a:pt x="38" y="31"/>
                          </a:cubicBezTo>
                          <a:close/>
                        </a:path>
                      </a:pathLst>
                    </a:custGeom>
                    <a:solidFill>
                      <a:srgbClr val="734929"/>
                    </a:solidFill>
                    <a:ln w="9525">
                      <a:noFill/>
                      <a:round/>
                      <a:headEnd/>
                      <a:tailEnd/>
                    </a:ln>
                  </p:spPr>
                  <p:txBody>
                    <a:bodyPr lIns="0" tIns="0" rIns="0" bIns="0" anchor="ctr"/>
                    <a:lstStyle/>
                    <a:p>
                      <a:pPr defTabSz="912546"/>
                      <a:endParaRPr>
                        <a:solidFill>
                          <a:srgbClr val="000000"/>
                        </a:solidFill>
                      </a:endParaRPr>
                    </a:p>
                  </p:txBody>
                </p:sp>
                <p:sp>
                  <p:nvSpPr>
                    <p:cNvPr id="442017" name="Freeform 391"/>
                    <p:cNvSpPr>
                      <a:spLocks/>
                    </p:cNvSpPr>
                    <p:nvPr/>
                  </p:nvSpPr>
                  <p:spPr bwMode="gray">
                    <a:xfrm>
                      <a:off x="504" y="837"/>
                      <a:ext cx="56" cy="113"/>
                    </a:xfrm>
                    <a:custGeom>
                      <a:avLst/>
                      <a:gdLst>
                        <a:gd name="T0" fmla="*/ 29 w 56"/>
                        <a:gd name="T1" fmla="*/ 8 h 113"/>
                        <a:gd name="T2" fmla="*/ 21 w 56"/>
                        <a:gd name="T3" fmla="*/ 8 h 113"/>
                        <a:gd name="T4" fmla="*/ 23 w 56"/>
                        <a:gd name="T5" fmla="*/ 42 h 113"/>
                        <a:gd name="T6" fmla="*/ 33 w 56"/>
                        <a:gd name="T7" fmla="*/ 107 h 113"/>
                        <a:gd name="T8" fmla="*/ 53 w 56"/>
                        <a:gd name="T9" fmla="*/ 110 h 113"/>
                        <a:gd name="T10" fmla="*/ 54 w 56"/>
                        <a:gd name="T11" fmla="*/ 98 h 113"/>
                        <a:gd name="T12" fmla="*/ 48 w 56"/>
                        <a:gd name="T13" fmla="*/ 24 h 113"/>
                        <a:gd name="T14" fmla="*/ 38 w 56"/>
                        <a:gd name="T15" fmla="*/ 17 h 113"/>
                        <a:gd name="T16" fmla="*/ 29 w 56"/>
                        <a:gd name="T17" fmla="*/ 8 h 1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113"/>
                        <a:gd name="T29" fmla="*/ 56 w 56"/>
                        <a:gd name="T30" fmla="*/ 113 h 1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113">
                          <a:moveTo>
                            <a:pt x="29" y="8"/>
                          </a:moveTo>
                          <a:cubicBezTo>
                            <a:pt x="22" y="5"/>
                            <a:pt x="26" y="0"/>
                            <a:pt x="21" y="8"/>
                          </a:cubicBezTo>
                          <a:cubicBezTo>
                            <a:pt x="19" y="20"/>
                            <a:pt x="21" y="31"/>
                            <a:pt x="23" y="42"/>
                          </a:cubicBezTo>
                          <a:cubicBezTo>
                            <a:pt x="25" y="67"/>
                            <a:pt x="0" y="111"/>
                            <a:pt x="33" y="107"/>
                          </a:cubicBezTo>
                          <a:cubicBezTo>
                            <a:pt x="41" y="108"/>
                            <a:pt x="46" y="113"/>
                            <a:pt x="53" y="110"/>
                          </a:cubicBezTo>
                          <a:cubicBezTo>
                            <a:pt x="54" y="103"/>
                            <a:pt x="56" y="105"/>
                            <a:pt x="54" y="98"/>
                          </a:cubicBezTo>
                          <a:cubicBezTo>
                            <a:pt x="54" y="79"/>
                            <a:pt x="56" y="44"/>
                            <a:pt x="48" y="24"/>
                          </a:cubicBezTo>
                          <a:cubicBezTo>
                            <a:pt x="47" y="17"/>
                            <a:pt x="45" y="13"/>
                            <a:pt x="38" y="17"/>
                          </a:cubicBezTo>
                          <a:cubicBezTo>
                            <a:pt x="35" y="10"/>
                            <a:pt x="33" y="13"/>
                            <a:pt x="29" y="8"/>
                          </a:cubicBezTo>
                          <a:close/>
                        </a:path>
                      </a:pathLst>
                    </a:custGeom>
                    <a:solidFill>
                      <a:srgbClr val="EAEAEA"/>
                    </a:solidFill>
                    <a:ln w="9525">
                      <a:noFill/>
                      <a:round/>
                      <a:headEnd/>
                      <a:tailEnd/>
                    </a:ln>
                  </p:spPr>
                  <p:txBody>
                    <a:bodyPr lIns="0" tIns="0" rIns="0" bIns="0" anchor="ctr"/>
                    <a:lstStyle/>
                    <a:p>
                      <a:pPr defTabSz="912546"/>
                      <a:endParaRPr>
                        <a:solidFill>
                          <a:srgbClr val="000000"/>
                        </a:solidFill>
                      </a:endParaRPr>
                    </a:p>
                  </p:txBody>
                </p:sp>
                <p:sp>
                  <p:nvSpPr>
                    <p:cNvPr id="442018" name="Freeform 392" descr="Dark downward diagonal"/>
                    <p:cNvSpPr>
                      <a:spLocks/>
                    </p:cNvSpPr>
                    <p:nvPr/>
                  </p:nvSpPr>
                  <p:spPr bwMode="gray">
                    <a:xfrm>
                      <a:off x="527" y="850"/>
                      <a:ext cx="22" cy="101"/>
                    </a:xfrm>
                    <a:custGeom>
                      <a:avLst/>
                      <a:gdLst>
                        <a:gd name="T0" fmla="*/ 13 w 22"/>
                        <a:gd name="T1" fmla="*/ 3 h 101"/>
                        <a:gd name="T2" fmla="*/ 8 w 22"/>
                        <a:gd name="T3" fmla="*/ 41 h 101"/>
                        <a:gd name="T4" fmla="*/ 13 w 22"/>
                        <a:gd name="T5" fmla="*/ 96 h 101"/>
                        <a:gd name="T6" fmla="*/ 22 w 22"/>
                        <a:gd name="T7" fmla="*/ 90 h 101"/>
                        <a:gd name="T8" fmla="*/ 20 w 22"/>
                        <a:gd name="T9" fmla="*/ 36 h 101"/>
                        <a:gd name="T10" fmla="*/ 20 w 22"/>
                        <a:gd name="T11" fmla="*/ 6 h 101"/>
                        <a:gd name="T12" fmla="*/ 8 w 22"/>
                        <a:gd name="T13" fmla="*/ 8 h 101"/>
                        <a:gd name="T14" fmla="*/ 13 w 22"/>
                        <a:gd name="T15" fmla="*/ 3 h 101"/>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01"/>
                        <a:gd name="T26" fmla="*/ 22 w 22"/>
                        <a:gd name="T27" fmla="*/ 101 h 10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01">
                          <a:moveTo>
                            <a:pt x="13" y="3"/>
                          </a:moveTo>
                          <a:cubicBezTo>
                            <a:pt x="8" y="15"/>
                            <a:pt x="9" y="28"/>
                            <a:pt x="8" y="41"/>
                          </a:cubicBezTo>
                          <a:cubicBezTo>
                            <a:pt x="8" y="50"/>
                            <a:pt x="0" y="93"/>
                            <a:pt x="13" y="96"/>
                          </a:cubicBezTo>
                          <a:cubicBezTo>
                            <a:pt x="19" y="101"/>
                            <a:pt x="20" y="96"/>
                            <a:pt x="22" y="90"/>
                          </a:cubicBezTo>
                          <a:cubicBezTo>
                            <a:pt x="20" y="72"/>
                            <a:pt x="18" y="54"/>
                            <a:pt x="20" y="36"/>
                          </a:cubicBezTo>
                          <a:cubicBezTo>
                            <a:pt x="19" y="22"/>
                            <a:pt x="18" y="18"/>
                            <a:pt x="20" y="6"/>
                          </a:cubicBezTo>
                          <a:cubicBezTo>
                            <a:pt x="13" y="5"/>
                            <a:pt x="11" y="0"/>
                            <a:pt x="8" y="8"/>
                          </a:cubicBezTo>
                          <a:cubicBezTo>
                            <a:pt x="15" y="9"/>
                            <a:pt x="13" y="11"/>
                            <a:pt x="13" y="3"/>
                          </a:cubicBezTo>
                          <a:close/>
                        </a:path>
                      </a:pathLst>
                    </a:custGeom>
                    <a:pattFill prst="dkDnDiag">
                      <a:fgClr>
                        <a:srgbClr val="990033"/>
                      </a:fgClr>
                      <a:bgClr>
                        <a:srgbClr val="CE7154"/>
                      </a:bgClr>
                    </a:pattFill>
                    <a:ln w="9525">
                      <a:noFill/>
                      <a:round/>
                      <a:headEnd/>
                      <a:tailEnd/>
                    </a:ln>
                  </p:spPr>
                  <p:txBody>
                    <a:bodyPr lIns="0" tIns="0" rIns="0" bIns="0" anchor="ctr"/>
                    <a:lstStyle/>
                    <a:p>
                      <a:pPr defTabSz="912546"/>
                      <a:endParaRPr>
                        <a:solidFill>
                          <a:srgbClr val="000000"/>
                        </a:solidFill>
                      </a:endParaRPr>
                    </a:p>
                  </p:txBody>
                </p:sp>
                <p:sp>
                  <p:nvSpPr>
                    <p:cNvPr id="442019" name="Freeform 393"/>
                    <p:cNvSpPr>
                      <a:spLocks/>
                    </p:cNvSpPr>
                    <p:nvPr/>
                  </p:nvSpPr>
                  <p:spPr bwMode="gray">
                    <a:xfrm>
                      <a:off x="491" y="966"/>
                      <a:ext cx="14" cy="33"/>
                    </a:xfrm>
                    <a:custGeom>
                      <a:avLst/>
                      <a:gdLst>
                        <a:gd name="T0" fmla="*/ 9 w 14"/>
                        <a:gd name="T1" fmla="*/ 1 h 33"/>
                        <a:gd name="T2" fmla="*/ 0 w 14"/>
                        <a:gd name="T3" fmla="*/ 10 h 33"/>
                        <a:gd name="T4" fmla="*/ 10 w 14"/>
                        <a:gd name="T5" fmla="*/ 3 h 33"/>
                        <a:gd name="T6" fmla="*/ 9 w 14"/>
                        <a:gd name="T7" fmla="*/ 1 h 33"/>
                        <a:gd name="T8" fmla="*/ 0 60000 65536"/>
                        <a:gd name="T9" fmla="*/ 0 60000 65536"/>
                        <a:gd name="T10" fmla="*/ 0 60000 65536"/>
                        <a:gd name="T11" fmla="*/ 0 60000 65536"/>
                        <a:gd name="T12" fmla="*/ 0 w 14"/>
                        <a:gd name="T13" fmla="*/ 0 h 33"/>
                        <a:gd name="T14" fmla="*/ 14 w 14"/>
                        <a:gd name="T15" fmla="*/ 33 h 33"/>
                      </a:gdLst>
                      <a:ahLst/>
                      <a:cxnLst>
                        <a:cxn ang="T8">
                          <a:pos x="T0" y="T1"/>
                        </a:cxn>
                        <a:cxn ang="T9">
                          <a:pos x="T2" y="T3"/>
                        </a:cxn>
                        <a:cxn ang="T10">
                          <a:pos x="T4" y="T5"/>
                        </a:cxn>
                        <a:cxn ang="T11">
                          <a:pos x="T6" y="T7"/>
                        </a:cxn>
                      </a:cxnLst>
                      <a:rect l="T12" t="T13" r="T14" b="T15"/>
                      <a:pathLst>
                        <a:path w="14" h="33">
                          <a:moveTo>
                            <a:pt x="9" y="1"/>
                          </a:moveTo>
                          <a:cubicBezTo>
                            <a:pt x="13" y="33"/>
                            <a:pt x="14" y="20"/>
                            <a:pt x="0" y="10"/>
                          </a:cubicBezTo>
                          <a:cubicBezTo>
                            <a:pt x="2" y="0"/>
                            <a:pt x="3" y="3"/>
                            <a:pt x="10" y="3"/>
                          </a:cubicBezTo>
                          <a:cubicBezTo>
                            <a:pt x="11" y="3"/>
                            <a:pt x="9" y="2"/>
                            <a:pt x="9" y="1"/>
                          </a:cubicBezTo>
                          <a:close/>
                        </a:path>
                      </a:pathLst>
                    </a:custGeom>
                    <a:solidFill>
                      <a:srgbClr val="734929"/>
                    </a:solidFill>
                    <a:ln w="9525">
                      <a:noFill/>
                      <a:round/>
                      <a:headEnd/>
                      <a:tailEnd/>
                    </a:ln>
                  </p:spPr>
                  <p:txBody>
                    <a:bodyPr lIns="0" tIns="0" rIns="0" bIns="0" anchor="ctr"/>
                    <a:lstStyle/>
                    <a:p>
                      <a:pPr defTabSz="912546"/>
                      <a:endParaRPr>
                        <a:solidFill>
                          <a:srgbClr val="000000"/>
                        </a:solidFill>
                      </a:endParaRPr>
                    </a:p>
                  </p:txBody>
                </p:sp>
                <p:sp>
                  <p:nvSpPr>
                    <p:cNvPr id="442020" name="Freeform 394"/>
                    <p:cNvSpPr>
                      <a:spLocks/>
                    </p:cNvSpPr>
                    <p:nvPr/>
                  </p:nvSpPr>
                  <p:spPr bwMode="gray">
                    <a:xfrm>
                      <a:off x="518" y="791"/>
                      <a:ext cx="44" cy="38"/>
                    </a:xfrm>
                    <a:custGeom>
                      <a:avLst/>
                      <a:gdLst>
                        <a:gd name="T0" fmla="*/ 25 w 44"/>
                        <a:gd name="T1" fmla="*/ 12 h 38"/>
                        <a:gd name="T2" fmla="*/ 16 w 44"/>
                        <a:gd name="T3" fmla="*/ 25 h 38"/>
                        <a:gd name="T4" fmla="*/ 7 w 44"/>
                        <a:gd name="T5" fmla="*/ 33 h 38"/>
                        <a:gd name="T6" fmla="*/ 3 w 44"/>
                        <a:gd name="T7" fmla="*/ 21 h 38"/>
                        <a:gd name="T8" fmla="*/ 12 w 44"/>
                        <a:gd name="T9" fmla="*/ 6 h 38"/>
                        <a:gd name="T10" fmla="*/ 25 w 44"/>
                        <a:gd name="T11" fmla="*/ 9 h 38"/>
                        <a:gd name="T12" fmla="*/ 33 w 44"/>
                        <a:gd name="T13" fmla="*/ 7 h 38"/>
                        <a:gd name="T14" fmla="*/ 40 w 44"/>
                        <a:gd name="T15" fmla="*/ 21 h 38"/>
                        <a:gd name="T16" fmla="*/ 37 w 44"/>
                        <a:gd name="T17" fmla="*/ 16 h 38"/>
                        <a:gd name="T18" fmla="*/ 31 w 44"/>
                        <a:gd name="T19" fmla="*/ 15 h 38"/>
                        <a:gd name="T20" fmla="*/ 25 w 44"/>
                        <a:gd name="T21" fmla="*/ 12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38"/>
                        <a:gd name="T35" fmla="*/ 44 w 44"/>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38">
                          <a:moveTo>
                            <a:pt x="25" y="12"/>
                          </a:moveTo>
                          <a:cubicBezTo>
                            <a:pt x="17" y="22"/>
                            <a:pt x="20" y="18"/>
                            <a:pt x="16" y="25"/>
                          </a:cubicBezTo>
                          <a:cubicBezTo>
                            <a:pt x="14" y="38"/>
                            <a:pt x="14" y="22"/>
                            <a:pt x="7" y="33"/>
                          </a:cubicBezTo>
                          <a:cubicBezTo>
                            <a:pt x="2" y="29"/>
                            <a:pt x="0" y="27"/>
                            <a:pt x="3" y="21"/>
                          </a:cubicBezTo>
                          <a:cubicBezTo>
                            <a:pt x="4" y="14"/>
                            <a:pt x="5" y="7"/>
                            <a:pt x="12" y="6"/>
                          </a:cubicBezTo>
                          <a:cubicBezTo>
                            <a:pt x="18" y="3"/>
                            <a:pt x="20" y="5"/>
                            <a:pt x="25" y="9"/>
                          </a:cubicBezTo>
                          <a:cubicBezTo>
                            <a:pt x="23" y="0"/>
                            <a:pt x="27" y="6"/>
                            <a:pt x="33" y="7"/>
                          </a:cubicBezTo>
                          <a:cubicBezTo>
                            <a:pt x="34" y="8"/>
                            <a:pt x="44" y="19"/>
                            <a:pt x="40" y="21"/>
                          </a:cubicBezTo>
                          <a:cubicBezTo>
                            <a:pt x="38" y="22"/>
                            <a:pt x="39" y="17"/>
                            <a:pt x="37" y="16"/>
                          </a:cubicBezTo>
                          <a:cubicBezTo>
                            <a:pt x="35" y="15"/>
                            <a:pt x="33" y="15"/>
                            <a:pt x="31" y="15"/>
                          </a:cubicBezTo>
                          <a:cubicBezTo>
                            <a:pt x="29" y="12"/>
                            <a:pt x="23" y="0"/>
                            <a:pt x="25" y="12"/>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2021" name="Freeform 395"/>
                    <p:cNvSpPr>
                      <a:spLocks/>
                    </p:cNvSpPr>
                    <p:nvPr/>
                  </p:nvSpPr>
                  <p:spPr bwMode="gray">
                    <a:xfrm>
                      <a:off x="479" y="858"/>
                      <a:ext cx="31" cy="114"/>
                    </a:xfrm>
                    <a:custGeom>
                      <a:avLst/>
                      <a:gdLst>
                        <a:gd name="T0" fmla="*/ 19 w 31"/>
                        <a:gd name="T1" fmla="*/ 0 h 114"/>
                        <a:gd name="T2" fmla="*/ 24 w 31"/>
                        <a:gd name="T3" fmla="*/ 24 h 114"/>
                        <a:gd name="T4" fmla="*/ 21 w 31"/>
                        <a:gd name="T5" fmla="*/ 36 h 114"/>
                        <a:gd name="T6" fmla="*/ 7 w 31"/>
                        <a:gd name="T7" fmla="*/ 63 h 114"/>
                        <a:gd name="T8" fmla="*/ 12 w 31"/>
                        <a:gd name="T9" fmla="*/ 69 h 114"/>
                        <a:gd name="T10" fmla="*/ 21 w 31"/>
                        <a:gd name="T11" fmla="*/ 92 h 114"/>
                        <a:gd name="T12" fmla="*/ 22 w 31"/>
                        <a:gd name="T13" fmla="*/ 99 h 114"/>
                        <a:gd name="T14" fmla="*/ 21 w 31"/>
                        <a:gd name="T15" fmla="*/ 87 h 114"/>
                        <a:gd name="T16" fmla="*/ 19 w 31"/>
                        <a:gd name="T17" fmla="*/ 83 h 114"/>
                        <a:gd name="T18" fmla="*/ 21 w 31"/>
                        <a:gd name="T19" fmla="*/ 56 h 114"/>
                        <a:gd name="T20" fmla="*/ 27 w 31"/>
                        <a:gd name="T21" fmla="*/ 27 h 114"/>
                        <a:gd name="T22" fmla="*/ 27 w 31"/>
                        <a:gd name="T23" fmla="*/ 12 h 114"/>
                        <a:gd name="T24" fmla="*/ 31 w 31"/>
                        <a:gd name="T25" fmla="*/ 9 h 114"/>
                        <a:gd name="T26" fmla="*/ 27 w 31"/>
                        <a:gd name="T27" fmla="*/ 11 h 114"/>
                        <a:gd name="T28" fmla="*/ 19 w 31"/>
                        <a:gd name="T29" fmla="*/ 0 h 1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
                        <a:gd name="T46" fmla="*/ 0 h 114"/>
                        <a:gd name="T47" fmla="*/ 31 w 31"/>
                        <a:gd name="T48" fmla="*/ 114 h 1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 h="114">
                          <a:moveTo>
                            <a:pt x="19" y="0"/>
                          </a:moveTo>
                          <a:cubicBezTo>
                            <a:pt x="22" y="8"/>
                            <a:pt x="23" y="15"/>
                            <a:pt x="24" y="24"/>
                          </a:cubicBezTo>
                          <a:cubicBezTo>
                            <a:pt x="17" y="27"/>
                            <a:pt x="16" y="30"/>
                            <a:pt x="21" y="36"/>
                          </a:cubicBezTo>
                          <a:cubicBezTo>
                            <a:pt x="16" y="48"/>
                            <a:pt x="22" y="60"/>
                            <a:pt x="7" y="63"/>
                          </a:cubicBezTo>
                          <a:cubicBezTo>
                            <a:pt x="0" y="68"/>
                            <a:pt x="6" y="68"/>
                            <a:pt x="12" y="69"/>
                          </a:cubicBezTo>
                          <a:cubicBezTo>
                            <a:pt x="9" y="75"/>
                            <a:pt x="18" y="84"/>
                            <a:pt x="21" y="92"/>
                          </a:cubicBezTo>
                          <a:cubicBezTo>
                            <a:pt x="21" y="94"/>
                            <a:pt x="21" y="97"/>
                            <a:pt x="22" y="99"/>
                          </a:cubicBezTo>
                          <a:cubicBezTo>
                            <a:pt x="26" y="114"/>
                            <a:pt x="22" y="91"/>
                            <a:pt x="21" y="87"/>
                          </a:cubicBezTo>
                          <a:cubicBezTo>
                            <a:pt x="21" y="86"/>
                            <a:pt x="20" y="84"/>
                            <a:pt x="19" y="83"/>
                          </a:cubicBezTo>
                          <a:cubicBezTo>
                            <a:pt x="17" y="73"/>
                            <a:pt x="16" y="66"/>
                            <a:pt x="21" y="56"/>
                          </a:cubicBezTo>
                          <a:cubicBezTo>
                            <a:pt x="23" y="46"/>
                            <a:pt x="23" y="36"/>
                            <a:pt x="27" y="27"/>
                          </a:cubicBezTo>
                          <a:cubicBezTo>
                            <a:pt x="26" y="21"/>
                            <a:pt x="23" y="17"/>
                            <a:pt x="27" y="12"/>
                          </a:cubicBezTo>
                          <a:cubicBezTo>
                            <a:pt x="28" y="11"/>
                            <a:pt x="31" y="11"/>
                            <a:pt x="31" y="9"/>
                          </a:cubicBezTo>
                          <a:cubicBezTo>
                            <a:pt x="31" y="8"/>
                            <a:pt x="28" y="10"/>
                            <a:pt x="27" y="11"/>
                          </a:cubicBezTo>
                          <a:cubicBezTo>
                            <a:pt x="24" y="8"/>
                            <a:pt x="19" y="5"/>
                            <a:pt x="19" y="0"/>
                          </a:cubicBezTo>
                          <a:close/>
                        </a:path>
                      </a:pathLst>
                    </a:custGeom>
                    <a:solidFill>
                      <a:srgbClr val="001932"/>
                    </a:solidFill>
                    <a:ln w="9525">
                      <a:noFill/>
                      <a:round/>
                      <a:headEnd/>
                      <a:tailEnd/>
                    </a:ln>
                  </p:spPr>
                  <p:txBody>
                    <a:bodyPr lIns="0" tIns="0" rIns="0" bIns="0" anchor="ctr"/>
                    <a:lstStyle/>
                    <a:p>
                      <a:pPr defTabSz="912546"/>
                      <a:endParaRPr>
                        <a:solidFill>
                          <a:srgbClr val="000000"/>
                        </a:solidFill>
                      </a:endParaRPr>
                    </a:p>
                  </p:txBody>
                </p:sp>
                <p:sp>
                  <p:nvSpPr>
                    <p:cNvPr id="442022" name="Freeform 396"/>
                    <p:cNvSpPr>
                      <a:spLocks/>
                    </p:cNvSpPr>
                    <p:nvPr/>
                  </p:nvSpPr>
                  <p:spPr bwMode="gray">
                    <a:xfrm>
                      <a:off x="509" y="938"/>
                      <a:ext cx="63" cy="111"/>
                    </a:xfrm>
                    <a:custGeom>
                      <a:avLst/>
                      <a:gdLst>
                        <a:gd name="T0" fmla="*/ 13 w 63"/>
                        <a:gd name="T1" fmla="*/ 0 h 111"/>
                        <a:gd name="T2" fmla="*/ 7 w 63"/>
                        <a:gd name="T3" fmla="*/ 19 h 111"/>
                        <a:gd name="T4" fmla="*/ 9 w 63"/>
                        <a:gd name="T5" fmla="*/ 25 h 111"/>
                        <a:gd name="T6" fmla="*/ 21 w 63"/>
                        <a:gd name="T7" fmla="*/ 10 h 111"/>
                        <a:gd name="T8" fmla="*/ 36 w 63"/>
                        <a:gd name="T9" fmla="*/ 18 h 111"/>
                        <a:gd name="T10" fmla="*/ 22 w 63"/>
                        <a:gd name="T11" fmla="*/ 37 h 111"/>
                        <a:gd name="T12" fmla="*/ 28 w 63"/>
                        <a:gd name="T13" fmla="*/ 57 h 111"/>
                        <a:gd name="T14" fmla="*/ 34 w 63"/>
                        <a:gd name="T15" fmla="*/ 111 h 111"/>
                        <a:gd name="T16" fmla="*/ 33 w 63"/>
                        <a:gd name="T17" fmla="*/ 91 h 111"/>
                        <a:gd name="T18" fmla="*/ 43 w 63"/>
                        <a:gd name="T19" fmla="*/ 43 h 111"/>
                        <a:gd name="T20" fmla="*/ 46 w 63"/>
                        <a:gd name="T21" fmla="*/ 36 h 111"/>
                        <a:gd name="T22" fmla="*/ 40 w 63"/>
                        <a:gd name="T23" fmla="*/ 37 h 111"/>
                        <a:gd name="T24" fmla="*/ 46 w 63"/>
                        <a:gd name="T25" fmla="*/ 13 h 111"/>
                        <a:gd name="T26" fmla="*/ 51 w 63"/>
                        <a:gd name="T27" fmla="*/ 22 h 111"/>
                        <a:gd name="T28" fmla="*/ 52 w 63"/>
                        <a:gd name="T29" fmla="*/ 16 h 111"/>
                        <a:gd name="T30" fmla="*/ 51 w 63"/>
                        <a:gd name="T31" fmla="*/ 10 h 111"/>
                        <a:gd name="T32" fmla="*/ 42 w 63"/>
                        <a:gd name="T33" fmla="*/ 12 h 111"/>
                        <a:gd name="T34" fmla="*/ 19 w 63"/>
                        <a:gd name="T35" fmla="*/ 9 h 111"/>
                        <a:gd name="T36" fmla="*/ 13 w 63"/>
                        <a:gd name="T37" fmla="*/ 0 h 1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3"/>
                        <a:gd name="T58" fmla="*/ 0 h 111"/>
                        <a:gd name="T59" fmla="*/ 63 w 63"/>
                        <a:gd name="T60" fmla="*/ 111 h 1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3" h="111">
                          <a:moveTo>
                            <a:pt x="13" y="0"/>
                          </a:moveTo>
                          <a:cubicBezTo>
                            <a:pt x="12" y="6"/>
                            <a:pt x="10" y="13"/>
                            <a:pt x="7" y="19"/>
                          </a:cubicBezTo>
                          <a:cubicBezTo>
                            <a:pt x="6" y="26"/>
                            <a:pt x="0" y="31"/>
                            <a:pt x="9" y="25"/>
                          </a:cubicBezTo>
                          <a:cubicBezTo>
                            <a:pt x="14" y="18"/>
                            <a:pt x="12" y="13"/>
                            <a:pt x="21" y="10"/>
                          </a:cubicBezTo>
                          <a:cubicBezTo>
                            <a:pt x="28" y="12"/>
                            <a:pt x="33" y="11"/>
                            <a:pt x="36" y="18"/>
                          </a:cubicBezTo>
                          <a:cubicBezTo>
                            <a:pt x="29" y="31"/>
                            <a:pt x="43" y="35"/>
                            <a:pt x="22" y="37"/>
                          </a:cubicBezTo>
                          <a:cubicBezTo>
                            <a:pt x="33" y="43"/>
                            <a:pt x="31" y="44"/>
                            <a:pt x="28" y="57"/>
                          </a:cubicBezTo>
                          <a:cubicBezTo>
                            <a:pt x="27" y="78"/>
                            <a:pt x="30" y="91"/>
                            <a:pt x="34" y="111"/>
                          </a:cubicBezTo>
                          <a:cubicBezTo>
                            <a:pt x="37" y="104"/>
                            <a:pt x="34" y="99"/>
                            <a:pt x="33" y="91"/>
                          </a:cubicBezTo>
                          <a:cubicBezTo>
                            <a:pt x="34" y="79"/>
                            <a:pt x="31" y="52"/>
                            <a:pt x="43" y="43"/>
                          </a:cubicBezTo>
                          <a:cubicBezTo>
                            <a:pt x="46" y="37"/>
                            <a:pt x="63" y="32"/>
                            <a:pt x="46" y="36"/>
                          </a:cubicBezTo>
                          <a:cubicBezTo>
                            <a:pt x="44" y="36"/>
                            <a:pt x="42" y="37"/>
                            <a:pt x="40" y="37"/>
                          </a:cubicBezTo>
                          <a:cubicBezTo>
                            <a:pt x="38" y="28"/>
                            <a:pt x="37" y="18"/>
                            <a:pt x="46" y="13"/>
                          </a:cubicBezTo>
                          <a:cubicBezTo>
                            <a:pt x="47" y="18"/>
                            <a:pt x="47" y="33"/>
                            <a:pt x="51" y="22"/>
                          </a:cubicBezTo>
                          <a:cubicBezTo>
                            <a:pt x="60" y="37"/>
                            <a:pt x="55" y="24"/>
                            <a:pt x="52" y="16"/>
                          </a:cubicBezTo>
                          <a:cubicBezTo>
                            <a:pt x="52" y="14"/>
                            <a:pt x="53" y="11"/>
                            <a:pt x="51" y="10"/>
                          </a:cubicBezTo>
                          <a:cubicBezTo>
                            <a:pt x="48" y="9"/>
                            <a:pt x="45" y="12"/>
                            <a:pt x="42" y="12"/>
                          </a:cubicBezTo>
                          <a:cubicBezTo>
                            <a:pt x="34" y="12"/>
                            <a:pt x="27" y="10"/>
                            <a:pt x="19" y="9"/>
                          </a:cubicBezTo>
                          <a:cubicBezTo>
                            <a:pt x="13" y="6"/>
                            <a:pt x="15" y="8"/>
                            <a:pt x="13" y="0"/>
                          </a:cubicBezTo>
                          <a:close/>
                        </a:path>
                      </a:pathLst>
                    </a:custGeom>
                    <a:solidFill>
                      <a:srgbClr val="001932"/>
                    </a:solidFill>
                    <a:ln w="9525">
                      <a:noFill/>
                      <a:round/>
                      <a:headEnd/>
                      <a:tailEnd/>
                    </a:ln>
                  </p:spPr>
                  <p:txBody>
                    <a:bodyPr lIns="0" tIns="0" rIns="0" bIns="0" anchor="ctr"/>
                    <a:lstStyle/>
                    <a:p>
                      <a:pPr defTabSz="912546"/>
                      <a:endParaRPr>
                        <a:solidFill>
                          <a:srgbClr val="000000"/>
                        </a:solidFill>
                      </a:endParaRPr>
                    </a:p>
                  </p:txBody>
                </p:sp>
                <p:sp>
                  <p:nvSpPr>
                    <p:cNvPr id="442023" name="Freeform 397"/>
                    <p:cNvSpPr>
                      <a:spLocks/>
                    </p:cNvSpPr>
                    <p:nvPr/>
                  </p:nvSpPr>
                  <p:spPr bwMode="gray">
                    <a:xfrm>
                      <a:off x="524" y="1070"/>
                      <a:ext cx="16" cy="53"/>
                    </a:xfrm>
                    <a:custGeom>
                      <a:avLst/>
                      <a:gdLst>
                        <a:gd name="T0" fmla="*/ 0 w 16"/>
                        <a:gd name="T1" fmla="*/ 0 h 53"/>
                        <a:gd name="T2" fmla="*/ 15 w 16"/>
                        <a:gd name="T3" fmla="*/ 21 h 53"/>
                        <a:gd name="T4" fmla="*/ 13 w 16"/>
                        <a:gd name="T5" fmla="*/ 39 h 53"/>
                        <a:gd name="T6" fmla="*/ 10 w 16"/>
                        <a:gd name="T7" fmla="*/ 43 h 53"/>
                        <a:gd name="T8" fmla="*/ 0 w 16"/>
                        <a:gd name="T9" fmla="*/ 0 h 53"/>
                        <a:gd name="T10" fmla="*/ 0 60000 65536"/>
                        <a:gd name="T11" fmla="*/ 0 60000 65536"/>
                        <a:gd name="T12" fmla="*/ 0 60000 65536"/>
                        <a:gd name="T13" fmla="*/ 0 60000 65536"/>
                        <a:gd name="T14" fmla="*/ 0 60000 65536"/>
                        <a:gd name="T15" fmla="*/ 0 w 16"/>
                        <a:gd name="T16" fmla="*/ 0 h 53"/>
                        <a:gd name="T17" fmla="*/ 16 w 16"/>
                        <a:gd name="T18" fmla="*/ 53 h 53"/>
                      </a:gdLst>
                      <a:ahLst/>
                      <a:cxnLst>
                        <a:cxn ang="T10">
                          <a:pos x="T0" y="T1"/>
                        </a:cxn>
                        <a:cxn ang="T11">
                          <a:pos x="T2" y="T3"/>
                        </a:cxn>
                        <a:cxn ang="T12">
                          <a:pos x="T4" y="T5"/>
                        </a:cxn>
                        <a:cxn ang="T13">
                          <a:pos x="T6" y="T7"/>
                        </a:cxn>
                        <a:cxn ang="T14">
                          <a:pos x="T8" y="T9"/>
                        </a:cxn>
                      </a:cxnLst>
                      <a:rect l="T15" t="T16" r="T17" b="T18"/>
                      <a:pathLst>
                        <a:path w="16" h="53">
                          <a:moveTo>
                            <a:pt x="0" y="0"/>
                          </a:moveTo>
                          <a:cubicBezTo>
                            <a:pt x="7" y="5"/>
                            <a:pt x="10" y="13"/>
                            <a:pt x="15" y="21"/>
                          </a:cubicBezTo>
                          <a:cubicBezTo>
                            <a:pt x="16" y="28"/>
                            <a:pt x="15" y="32"/>
                            <a:pt x="13" y="39"/>
                          </a:cubicBezTo>
                          <a:cubicBezTo>
                            <a:pt x="12" y="48"/>
                            <a:pt x="2" y="53"/>
                            <a:pt x="10" y="43"/>
                          </a:cubicBezTo>
                          <a:cubicBezTo>
                            <a:pt x="14" y="23"/>
                            <a:pt x="6" y="17"/>
                            <a:pt x="0" y="0"/>
                          </a:cubicBezTo>
                          <a:close/>
                        </a:path>
                      </a:pathLst>
                    </a:custGeom>
                    <a:solidFill>
                      <a:srgbClr val="001932"/>
                    </a:solidFill>
                    <a:ln w="9525">
                      <a:noFill/>
                      <a:round/>
                      <a:headEnd/>
                      <a:tailEnd/>
                    </a:ln>
                  </p:spPr>
                  <p:txBody>
                    <a:bodyPr lIns="0" tIns="0" rIns="0" bIns="0" anchor="ctr"/>
                    <a:lstStyle/>
                    <a:p>
                      <a:pPr defTabSz="912546"/>
                      <a:endParaRPr>
                        <a:solidFill>
                          <a:srgbClr val="000000"/>
                        </a:solidFill>
                      </a:endParaRPr>
                    </a:p>
                  </p:txBody>
                </p:sp>
                <p:sp>
                  <p:nvSpPr>
                    <p:cNvPr id="442024" name="Freeform 398"/>
                    <p:cNvSpPr>
                      <a:spLocks/>
                    </p:cNvSpPr>
                    <p:nvPr/>
                  </p:nvSpPr>
                  <p:spPr bwMode="gray">
                    <a:xfrm>
                      <a:off x="536" y="818"/>
                      <a:ext cx="23" cy="10"/>
                    </a:xfrm>
                    <a:custGeom>
                      <a:avLst/>
                      <a:gdLst>
                        <a:gd name="T0" fmla="*/ 22 w 23"/>
                        <a:gd name="T1" fmla="*/ 1 h 10"/>
                        <a:gd name="T2" fmla="*/ 0 w 23"/>
                        <a:gd name="T3" fmla="*/ 9 h 10"/>
                        <a:gd name="T4" fmla="*/ 1 w 23"/>
                        <a:gd name="T5" fmla="*/ 3 h 10"/>
                        <a:gd name="T6" fmla="*/ 10 w 23"/>
                        <a:gd name="T7" fmla="*/ 4 h 10"/>
                        <a:gd name="T8" fmla="*/ 21 w 23"/>
                        <a:gd name="T9" fmla="*/ 7 h 10"/>
                        <a:gd name="T10" fmla="*/ 22 w 23"/>
                        <a:gd name="T11" fmla="*/ 1 h 10"/>
                        <a:gd name="T12" fmla="*/ 0 60000 65536"/>
                        <a:gd name="T13" fmla="*/ 0 60000 65536"/>
                        <a:gd name="T14" fmla="*/ 0 60000 65536"/>
                        <a:gd name="T15" fmla="*/ 0 60000 65536"/>
                        <a:gd name="T16" fmla="*/ 0 60000 65536"/>
                        <a:gd name="T17" fmla="*/ 0 60000 65536"/>
                        <a:gd name="T18" fmla="*/ 0 w 23"/>
                        <a:gd name="T19" fmla="*/ 0 h 10"/>
                        <a:gd name="T20" fmla="*/ 23 w 2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3" h="10">
                          <a:moveTo>
                            <a:pt x="22" y="1"/>
                          </a:moveTo>
                          <a:cubicBezTo>
                            <a:pt x="14" y="0"/>
                            <a:pt x="7" y="7"/>
                            <a:pt x="0" y="9"/>
                          </a:cubicBezTo>
                          <a:cubicBezTo>
                            <a:pt x="1" y="10"/>
                            <a:pt x="0" y="3"/>
                            <a:pt x="1" y="3"/>
                          </a:cubicBezTo>
                          <a:cubicBezTo>
                            <a:pt x="3" y="3"/>
                            <a:pt x="8" y="4"/>
                            <a:pt x="10" y="4"/>
                          </a:cubicBezTo>
                          <a:cubicBezTo>
                            <a:pt x="13" y="4"/>
                            <a:pt x="18" y="9"/>
                            <a:pt x="21" y="7"/>
                          </a:cubicBezTo>
                          <a:cubicBezTo>
                            <a:pt x="23" y="6"/>
                            <a:pt x="22" y="3"/>
                            <a:pt x="22" y="1"/>
                          </a:cubicBezTo>
                          <a:close/>
                        </a:path>
                      </a:pathLst>
                    </a:custGeom>
                    <a:solidFill>
                      <a:srgbClr val="4B301B"/>
                    </a:solidFill>
                    <a:ln w="9525">
                      <a:noFill/>
                      <a:round/>
                      <a:headEnd/>
                      <a:tailEnd/>
                    </a:ln>
                  </p:spPr>
                  <p:txBody>
                    <a:bodyPr lIns="0" tIns="0" rIns="0" bIns="0" anchor="ctr"/>
                    <a:lstStyle/>
                    <a:p>
                      <a:pPr defTabSz="912546"/>
                      <a:endParaRPr>
                        <a:solidFill>
                          <a:srgbClr val="000000"/>
                        </a:solidFill>
                      </a:endParaRPr>
                    </a:p>
                  </p:txBody>
                </p:sp>
              </p:grpSp>
            </p:grpSp>
          </p:grpSp>
        </p:grpSp>
      </p:grpSp>
      <p:grpSp>
        <p:nvGrpSpPr>
          <p:cNvPr id="30" name="Group 399"/>
          <p:cNvGrpSpPr>
            <a:grpSpLocks/>
          </p:cNvGrpSpPr>
          <p:nvPr/>
        </p:nvGrpSpPr>
        <p:grpSpPr bwMode="gray">
          <a:xfrm>
            <a:off x="1295401" y="4138227"/>
            <a:ext cx="1841500" cy="1489075"/>
            <a:chOff x="816" y="2526"/>
            <a:chExt cx="1160" cy="938"/>
          </a:xfrm>
        </p:grpSpPr>
        <p:grpSp>
          <p:nvGrpSpPr>
            <p:cNvPr id="31" name="Group 400"/>
            <p:cNvGrpSpPr>
              <a:grpSpLocks/>
            </p:cNvGrpSpPr>
            <p:nvPr/>
          </p:nvGrpSpPr>
          <p:grpSpPr bwMode="gray">
            <a:xfrm>
              <a:off x="816" y="2880"/>
              <a:ext cx="1160" cy="584"/>
              <a:chOff x="2688" y="3120"/>
              <a:chExt cx="962" cy="415"/>
            </a:xfrm>
          </p:grpSpPr>
          <p:grpSp>
            <p:nvGrpSpPr>
              <p:cNvPr id="442202" name="Group 401"/>
              <p:cNvGrpSpPr>
                <a:grpSpLocks/>
              </p:cNvGrpSpPr>
              <p:nvPr/>
            </p:nvGrpSpPr>
            <p:grpSpPr bwMode="gray">
              <a:xfrm>
                <a:off x="2688" y="3120"/>
                <a:ext cx="962" cy="415"/>
                <a:chOff x="2107" y="2248"/>
                <a:chExt cx="1020" cy="473"/>
              </a:xfrm>
            </p:grpSpPr>
            <p:sp>
              <p:nvSpPr>
                <p:cNvPr id="442002" name="Oval 402"/>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2003" name="Oval 403"/>
                <p:cNvSpPr>
                  <a:spLocks noChangeArrowheads="1"/>
                </p:cNvSpPr>
                <p:nvPr/>
              </p:nvSpPr>
              <p:spPr bwMode="gray">
                <a:xfrm>
                  <a:off x="2206" y="2276"/>
                  <a:ext cx="794" cy="331"/>
                </a:xfrm>
                <a:prstGeom prst="ellipse">
                  <a:avLst/>
                </a:prstGeom>
                <a:gradFill rotWithShape="1">
                  <a:gsLst>
                    <a:gs pos="0">
                      <a:srgbClr val="D08100"/>
                    </a:gs>
                    <a:gs pos="50000">
                      <a:srgbClr val="F09500"/>
                    </a:gs>
                    <a:gs pos="100000">
                      <a:srgbClr val="D08100"/>
                    </a:gs>
                  </a:gsLst>
                  <a:lin ang="0" scaled="1"/>
                </a:gradFill>
                <a:ln w="9525">
                  <a:noFill/>
                  <a:round/>
                  <a:headEnd/>
                  <a:tailEnd/>
                </a:ln>
              </p:spPr>
              <p:txBody>
                <a:bodyPr wrap="none" anchor="ctr"/>
                <a:lstStyle/>
                <a:p>
                  <a:pPr algn="ctr" defTabSz="912546"/>
                  <a:endParaRPr>
                    <a:solidFill>
                      <a:srgbClr val="000000"/>
                    </a:solidFill>
                  </a:endParaRPr>
                </a:p>
              </p:txBody>
            </p:sp>
            <p:sp>
              <p:nvSpPr>
                <p:cNvPr id="442004" name="Oval 404"/>
                <p:cNvSpPr>
                  <a:spLocks noChangeArrowheads="1"/>
                </p:cNvSpPr>
                <p:nvPr/>
              </p:nvSpPr>
              <p:spPr bwMode="gray">
                <a:xfrm>
                  <a:off x="2206" y="2248"/>
                  <a:ext cx="794" cy="331"/>
                </a:xfrm>
                <a:prstGeom prst="ellipse">
                  <a:avLst/>
                </a:prstGeom>
                <a:gradFill rotWithShape="1">
                  <a:gsLst>
                    <a:gs pos="0">
                      <a:srgbClr val="F09500"/>
                    </a:gs>
                    <a:gs pos="50000">
                      <a:srgbClr val="FFC127"/>
                    </a:gs>
                    <a:gs pos="100000">
                      <a:srgbClr val="F09500"/>
                    </a:gs>
                  </a:gsLst>
                  <a:lin ang="18900000" scaled="1"/>
                </a:gradFill>
                <a:ln w="9525">
                  <a:noFill/>
                  <a:round/>
                  <a:headEnd/>
                  <a:tailEnd/>
                </a:ln>
              </p:spPr>
              <p:txBody>
                <a:bodyPr wrap="none" anchor="ctr"/>
                <a:lstStyle/>
                <a:p>
                  <a:pPr algn="ctr" defTabSz="912546"/>
                  <a:endParaRPr>
                    <a:solidFill>
                      <a:srgbClr val="000000"/>
                    </a:solidFill>
                  </a:endParaRPr>
                </a:p>
              </p:txBody>
            </p:sp>
          </p:grpSp>
          <p:sp>
            <p:nvSpPr>
              <p:cNvPr id="442001" name="Text Box 405"/>
              <p:cNvSpPr txBox="1">
                <a:spLocks noChangeArrowheads="1"/>
              </p:cNvSpPr>
              <p:nvPr/>
            </p:nvSpPr>
            <p:spPr bwMode="gray">
              <a:xfrm>
                <a:off x="2874" y="3294"/>
                <a:ext cx="574" cy="95"/>
              </a:xfrm>
              <a:prstGeom prst="rect">
                <a:avLst/>
              </a:prstGeom>
              <a:noFill/>
              <a:ln w="9525" algn="ctr">
                <a:noFill/>
                <a:miter lim="800000"/>
                <a:headEnd/>
                <a:tailEnd type="none" w="sm" len="lg"/>
              </a:ln>
            </p:spPr>
            <p:txBody>
              <a:bodyPr wrap="none" lIns="90000" tIns="46800" rIns="90000" bIns="46800">
                <a:spAutoFit/>
              </a:bodyPr>
              <a:lstStyle/>
              <a:p>
                <a:pPr marL="243971" indent="-243971" algn="ctr" defTabSz="912546">
                  <a:lnSpc>
                    <a:spcPct val="85000"/>
                  </a:lnSpc>
                  <a:buClr>
                    <a:srgbClr val="F0AB00"/>
                  </a:buClr>
                  <a:buSzPct val="80000"/>
                </a:pPr>
                <a:r>
                  <a:rPr lang="en-US" sz="900" b="1" dirty="0">
                    <a:solidFill>
                      <a:srgbClr val="000000"/>
                    </a:solidFill>
                  </a:rPr>
                  <a:t>New Technology</a:t>
                </a:r>
              </a:p>
            </p:txBody>
          </p:sp>
        </p:grpSp>
        <p:grpSp>
          <p:nvGrpSpPr>
            <p:cNvPr id="442203" name="Group 406"/>
            <p:cNvGrpSpPr>
              <a:grpSpLocks/>
            </p:cNvGrpSpPr>
            <p:nvPr/>
          </p:nvGrpSpPr>
          <p:grpSpPr bwMode="gray">
            <a:xfrm>
              <a:off x="1104" y="2526"/>
              <a:ext cx="606" cy="624"/>
              <a:chOff x="1080" y="2514"/>
              <a:chExt cx="606" cy="624"/>
            </a:xfrm>
          </p:grpSpPr>
          <p:grpSp>
            <p:nvGrpSpPr>
              <p:cNvPr id="442204" name="Group 407"/>
              <p:cNvGrpSpPr>
                <a:grpSpLocks/>
              </p:cNvGrpSpPr>
              <p:nvPr/>
            </p:nvGrpSpPr>
            <p:grpSpPr bwMode="gray">
              <a:xfrm>
                <a:off x="1270" y="2514"/>
                <a:ext cx="110" cy="514"/>
                <a:chOff x="4451" y="1121"/>
                <a:chExt cx="112" cy="524"/>
              </a:xfrm>
            </p:grpSpPr>
            <p:sp>
              <p:nvSpPr>
                <p:cNvPr id="441998" name="Freeform 408"/>
                <p:cNvSpPr>
                  <a:spLocks/>
                </p:cNvSpPr>
                <p:nvPr/>
              </p:nvSpPr>
              <p:spPr bwMode="gray">
                <a:xfrm>
                  <a:off x="4451" y="1138"/>
                  <a:ext cx="112" cy="507"/>
                </a:xfrm>
                <a:custGeom>
                  <a:avLst/>
                  <a:gdLst>
                    <a:gd name="T0" fmla="*/ 1 w 112"/>
                    <a:gd name="T1" fmla="*/ 6 h 507"/>
                    <a:gd name="T2" fmla="*/ 0 w 112"/>
                    <a:gd name="T3" fmla="*/ 471 h 507"/>
                    <a:gd name="T4" fmla="*/ 112 w 112"/>
                    <a:gd name="T5" fmla="*/ 470 h 507"/>
                    <a:gd name="T6" fmla="*/ 111 w 112"/>
                    <a:gd name="T7" fmla="*/ 4 h 507"/>
                    <a:gd name="T8" fmla="*/ 1 w 112"/>
                    <a:gd name="T9" fmla="*/ 6 h 507"/>
                    <a:gd name="T10" fmla="*/ 0 60000 65536"/>
                    <a:gd name="T11" fmla="*/ 0 60000 65536"/>
                    <a:gd name="T12" fmla="*/ 0 60000 65536"/>
                    <a:gd name="T13" fmla="*/ 0 60000 65536"/>
                    <a:gd name="T14" fmla="*/ 0 60000 65536"/>
                    <a:gd name="T15" fmla="*/ 0 w 112"/>
                    <a:gd name="T16" fmla="*/ 0 h 507"/>
                    <a:gd name="T17" fmla="*/ 112 w 112"/>
                    <a:gd name="T18" fmla="*/ 507 h 507"/>
                  </a:gdLst>
                  <a:ahLst/>
                  <a:cxnLst>
                    <a:cxn ang="T10">
                      <a:pos x="T0" y="T1"/>
                    </a:cxn>
                    <a:cxn ang="T11">
                      <a:pos x="T2" y="T3"/>
                    </a:cxn>
                    <a:cxn ang="T12">
                      <a:pos x="T4" y="T5"/>
                    </a:cxn>
                    <a:cxn ang="T13">
                      <a:pos x="T6" y="T7"/>
                    </a:cxn>
                    <a:cxn ang="T14">
                      <a:pos x="T8" y="T9"/>
                    </a:cxn>
                  </a:cxnLst>
                  <a:rect l="T15" t="T16" r="T17" b="T18"/>
                  <a:pathLst>
                    <a:path w="112" h="507">
                      <a:moveTo>
                        <a:pt x="1" y="6"/>
                      </a:moveTo>
                      <a:cubicBezTo>
                        <a:pt x="1" y="13"/>
                        <a:pt x="0" y="465"/>
                        <a:pt x="0" y="471"/>
                      </a:cubicBezTo>
                      <a:cubicBezTo>
                        <a:pt x="4" y="505"/>
                        <a:pt x="108" y="507"/>
                        <a:pt x="112" y="470"/>
                      </a:cubicBezTo>
                      <a:cubicBezTo>
                        <a:pt x="112" y="464"/>
                        <a:pt x="111" y="12"/>
                        <a:pt x="111" y="4"/>
                      </a:cubicBezTo>
                      <a:cubicBezTo>
                        <a:pt x="92" y="0"/>
                        <a:pt x="20" y="2"/>
                        <a:pt x="1" y="6"/>
                      </a:cubicBezTo>
                      <a:close/>
                    </a:path>
                  </a:pathLst>
                </a:custGeom>
                <a:gradFill rotWithShape="1">
                  <a:gsLst>
                    <a:gs pos="0">
                      <a:srgbClr val="9E6D3F"/>
                    </a:gs>
                    <a:gs pos="50000">
                      <a:srgbClr val="EFA45F"/>
                    </a:gs>
                    <a:gs pos="100000">
                      <a:srgbClr val="9E6D3F"/>
                    </a:gs>
                  </a:gsLst>
                  <a:lin ang="0" scaled="1"/>
                </a:gradFill>
                <a:ln w="12700">
                  <a:noFill/>
                  <a:round/>
                  <a:headEnd/>
                  <a:tailEnd/>
                </a:ln>
              </p:spPr>
              <p:txBody>
                <a:bodyPr lIns="90000" tIns="46800" rIns="90000" bIns="46800" anchor="ctr"/>
                <a:lstStyle/>
                <a:p>
                  <a:pPr defTabSz="912546"/>
                  <a:endParaRPr>
                    <a:solidFill>
                      <a:srgbClr val="000000"/>
                    </a:solidFill>
                  </a:endParaRPr>
                </a:p>
              </p:txBody>
            </p:sp>
            <p:sp>
              <p:nvSpPr>
                <p:cNvPr id="441999" name="Oval 409"/>
                <p:cNvSpPr>
                  <a:spLocks noChangeArrowheads="1"/>
                </p:cNvSpPr>
                <p:nvPr/>
              </p:nvSpPr>
              <p:spPr bwMode="gray">
                <a:xfrm>
                  <a:off x="4451" y="1121"/>
                  <a:ext cx="112" cy="51"/>
                </a:xfrm>
                <a:prstGeom prst="ellipse">
                  <a:avLst/>
                </a:prstGeom>
                <a:gradFill rotWithShape="1">
                  <a:gsLst>
                    <a:gs pos="0">
                      <a:srgbClr val="EFA45F"/>
                    </a:gs>
                    <a:gs pos="50000">
                      <a:srgbClr val="F5C599"/>
                    </a:gs>
                    <a:gs pos="100000">
                      <a:srgbClr val="EFA45F"/>
                    </a:gs>
                  </a:gsLst>
                  <a:lin ang="18900000" scaled="1"/>
                </a:gradFill>
                <a:ln w="12700" algn="ctr">
                  <a:noFill/>
                  <a:round/>
                  <a:headEnd/>
                  <a:tailEnd/>
                </a:ln>
              </p:spPr>
              <p:txBody>
                <a:bodyPr wrap="none" lIns="90000" tIns="46800" rIns="90000" bIns="46800" anchor="ctr"/>
                <a:lstStyle/>
                <a:p>
                  <a:pPr algn="ctr" defTabSz="912546"/>
                  <a:endParaRPr>
                    <a:solidFill>
                      <a:srgbClr val="000000"/>
                    </a:solidFill>
                  </a:endParaRPr>
                </a:p>
              </p:txBody>
            </p:sp>
          </p:grpSp>
          <p:grpSp>
            <p:nvGrpSpPr>
              <p:cNvPr id="442239" name="Group 410"/>
              <p:cNvGrpSpPr>
                <a:grpSpLocks/>
              </p:cNvGrpSpPr>
              <p:nvPr/>
            </p:nvGrpSpPr>
            <p:grpSpPr bwMode="gray">
              <a:xfrm>
                <a:off x="1374" y="2787"/>
                <a:ext cx="312" cy="257"/>
                <a:chOff x="2814" y="3780"/>
                <a:chExt cx="318" cy="262"/>
              </a:xfrm>
            </p:grpSpPr>
            <p:sp>
              <p:nvSpPr>
                <p:cNvPr id="441992" name="Freeform 411"/>
                <p:cNvSpPr>
                  <a:spLocks/>
                </p:cNvSpPr>
                <p:nvPr/>
              </p:nvSpPr>
              <p:spPr bwMode="gray">
                <a:xfrm>
                  <a:off x="2817" y="3780"/>
                  <a:ext cx="89" cy="235"/>
                </a:xfrm>
                <a:custGeom>
                  <a:avLst/>
                  <a:gdLst>
                    <a:gd name="T0" fmla="*/ 0 w 264"/>
                    <a:gd name="T1" fmla="*/ 0 h 678"/>
                    <a:gd name="T2" fmla="*/ 0 w 264"/>
                    <a:gd name="T3" fmla="*/ 0 h 678"/>
                    <a:gd name="T4" fmla="*/ 0 w 264"/>
                    <a:gd name="T5" fmla="*/ 0 h 678"/>
                    <a:gd name="T6" fmla="*/ 0 w 264"/>
                    <a:gd name="T7" fmla="*/ 0 h 678"/>
                    <a:gd name="T8" fmla="*/ 0 w 264"/>
                    <a:gd name="T9" fmla="*/ 0 h 678"/>
                    <a:gd name="T10" fmla="*/ 0 60000 65536"/>
                    <a:gd name="T11" fmla="*/ 0 60000 65536"/>
                    <a:gd name="T12" fmla="*/ 0 60000 65536"/>
                    <a:gd name="T13" fmla="*/ 0 60000 65536"/>
                    <a:gd name="T14" fmla="*/ 0 60000 65536"/>
                    <a:gd name="T15" fmla="*/ 0 w 264"/>
                    <a:gd name="T16" fmla="*/ 0 h 678"/>
                    <a:gd name="T17" fmla="*/ 264 w 264"/>
                    <a:gd name="T18" fmla="*/ 678 h 678"/>
                  </a:gdLst>
                  <a:ahLst/>
                  <a:cxnLst>
                    <a:cxn ang="T10">
                      <a:pos x="T0" y="T1"/>
                    </a:cxn>
                    <a:cxn ang="T11">
                      <a:pos x="T2" y="T3"/>
                    </a:cxn>
                    <a:cxn ang="T12">
                      <a:pos x="T4" y="T5"/>
                    </a:cxn>
                    <a:cxn ang="T13">
                      <a:pos x="T6" y="T7"/>
                    </a:cxn>
                    <a:cxn ang="T14">
                      <a:pos x="T8" y="T9"/>
                    </a:cxn>
                  </a:cxnLst>
                  <a:rect l="T15" t="T16" r="T17" b="T18"/>
                  <a:pathLst>
                    <a:path w="264" h="678">
                      <a:moveTo>
                        <a:pt x="0" y="678"/>
                      </a:moveTo>
                      <a:lnTo>
                        <a:pt x="245" y="510"/>
                      </a:lnTo>
                      <a:lnTo>
                        <a:pt x="264" y="0"/>
                      </a:lnTo>
                      <a:lnTo>
                        <a:pt x="0" y="132"/>
                      </a:lnTo>
                      <a:lnTo>
                        <a:pt x="0" y="678"/>
                      </a:lnTo>
                      <a:close/>
                    </a:path>
                  </a:pathLst>
                </a:custGeom>
                <a:gradFill rotWithShape="1">
                  <a:gsLst>
                    <a:gs pos="0">
                      <a:srgbClr val="3EA666">
                        <a:alpha val="70000"/>
                      </a:srgbClr>
                    </a:gs>
                    <a:gs pos="100000">
                      <a:srgbClr val="2F7E4E">
                        <a:alpha val="70000"/>
                      </a:srgbClr>
                    </a:gs>
                  </a:gsLst>
                  <a:lin ang="5400000" scaled="1"/>
                </a:gradFill>
                <a:ln w="12700">
                  <a:noFill/>
                  <a:round/>
                  <a:headEnd/>
                  <a:tailEnd/>
                </a:ln>
              </p:spPr>
              <p:txBody>
                <a:bodyPr lIns="90000" tIns="46800" rIns="90000" bIns="46800" anchor="ctr"/>
                <a:lstStyle/>
                <a:p>
                  <a:pPr defTabSz="912546"/>
                  <a:endParaRPr>
                    <a:solidFill>
                      <a:srgbClr val="000000"/>
                    </a:solidFill>
                  </a:endParaRPr>
                </a:p>
              </p:txBody>
            </p:sp>
            <p:sp>
              <p:nvSpPr>
                <p:cNvPr id="441993" name="Freeform 412"/>
                <p:cNvSpPr>
                  <a:spLocks/>
                </p:cNvSpPr>
                <p:nvPr/>
              </p:nvSpPr>
              <p:spPr bwMode="gray">
                <a:xfrm>
                  <a:off x="2900" y="3913"/>
                  <a:ext cx="232" cy="127"/>
                </a:xfrm>
                <a:custGeom>
                  <a:avLst/>
                  <a:gdLst>
                    <a:gd name="T0" fmla="*/ 0 w 684"/>
                    <a:gd name="T1" fmla="*/ 0 h 367"/>
                    <a:gd name="T2" fmla="*/ 0 w 684"/>
                    <a:gd name="T3" fmla="*/ 0 h 367"/>
                    <a:gd name="T4" fmla="*/ 0 w 684"/>
                    <a:gd name="T5" fmla="*/ 0 h 367"/>
                    <a:gd name="T6" fmla="*/ 0 w 684"/>
                    <a:gd name="T7" fmla="*/ 0 h 367"/>
                    <a:gd name="T8" fmla="*/ 0 w 684"/>
                    <a:gd name="T9" fmla="*/ 0 h 367"/>
                    <a:gd name="T10" fmla="*/ 0 w 684"/>
                    <a:gd name="T11" fmla="*/ 0 h 367"/>
                    <a:gd name="T12" fmla="*/ 0 w 684"/>
                    <a:gd name="T13" fmla="*/ 0 h 367"/>
                    <a:gd name="T14" fmla="*/ 0 60000 65536"/>
                    <a:gd name="T15" fmla="*/ 0 60000 65536"/>
                    <a:gd name="T16" fmla="*/ 0 60000 65536"/>
                    <a:gd name="T17" fmla="*/ 0 60000 65536"/>
                    <a:gd name="T18" fmla="*/ 0 60000 65536"/>
                    <a:gd name="T19" fmla="*/ 0 60000 65536"/>
                    <a:gd name="T20" fmla="*/ 0 60000 65536"/>
                    <a:gd name="T21" fmla="*/ 0 w 684"/>
                    <a:gd name="T22" fmla="*/ 0 h 367"/>
                    <a:gd name="T23" fmla="*/ 684 w 684"/>
                    <a:gd name="T24" fmla="*/ 367 h 3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4" h="367">
                      <a:moveTo>
                        <a:pt x="684" y="127"/>
                      </a:moveTo>
                      <a:cubicBezTo>
                        <a:pt x="564" y="43"/>
                        <a:pt x="390" y="28"/>
                        <a:pt x="312" y="7"/>
                      </a:cubicBezTo>
                      <a:cubicBezTo>
                        <a:pt x="277" y="0"/>
                        <a:pt x="246" y="7"/>
                        <a:pt x="210" y="7"/>
                      </a:cubicBezTo>
                      <a:lnTo>
                        <a:pt x="0" y="133"/>
                      </a:lnTo>
                      <a:lnTo>
                        <a:pt x="426" y="175"/>
                      </a:lnTo>
                      <a:lnTo>
                        <a:pt x="228" y="367"/>
                      </a:lnTo>
                      <a:lnTo>
                        <a:pt x="684" y="127"/>
                      </a:lnTo>
                      <a:close/>
                    </a:path>
                  </a:pathLst>
                </a:custGeom>
                <a:noFill/>
                <a:ln w="12700">
                  <a:noFill/>
                  <a:round/>
                  <a:headEnd/>
                  <a:tailEnd/>
                </a:ln>
              </p:spPr>
              <p:txBody>
                <a:bodyPr lIns="90000" tIns="46800" rIns="90000" bIns="46800" anchor="ctr"/>
                <a:lstStyle/>
                <a:p>
                  <a:pPr defTabSz="912546"/>
                  <a:endParaRPr>
                    <a:solidFill>
                      <a:srgbClr val="000000"/>
                    </a:solidFill>
                  </a:endParaRPr>
                </a:p>
              </p:txBody>
            </p:sp>
            <p:sp>
              <p:nvSpPr>
                <p:cNvPr id="441994" name="Freeform 413"/>
                <p:cNvSpPr>
                  <a:spLocks/>
                </p:cNvSpPr>
                <p:nvPr/>
              </p:nvSpPr>
              <p:spPr bwMode="gray">
                <a:xfrm>
                  <a:off x="2814" y="3957"/>
                  <a:ext cx="235" cy="85"/>
                </a:xfrm>
                <a:custGeom>
                  <a:avLst/>
                  <a:gdLst>
                    <a:gd name="T0" fmla="*/ 0 w 690"/>
                    <a:gd name="T1" fmla="*/ 0 h 246"/>
                    <a:gd name="T2" fmla="*/ 0 w 690"/>
                    <a:gd name="T3" fmla="*/ 0 h 246"/>
                    <a:gd name="T4" fmla="*/ 0 w 690"/>
                    <a:gd name="T5" fmla="*/ 0 h 246"/>
                    <a:gd name="T6" fmla="*/ 0 w 690"/>
                    <a:gd name="T7" fmla="*/ 0 h 246"/>
                    <a:gd name="T8" fmla="*/ 0 w 690"/>
                    <a:gd name="T9" fmla="*/ 0 h 246"/>
                    <a:gd name="T10" fmla="*/ 0 60000 65536"/>
                    <a:gd name="T11" fmla="*/ 0 60000 65536"/>
                    <a:gd name="T12" fmla="*/ 0 60000 65536"/>
                    <a:gd name="T13" fmla="*/ 0 60000 65536"/>
                    <a:gd name="T14" fmla="*/ 0 60000 65536"/>
                    <a:gd name="T15" fmla="*/ 0 w 690"/>
                    <a:gd name="T16" fmla="*/ 0 h 246"/>
                    <a:gd name="T17" fmla="*/ 690 w 690"/>
                    <a:gd name="T18" fmla="*/ 246 h 246"/>
                  </a:gdLst>
                  <a:ahLst/>
                  <a:cxnLst>
                    <a:cxn ang="T10">
                      <a:pos x="T0" y="T1"/>
                    </a:cxn>
                    <a:cxn ang="T11">
                      <a:pos x="T2" y="T3"/>
                    </a:cxn>
                    <a:cxn ang="T12">
                      <a:pos x="T4" y="T5"/>
                    </a:cxn>
                    <a:cxn ang="T13">
                      <a:pos x="T6" y="T7"/>
                    </a:cxn>
                    <a:cxn ang="T14">
                      <a:pos x="T8" y="T9"/>
                    </a:cxn>
                  </a:cxnLst>
                  <a:rect l="T15" t="T16" r="T17" b="T18"/>
                  <a:pathLst>
                    <a:path w="690" h="246">
                      <a:moveTo>
                        <a:pt x="0" y="174"/>
                      </a:moveTo>
                      <a:lnTo>
                        <a:pt x="479" y="246"/>
                      </a:lnTo>
                      <a:lnTo>
                        <a:pt x="690" y="60"/>
                      </a:lnTo>
                      <a:lnTo>
                        <a:pt x="252" y="0"/>
                      </a:lnTo>
                      <a:lnTo>
                        <a:pt x="0" y="174"/>
                      </a:lnTo>
                      <a:close/>
                    </a:path>
                  </a:pathLst>
                </a:custGeom>
                <a:gradFill rotWithShape="1">
                  <a:gsLst>
                    <a:gs pos="0">
                      <a:srgbClr val="53BF7C">
                        <a:alpha val="79999"/>
                      </a:srgbClr>
                    </a:gs>
                    <a:gs pos="100000">
                      <a:srgbClr val="A2DCB8">
                        <a:alpha val="79999"/>
                      </a:srgbClr>
                    </a:gs>
                  </a:gsLst>
                  <a:lin ang="5400000" scaled="1"/>
                </a:gradFill>
                <a:ln w="12700">
                  <a:noFill/>
                  <a:round/>
                  <a:headEnd/>
                  <a:tailEnd/>
                </a:ln>
              </p:spPr>
              <p:txBody>
                <a:bodyPr lIns="90000" tIns="46800" rIns="90000" bIns="46800" anchor="ctr"/>
                <a:lstStyle/>
                <a:p>
                  <a:pPr defTabSz="912546"/>
                  <a:endParaRPr>
                    <a:solidFill>
                      <a:srgbClr val="000000"/>
                    </a:solidFill>
                  </a:endParaRPr>
                </a:p>
              </p:txBody>
            </p:sp>
            <p:sp>
              <p:nvSpPr>
                <p:cNvPr id="441995" name="Freeform 414"/>
                <p:cNvSpPr>
                  <a:spLocks/>
                </p:cNvSpPr>
                <p:nvPr/>
              </p:nvSpPr>
              <p:spPr bwMode="gray">
                <a:xfrm>
                  <a:off x="2817" y="3826"/>
                  <a:ext cx="160" cy="216"/>
                </a:xfrm>
                <a:custGeom>
                  <a:avLst/>
                  <a:gdLst>
                    <a:gd name="T0" fmla="*/ 0 w 408"/>
                    <a:gd name="T1" fmla="*/ 0 h 624"/>
                    <a:gd name="T2" fmla="*/ 0 w 408"/>
                    <a:gd name="T3" fmla="*/ 0 h 624"/>
                    <a:gd name="T4" fmla="*/ 0 w 408"/>
                    <a:gd name="T5" fmla="*/ 0 h 624"/>
                    <a:gd name="T6" fmla="*/ 0 w 408"/>
                    <a:gd name="T7" fmla="*/ 0 h 624"/>
                    <a:gd name="T8" fmla="*/ 0 w 408"/>
                    <a:gd name="T9" fmla="*/ 0 h 624"/>
                    <a:gd name="T10" fmla="*/ 0 60000 65536"/>
                    <a:gd name="T11" fmla="*/ 0 60000 65536"/>
                    <a:gd name="T12" fmla="*/ 0 60000 65536"/>
                    <a:gd name="T13" fmla="*/ 0 60000 65536"/>
                    <a:gd name="T14" fmla="*/ 0 60000 65536"/>
                    <a:gd name="T15" fmla="*/ 0 w 408"/>
                    <a:gd name="T16" fmla="*/ 0 h 624"/>
                    <a:gd name="T17" fmla="*/ 408 w 408"/>
                    <a:gd name="T18" fmla="*/ 624 h 624"/>
                  </a:gdLst>
                  <a:ahLst/>
                  <a:cxnLst>
                    <a:cxn ang="T10">
                      <a:pos x="T0" y="T1"/>
                    </a:cxn>
                    <a:cxn ang="T11">
                      <a:pos x="T2" y="T3"/>
                    </a:cxn>
                    <a:cxn ang="T12">
                      <a:pos x="T4" y="T5"/>
                    </a:cxn>
                    <a:cxn ang="T13">
                      <a:pos x="T6" y="T7"/>
                    </a:cxn>
                    <a:cxn ang="T14">
                      <a:pos x="T8" y="T9"/>
                    </a:cxn>
                  </a:cxnLst>
                  <a:rect l="T15" t="T16" r="T17" b="T18"/>
                  <a:pathLst>
                    <a:path w="408" h="624">
                      <a:moveTo>
                        <a:pt x="0" y="552"/>
                      </a:moveTo>
                      <a:lnTo>
                        <a:pt x="408" y="624"/>
                      </a:lnTo>
                      <a:lnTo>
                        <a:pt x="408" y="54"/>
                      </a:lnTo>
                      <a:lnTo>
                        <a:pt x="0" y="0"/>
                      </a:lnTo>
                      <a:lnTo>
                        <a:pt x="0" y="552"/>
                      </a:lnTo>
                      <a:close/>
                    </a:path>
                  </a:pathLst>
                </a:custGeom>
                <a:gradFill rotWithShape="1">
                  <a:gsLst>
                    <a:gs pos="0">
                      <a:srgbClr val="84C69D"/>
                    </a:gs>
                    <a:gs pos="100000">
                      <a:srgbClr val="3EA666"/>
                    </a:gs>
                  </a:gsLst>
                  <a:lin ang="5400000" scaled="1"/>
                </a:gradFill>
                <a:ln w="12700">
                  <a:noFill/>
                  <a:round/>
                  <a:headEnd/>
                  <a:tailEnd/>
                </a:ln>
              </p:spPr>
              <p:txBody>
                <a:bodyPr lIns="90000" tIns="46800" rIns="90000" bIns="46800" anchor="ctr"/>
                <a:lstStyle/>
                <a:p>
                  <a:pPr defTabSz="912546"/>
                  <a:endParaRPr>
                    <a:solidFill>
                      <a:srgbClr val="000000"/>
                    </a:solidFill>
                  </a:endParaRPr>
                </a:p>
              </p:txBody>
            </p:sp>
            <p:sp>
              <p:nvSpPr>
                <p:cNvPr id="441996" name="Freeform 415"/>
                <p:cNvSpPr>
                  <a:spLocks/>
                </p:cNvSpPr>
                <p:nvPr/>
              </p:nvSpPr>
              <p:spPr bwMode="gray">
                <a:xfrm>
                  <a:off x="2976" y="3797"/>
                  <a:ext cx="77" cy="245"/>
                </a:xfrm>
                <a:custGeom>
                  <a:avLst/>
                  <a:gdLst>
                    <a:gd name="T0" fmla="*/ 0 w 225"/>
                    <a:gd name="T1" fmla="*/ 0 h 708"/>
                    <a:gd name="T2" fmla="*/ 0 w 225"/>
                    <a:gd name="T3" fmla="*/ 0 h 708"/>
                    <a:gd name="T4" fmla="*/ 0 w 225"/>
                    <a:gd name="T5" fmla="*/ 0 h 708"/>
                    <a:gd name="T6" fmla="*/ 0 w 225"/>
                    <a:gd name="T7" fmla="*/ 0 h 708"/>
                    <a:gd name="T8" fmla="*/ 0 w 225"/>
                    <a:gd name="T9" fmla="*/ 0 h 708"/>
                    <a:gd name="T10" fmla="*/ 0 60000 65536"/>
                    <a:gd name="T11" fmla="*/ 0 60000 65536"/>
                    <a:gd name="T12" fmla="*/ 0 60000 65536"/>
                    <a:gd name="T13" fmla="*/ 0 60000 65536"/>
                    <a:gd name="T14" fmla="*/ 0 60000 65536"/>
                    <a:gd name="T15" fmla="*/ 0 w 225"/>
                    <a:gd name="T16" fmla="*/ 0 h 708"/>
                    <a:gd name="T17" fmla="*/ 225 w 225"/>
                    <a:gd name="T18" fmla="*/ 708 h 708"/>
                  </a:gdLst>
                  <a:ahLst/>
                  <a:cxnLst>
                    <a:cxn ang="T10">
                      <a:pos x="T0" y="T1"/>
                    </a:cxn>
                    <a:cxn ang="T11">
                      <a:pos x="T2" y="T3"/>
                    </a:cxn>
                    <a:cxn ang="T12">
                      <a:pos x="T4" y="T5"/>
                    </a:cxn>
                    <a:cxn ang="T13">
                      <a:pos x="T6" y="T7"/>
                    </a:cxn>
                    <a:cxn ang="T14">
                      <a:pos x="T8" y="T9"/>
                    </a:cxn>
                  </a:cxnLst>
                  <a:rect l="T15" t="T16" r="T17" b="T18"/>
                  <a:pathLst>
                    <a:path w="225" h="708">
                      <a:moveTo>
                        <a:pt x="2" y="708"/>
                      </a:moveTo>
                      <a:lnTo>
                        <a:pt x="219" y="516"/>
                      </a:lnTo>
                      <a:lnTo>
                        <a:pt x="225" y="0"/>
                      </a:lnTo>
                      <a:lnTo>
                        <a:pt x="0" y="142"/>
                      </a:lnTo>
                      <a:lnTo>
                        <a:pt x="2" y="708"/>
                      </a:lnTo>
                      <a:close/>
                    </a:path>
                  </a:pathLst>
                </a:custGeom>
                <a:gradFill rotWithShape="1">
                  <a:gsLst>
                    <a:gs pos="0">
                      <a:srgbClr val="3EA666"/>
                    </a:gs>
                    <a:gs pos="100000">
                      <a:srgbClr val="2F7E4E"/>
                    </a:gs>
                  </a:gsLst>
                  <a:lin ang="5400000" scaled="1"/>
                </a:gradFill>
                <a:ln w="12700">
                  <a:noFill/>
                  <a:round/>
                  <a:headEnd/>
                  <a:tailEnd/>
                </a:ln>
              </p:spPr>
              <p:txBody>
                <a:bodyPr lIns="90000" tIns="46800" rIns="90000" bIns="46800" anchor="ctr"/>
                <a:lstStyle/>
                <a:p>
                  <a:pPr defTabSz="912546"/>
                  <a:endParaRPr>
                    <a:solidFill>
                      <a:srgbClr val="000000"/>
                    </a:solidFill>
                  </a:endParaRPr>
                </a:p>
              </p:txBody>
            </p:sp>
            <p:sp>
              <p:nvSpPr>
                <p:cNvPr id="441997" name="Freeform 416"/>
                <p:cNvSpPr>
                  <a:spLocks/>
                </p:cNvSpPr>
                <p:nvPr/>
              </p:nvSpPr>
              <p:spPr bwMode="gray">
                <a:xfrm>
                  <a:off x="2817" y="3780"/>
                  <a:ext cx="236" cy="66"/>
                </a:xfrm>
                <a:custGeom>
                  <a:avLst/>
                  <a:gdLst>
                    <a:gd name="T0" fmla="*/ 0 w 600"/>
                    <a:gd name="T1" fmla="*/ 0 h 190"/>
                    <a:gd name="T2" fmla="*/ 0 w 600"/>
                    <a:gd name="T3" fmla="*/ 0 h 190"/>
                    <a:gd name="T4" fmla="*/ 0 w 600"/>
                    <a:gd name="T5" fmla="*/ 0 h 190"/>
                    <a:gd name="T6" fmla="*/ 0 w 600"/>
                    <a:gd name="T7" fmla="*/ 0 h 190"/>
                    <a:gd name="T8" fmla="*/ 0 w 600"/>
                    <a:gd name="T9" fmla="*/ 0 h 190"/>
                    <a:gd name="T10" fmla="*/ 0 60000 65536"/>
                    <a:gd name="T11" fmla="*/ 0 60000 65536"/>
                    <a:gd name="T12" fmla="*/ 0 60000 65536"/>
                    <a:gd name="T13" fmla="*/ 0 60000 65536"/>
                    <a:gd name="T14" fmla="*/ 0 60000 65536"/>
                    <a:gd name="T15" fmla="*/ 0 w 600"/>
                    <a:gd name="T16" fmla="*/ 0 h 190"/>
                    <a:gd name="T17" fmla="*/ 600 w 600"/>
                    <a:gd name="T18" fmla="*/ 190 h 190"/>
                  </a:gdLst>
                  <a:ahLst/>
                  <a:cxnLst>
                    <a:cxn ang="T10">
                      <a:pos x="T0" y="T1"/>
                    </a:cxn>
                    <a:cxn ang="T11">
                      <a:pos x="T2" y="T3"/>
                    </a:cxn>
                    <a:cxn ang="T12">
                      <a:pos x="T4" y="T5"/>
                    </a:cxn>
                    <a:cxn ang="T13">
                      <a:pos x="T6" y="T7"/>
                    </a:cxn>
                    <a:cxn ang="T14">
                      <a:pos x="T8" y="T9"/>
                    </a:cxn>
                  </a:cxnLst>
                  <a:rect l="T15" t="T16" r="T17" b="T18"/>
                  <a:pathLst>
                    <a:path w="600" h="190">
                      <a:moveTo>
                        <a:pt x="0" y="132"/>
                      </a:moveTo>
                      <a:lnTo>
                        <a:pt x="412" y="190"/>
                      </a:lnTo>
                      <a:lnTo>
                        <a:pt x="600" y="48"/>
                      </a:lnTo>
                      <a:lnTo>
                        <a:pt x="222" y="0"/>
                      </a:lnTo>
                      <a:lnTo>
                        <a:pt x="0" y="132"/>
                      </a:lnTo>
                      <a:close/>
                    </a:path>
                  </a:pathLst>
                </a:custGeom>
                <a:gradFill rotWithShape="1">
                  <a:gsLst>
                    <a:gs pos="0">
                      <a:srgbClr val="53BF7C"/>
                    </a:gs>
                    <a:gs pos="100000">
                      <a:srgbClr val="A2DCB8"/>
                    </a:gs>
                  </a:gsLst>
                  <a:lin ang="5400000" scaled="1"/>
                </a:gradFill>
                <a:ln w="12700">
                  <a:noFill/>
                  <a:round/>
                  <a:headEnd/>
                  <a:tailEnd/>
                </a:ln>
              </p:spPr>
              <p:txBody>
                <a:bodyPr lIns="90000" tIns="46800" rIns="90000" bIns="46800" anchor="ctr"/>
                <a:lstStyle/>
                <a:p>
                  <a:pPr defTabSz="912546"/>
                  <a:endParaRPr>
                    <a:solidFill>
                      <a:srgbClr val="000000"/>
                    </a:solidFill>
                  </a:endParaRPr>
                </a:p>
              </p:txBody>
            </p:sp>
          </p:grpSp>
          <p:grpSp>
            <p:nvGrpSpPr>
              <p:cNvPr id="265120" name="Group 417"/>
              <p:cNvGrpSpPr>
                <a:grpSpLocks/>
              </p:cNvGrpSpPr>
              <p:nvPr/>
            </p:nvGrpSpPr>
            <p:grpSpPr bwMode="gray">
              <a:xfrm>
                <a:off x="1080" y="2729"/>
                <a:ext cx="251" cy="388"/>
                <a:chOff x="2898" y="3714"/>
                <a:chExt cx="292" cy="360"/>
              </a:xfrm>
            </p:grpSpPr>
            <p:sp>
              <p:nvSpPr>
                <p:cNvPr id="441989" name="Freeform 418"/>
                <p:cNvSpPr>
                  <a:spLocks/>
                </p:cNvSpPr>
                <p:nvPr/>
              </p:nvSpPr>
              <p:spPr bwMode="gray">
                <a:xfrm>
                  <a:off x="2898" y="3714"/>
                  <a:ext cx="292" cy="360"/>
                </a:xfrm>
                <a:custGeom>
                  <a:avLst/>
                  <a:gdLst>
                    <a:gd name="T0" fmla="*/ 0 w 292"/>
                    <a:gd name="T1" fmla="*/ 282 h 360"/>
                    <a:gd name="T2" fmla="*/ 148 w 292"/>
                    <a:gd name="T3" fmla="*/ 0 h 360"/>
                    <a:gd name="T4" fmla="*/ 292 w 292"/>
                    <a:gd name="T5" fmla="*/ 282 h 360"/>
                    <a:gd name="T6" fmla="*/ 0 w 292"/>
                    <a:gd name="T7" fmla="*/ 282 h 360"/>
                    <a:gd name="T8" fmla="*/ 0 60000 65536"/>
                    <a:gd name="T9" fmla="*/ 0 60000 65536"/>
                    <a:gd name="T10" fmla="*/ 0 60000 65536"/>
                    <a:gd name="T11" fmla="*/ 0 60000 65536"/>
                    <a:gd name="T12" fmla="*/ 0 w 292"/>
                    <a:gd name="T13" fmla="*/ 0 h 360"/>
                    <a:gd name="T14" fmla="*/ 292 w 292"/>
                    <a:gd name="T15" fmla="*/ 360 h 360"/>
                  </a:gdLst>
                  <a:ahLst/>
                  <a:cxnLst>
                    <a:cxn ang="T8">
                      <a:pos x="T0" y="T1"/>
                    </a:cxn>
                    <a:cxn ang="T9">
                      <a:pos x="T2" y="T3"/>
                    </a:cxn>
                    <a:cxn ang="T10">
                      <a:pos x="T4" y="T5"/>
                    </a:cxn>
                    <a:cxn ang="T11">
                      <a:pos x="T6" y="T7"/>
                    </a:cxn>
                  </a:cxnLst>
                  <a:rect l="T12" t="T13" r="T14" b="T15"/>
                  <a:pathLst>
                    <a:path w="292" h="360">
                      <a:moveTo>
                        <a:pt x="0" y="282"/>
                      </a:moveTo>
                      <a:cubicBezTo>
                        <a:pt x="74" y="141"/>
                        <a:pt x="148" y="0"/>
                        <a:pt x="148" y="0"/>
                      </a:cubicBezTo>
                      <a:cubicBezTo>
                        <a:pt x="148" y="0"/>
                        <a:pt x="220" y="141"/>
                        <a:pt x="292" y="282"/>
                      </a:cubicBezTo>
                      <a:cubicBezTo>
                        <a:pt x="266" y="360"/>
                        <a:pt x="18" y="350"/>
                        <a:pt x="0" y="282"/>
                      </a:cubicBezTo>
                      <a:close/>
                    </a:path>
                  </a:pathLst>
                </a:custGeom>
                <a:gradFill rotWithShape="1">
                  <a:gsLst>
                    <a:gs pos="0">
                      <a:srgbClr val="CBD6EB"/>
                    </a:gs>
                    <a:gs pos="100000">
                      <a:srgbClr val="305BB0"/>
                    </a:gs>
                  </a:gsLst>
                  <a:lin ang="2700000" scaled="1"/>
                </a:gradFill>
                <a:ln w="19050">
                  <a:noFill/>
                  <a:round/>
                  <a:headEnd/>
                  <a:tailEnd/>
                </a:ln>
              </p:spPr>
              <p:txBody>
                <a:bodyPr wrap="none" lIns="90000" tIns="46800" rIns="90000" bIns="46800" anchor="ctr"/>
                <a:lstStyle/>
                <a:p>
                  <a:pPr defTabSz="912546"/>
                  <a:endParaRPr>
                    <a:solidFill>
                      <a:srgbClr val="000000"/>
                    </a:solidFill>
                  </a:endParaRPr>
                </a:p>
              </p:txBody>
            </p:sp>
            <p:sp>
              <p:nvSpPr>
                <p:cNvPr id="441990" name="Freeform 419"/>
                <p:cNvSpPr>
                  <a:spLocks/>
                </p:cNvSpPr>
                <p:nvPr/>
              </p:nvSpPr>
              <p:spPr bwMode="gray">
                <a:xfrm>
                  <a:off x="2898" y="3718"/>
                  <a:ext cx="290" cy="324"/>
                </a:xfrm>
                <a:custGeom>
                  <a:avLst/>
                  <a:gdLst>
                    <a:gd name="T0" fmla="*/ 0 w 290"/>
                    <a:gd name="T1" fmla="*/ 276 h 324"/>
                    <a:gd name="T2" fmla="*/ 146 w 290"/>
                    <a:gd name="T3" fmla="*/ 0 h 324"/>
                    <a:gd name="T4" fmla="*/ 290 w 290"/>
                    <a:gd name="T5" fmla="*/ 280 h 324"/>
                    <a:gd name="T6" fmla="*/ 216 w 290"/>
                    <a:gd name="T7" fmla="*/ 324 h 324"/>
                    <a:gd name="T8" fmla="*/ 146 w 290"/>
                    <a:gd name="T9" fmla="*/ 4 h 324"/>
                    <a:gd name="T10" fmla="*/ 8 w 290"/>
                    <a:gd name="T11" fmla="*/ 292 h 324"/>
                    <a:gd name="T12" fmla="*/ 0 w 290"/>
                    <a:gd name="T13" fmla="*/ 276 h 324"/>
                    <a:gd name="T14" fmla="*/ 0 60000 65536"/>
                    <a:gd name="T15" fmla="*/ 0 60000 65536"/>
                    <a:gd name="T16" fmla="*/ 0 60000 65536"/>
                    <a:gd name="T17" fmla="*/ 0 60000 65536"/>
                    <a:gd name="T18" fmla="*/ 0 60000 65536"/>
                    <a:gd name="T19" fmla="*/ 0 60000 65536"/>
                    <a:gd name="T20" fmla="*/ 0 60000 65536"/>
                    <a:gd name="T21" fmla="*/ 0 w 290"/>
                    <a:gd name="T22" fmla="*/ 0 h 324"/>
                    <a:gd name="T23" fmla="*/ 290 w 290"/>
                    <a:gd name="T24" fmla="*/ 324 h 3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0" h="324">
                      <a:moveTo>
                        <a:pt x="0" y="276"/>
                      </a:moveTo>
                      <a:lnTo>
                        <a:pt x="146" y="0"/>
                      </a:lnTo>
                      <a:cubicBezTo>
                        <a:pt x="146" y="0"/>
                        <a:pt x="218" y="140"/>
                        <a:pt x="290" y="280"/>
                      </a:cubicBezTo>
                      <a:cubicBezTo>
                        <a:pt x="268" y="310"/>
                        <a:pt x="216" y="324"/>
                        <a:pt x="216" y="324"/>
                      </a:cubicBezTo>
                      <a:lnTo>
                        <a:pt x="146" y="4"/>
                      </a:lnTo>
                      <a:lnTo>
                        <a:pt x="8" y="292"/>
                      </a:lnTo>
                      <a:lnTo>
                        <a:pt x="0" y="276"/>
                      </a:lnTo>
                      <a:close/>
                    </a:path>
                  </a:pathLst>
                </a:custGeom>
                <a:gradFill rotWithShape="1">
                  <a:gsLst>
                    <a:gs pos="0">
                      <a:srgbClr val="2F5AAD">
                        <a:alpha val="21001"/>
                      </a:srgbClr>
                    </a:gs>
                    <a:gs pos="100000">
                      <a:srgbClr val="305BB0">
                        <a:alpha val="39998"/>
                      </a:srgbClr>
                    </a:gs>
                  </a:gsLst>
                  <a:lin ang="18900000" scaled="1"/>
                </a:gradFill>
                <a:ln w="19050">
                  <a:noFill/>
                  <a:round/>
                  <a:headEnd/>
                  <a:tailEnd/>
                </a:ln>
              </p:spPr>
              <p:txBody>
                <a:bodyPr wrap="none" lIns="90000" tIns="46800" rIns="90000" bIns="46800" anchor="ctr"/>
                <a:lstStyle/>
                <a:p>
                  <a:pPr defTabSz="912546"/>
                  <a:endParaRPr>
                    <a:solidFill>
                      <a:srgbClr val="000000"/>
                    </a:solidFill>
                  </a:endParaRPr>
                </a:p>
              </p:txBody>
            </p:sp>
            <p:sp>
              <p:nvSpPr>
                <p:cNvPr id="264612" name="Freeform 420"/>
                <p:cNvSpPr>
                  <a:spLocks/>
                </p:cNvSpPr>
                <p:nvPr/>
              </p:nvSpPr>
              <p:spPr bwMode="gray">
                <a:xfrm>
                  <a:off x="2950" y="3724"/>
                  <a:ext cx="92" cy="326"/>
                </a:xfrm>
                <a:custGeom>
                  <a:avLst/>
                  <a:gdLst/>
                  <a:ahLst/>
                  <a:cxnLst>
                    <a:cxn ang="0">
                      <a:pos x="92" y="0"/>
                    </a:cxn>
                    <a:cxn ang="0">
                      <a:pos x="0" y="312"/>
                    </a:cxn>
                    <a:cxn ang="0">
                      <a:pos x="86" y="326"/>
                    </a:cxn>
                    <a:cxn ang="0">
                      <a:pos x="92" y="0"/>
                    </a:cxn>
                  </a:cxnLst>
                  <a:rect l="0" t="0" r="r" b="b"/>
                  <a:pathLst>
                    <a:path w="92" h="326">
                      <a:moveTo>
                        <a:pt x="92" y="0"/>
                      </a:moveTo>
                      <a:lnTo>
                        <a:pt x="0" y="312"/>
                      </a:lnTo>
                      <a:cubicBezTo>
                        <a:pt x="0" y="312"/>
                        <a:pt x="36" y="324"/>
                        <a:pt x="86" y="326"/>
                      </a:cubicBezTo>
                      <a:cubicBezTo>
                        <a:pt x="89" y="163"/>
                        <a:pt x="92" y="0"/>
                        <a:pt x="92" y="0"/>
                      </a:cubicBezTo>
                      <a:close/>
                    </a:path>
                  </a:pathLst>
                </a:custGeom>
                <a:gradFill rotWithShape="1">
                  <a:gsLst>
                    <a:gs pos="0">
                      <a:schemeClr val="bg1">
                        <a:gamma/>
                        <a:tint val="98431"/>
                        <a:invGamma/>
                        <a:alpha val="80000"/>
                      </a:schemeClr>
                    </a:gs>
                    <a:gs pos="100000">
                      <a:schemeClr val="bg1">
                        <a:alpha val="20000"/>
                      </a:schemeClr>
                    </a:gs>
                  </a:gsLst>
                  <a:lin ang="5400000" scaled="1"/>
                </a:gradFill>
                <a:ln w="19050" cap="flat" cmpd="sng">
                  <a:noFill/>
                  <a:prstDash val="solid"/>
                  <a:round/>
                  <a:headEnd/>
                  <a:tailEnd/>
                </a:ln>
                <a:effectLst/>
              </p:spPr>
              <p:txBody>
                <a:bodyPr wrap="none" lIns="90000" tIns="46800" rIns="90000" bIns="46800" anchor="ctr"/>
                <a:lstStyle/>
                <a:p>
                  <a:pPr defTabSz="912546">
                    <a:defRPr/>
                  </a:pPr>
                  <a:endParaRPr lang="en-US" dirty="0">
                    <a:solidFill>
                      <a:srgbClr val="000000"/>
                    </a:solidFill>
                  </a:endParaRPr>
                </a:p>
              </p:txBody>
            </p:sp>
          </p:grpSp>
          <p:grpSp>
            <p:nvGrpSpPr>
              <p:cNvPr id="265121" name="Group 421"/>
              <p:cNvGrpSpPr>
                <a:grpSpLocks/>
              </p:cNvGrpSpPr>
              <p:nvPr/>
            </p:nvGrpSpPr>
            <p:grpSpPr bwMode="gray">
              <a:xfrm>
                <a:off x="1253" y="2903"/>
                <a:ext cx="235" cy="235"/>
                <a:chOff x="4272" y="1788"/>
                <a:chExt cx="240" cy="240"/>
              </a:xfrm>
            </p:grpSpPr>
            <p:sp>
              <p:nvSpPr>
                <p:cNvPr id="441987" name="Oval 422"/>
                <p:cNvSpPr>
                  <a:spLocks noChangeArrowheads="1"/>
                </p:cNvSpPr>
                <p:nvPr/>
              </p:nvSpPr>
              <p:spPr bwMode="gray">
                <a:xfrm>
                  <a:off x="4272" y="1788"/>
                  <a:ext cx="240" cy="240"/>
                </a:xfrm>
                <a:prstGeom prst="ellipse">
                  <a:avLst/>
                </a:prstGeom>
                <a:gradFill rotWithShape="1">
                  <a:gsLst>
                    <a:gs pos="0">
                      <a:srgbClr val="E5CC61"/>
                    </a:gs>
                    <a:gs pos="100000">
                      <a:srgbClr val="807236"/>
                    </a:gs>
                  </a:gsLst>
                  <a:lin ang="2700000" scaled="1"/>
                </a:gradFill>
                <a:ln w="12700">
                  <a:noFill/>
                  <a:round/>
                  <a:headEnd/>
                  <a:tailEnd/>
                </a:ln>
              </p:spPr>
              <p:txBody>
                <a:bodyPr wrap="none" lIns="90000" tIns="46800" rIns="90000" bIns="46800" anchor="ctr"/>
                <a:lstStyle/>
                <a:p>
                  <a:pPr algn="ctr" defTabSz="912546"/>
                  <a:endParaRPr>
                    <a:solidFill>
                      <a:srgbClr val="000000"/>
                    </a:solidFill>
                  </a:endParaRPr>
                </a:p>
              </p:txBody>
            </p:sp>
            <p:sp>
              <p:nvSpPr>
                <p:cNvPr id="441988" name="Oval 423"/>
                <p:cNvSpPr>
                  <a:spLocks noChangeArrowheads="1"/>
                </p:cNvSpPr>
                <p:nvPr/>
              </p:nvSpPr>
              <p:spPr bwMode="gray">
                <a:xfrm>
                  <a:off x="4284" y="1794"/>
                  <a:ext cx="156" cy="156"/>
                </a:xfrm>
                <a:prstGeom prst="ellipse">
                  <a:avLst/>
                </a:prstGeom>
                <a:gradFill rotWithShape="1">
                  <a:gsLst>
                    <a:gs pos="0">
                      <a:srgbClr val="F8EE94">
                        <a:alpha val="84000"/>
                      </a:srgbClr>
                    </a:gs>
                    <a:gs pos="100000">
                      <a:srgbClr val="F9F0A3">
                        <a:alpha val="0"/>
                      </a:srgbClr>
                    </a:gs>
                  </a:gsLst>
                  <a:path path="shape">
                    <a:fillToRect l="50000" t="50000" r="50000" b="50000"/>
                  </a:path>
                </a:gradFill>
                <a:ln w="12700">
                  <a:noFill/>
                  <a:round/>
                  <a:headEnd/>
                  <a:tailEnd/>
                </a:ln>
              </p:spPr>
              <p:txBody>
                <a:bodyPr wrap="none" lIns="90000" tIns="46800" rIns="90000" bIns="46800" anchor="ctr"/>
                <a:lstStyle/>
                <a:p>
                  <a:pPr algn="ctr" defTabSz="912546"/>
                  <a:endParaRPr>
                    <a:solidFill>
                      <a:srgbClr val="000000"/>
                    </a:solidFill>
                  </a:endParaRPr>
                </a:p>
              </p:txBody>
            </p:sp>
          </p:grpSp>
        </p:grpSp>
      </p:grpSp>
      <p:sp>
        <p:nvSpPr>
          <p:cNvPr id="441361" name="Text Box 424"/>
          <p:cNvSpPr txBox="1">
            <a:spLocks noChangeArrowheads="1"/>
          </p:cNvSpPr>
          <p:nvPr/>
        </p:nvSpPr>
        <p:spPr bwMode="gray">
          <a:xfrm>
            <a:off x="1514476" y="1871270"/>
            <a:ext cx="1241425" cy="329771"/>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Contract Manufacturer</a:t>
            </a:r>
          </a:p>
        </p:txBody>
      </p:sp>
      <p:grpSp>
        <p:nvGrpSpPr>
          <p:cNvPr id="265122" name="Group 425"/>
          <p:cNvGrpSpPr>
            <a:grpSpLocks/>
          </p:cNvGrpSpPr>
          <p:nvPr/>
        </p:nvGrpSpPr>
        <p:grpSpPr bwMode="gray">
          <a:xfrm rot="-160483">
            <a:off x="1752600" y="2157015"/>
            <a:ext cx="914400" cy="501650"/>
            <a:chOff x="3552" y="1700"/>
            <a:chExt cx="1212" cy="553"/>
          </a:xfrm>
        </p:grpSpPr>
        <p:sp>
          <p:nvSpPr>
            <p:cNvPr id="441891" name="Freeform 426"/>
            <p:cNvSpPr>
              <a:spLocks/>
            </p:cNvSpPr>
            <p:nvPr/>
          </p:nvSpPr>
          <p:spPr bwMode="gray">
            <a:xfrm>
              <a:off x="3552" y="1986"/>
              <a:ext cx="1212" cy="264"/>
            </a:xfrm>
            <a:custGeom>
              <a:avLst/>
              <a:gdLst>
                <a:gd name="T0" fmla="*/ 0 w 1212"/>
                <a:gd name="T1" fmla="*/ 48 h 264"/>
                <a:gd name="T2" fmla="*/ 324 w 1212"/>
                <a:gd name="T3" fmla="*/ 264 h 264"/>
                <a:gd name="T4" fmla="*/ 882 w 1212"/>
                <a:gd name="T5" fmla="*/ 222 h 264"/>
                <a:gd name="T6" fmla="*/ 936 w 1212"/>
                <a:gd name="T7" fmla="*/ 246 h 264"/>
                <a:gd name="T8" fmla="*/ 1212 w 1212"/>
                <a:gd name="T9" fmla="*/ 216 h 264"/>
                <a:gd name="T10" fmla="*/ 780 w 1212"/>
                <a:gd name="T11" fmla="*/ 0 h 264"/>
                <a:gd name="T12" fmla="*/ 0 w 1212"/>
                <a:gd name="T13" fmla="*/ 48 h 264"/>
                <a:gd name="T14" fmla="*/ 0 60000 65536"/>
                <a:gd name="T15" fmla="*/ 0 60000 65536"/>
                <a:gd name="T16" fmla="*/ 0 60000 65536"/>
                <a:gd name="T17" fmla="*/ 0 60000 65536"/>
                <a:gd name="T18" fmla="*/ 0 60000 65536"/>
                <a:gd name="T19" fmla="*/ 0 60000 65536"/>
                <a:gd name="T20" fmla="*/ 0 60000 65536"/>
                <a:gd name="T21" fmla="*/ 0 w 1212"/>
                <a:gd name="T22" fmla="*/ 0 h 264"/>
                <a:gd name="T23" fmla="*/ 1212 w 1212"/>
                <a:gd name="T24" fmla="*/ 264 h 2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2" h="264">
                  <a:moveTo>
                    <a:pt x="0" y="48"/>
                  </a:moveTo>
                  <a:lnTo>
                    <a:pt x="324" y="264"/>
                  </a:lnTo>
                  <a:lnTo>
                    <a:pt x="882" y="222"/>
                  </a:lnTo>
                  <a:cubicBezTo>
                    <a:pt x="944" y="247"/>
                    <a:pt x="964" y="246"/>
                    <a:pt x="936" y="246"/>
                  </a:cubicBezTo>
                  <a:lnTo>
                    <a:pt x="1212" y="216"/>
                  </a:lnTo>
                  <a:lnTo>
                    <a:pt x="780" y="0"/>
                  </a:lnTo>
                  <a:lnTo>
                    <a:pt x="0" y="48"/>
                  </a:lnTo>
                  <a:close/>
                </a:path>
              </a:pathLst>
            </a:custGeom>
            <a:solidFill>
              <a:srgbClr val="6E6E6E">
                <a:alpha val="20000"/>
              </a:srgbClr>
            </a:solidFill>
            <a:ln w="9525">
              <a:noFill/>
              <a:round/>
              <a:headEnd/>
              <a:tailEnd/>
            </a:ln>
          </p:spPr>
          <p:txBody>
            <a:bodyPr/>
            <a:lstStyle/>
            <a:p>
              <a:pPr defTabSz="912546"/>
              <a:endParaRPr>
                <a:solidFill>
                  <a:srgbClr val="000000"/>
                </a:solidFill>
              </a:endParaRPr>
            </a:p>
          </p:txBody>
        </p:sp>
        <p:grpSp>
          <p:nvGrpSpPr>
            <p:cNvPr id="265123" name="Group 427"/>
            <p:cNvGrpSpPr>
              <a:grpSpLocks/>
            </p:cNvGrpSpPr>
            <p:nvPr/>
          </p:nvGrpSpPr>
          <p:grpSpPr bwMode="gray">
            <a:xfrm>
              <a:off x="3600" y="1700"/>
              <a:ext cx="1090" cy="518"/>
              <a:chOff x="3600" y="1700"/>
              <a:chExt cx="1090" cy="518"/>
            </a:xfrm>
          </p:grpSpPr>
          <p:sp>
            <p:nvSpPr>
              <p:cNvPr id="441935" name="Freeform 428"/>
              <p:cNvSpPr>
                <a:spLocks/>
              </p:cNvSpPr>
              <p:nvPr/>
            </p:nvSpPr>
            <p:spPr bwMode="gray">
              <a:xfrm>
                <a:off x="3600" y="1864"/>
                <a:ext cx="1042" cy="352"/>
              </a:xfrm>
              <a:custGeom>
                <a:avLst/>
                <a:gdLst>
                  <a:gd name="T0" fmla="*/ 3 w 1042"/>
                  <a:gd name="T1" fmla="*/ 175 h 352"/>
                  <a:gd name="T2" fmla="*/ 312 w 1042"/>
                  <a:gd name="T3" fmla="*/ 352 h 352"/>
                  <a:gd name="T4" fmla="*/ 1026 w 1042"/>
                  <a:gd name="T5" fmla="*/ 298 h 352"/>
                  <a:gd name="T6" fmla="*/ 1042 w 1042"/>
                  <a:gd name="T7" fmla="*/ 140 h 352"/>
                  <a:gd name="T8" fmla="*/ 694 w 1042"/>
                  <a:gd name="T9" fmla="*/ 0 h 352"/>
                  <a:gd name="T10" fmla="*/ 0 w 1042"/>
                  <a:gd name="T11" fmla="*/ 26 h 352"/>
                  <a:gd name="T12" fmla="*/ 3 w 1042"/>
                  <a:gd name="T13" fmla="*/ 175 h 352"/>
                  <a:gd name="T14" fmla="*/ 0 60000 65536"/>
                  <a:gd name="T15" fmla="*/ 0 60000 65536"/>
                  <a:gd name="T16" fmla="*/ 0 60000 65536"/>
                  <a:gd name="T17" fmla="*/ 0 60000 65536"/>
                  <a:gd name="T18" fmla="*/ 0 60000 65536"/>
                  <a:gd name="T19" fmla="*/ 0 60000 65536"/>
                  <a:gd name="T20" fmla="*/ 0 60000 65536"/>
                  <a:gd name="T21" fmla="*/ 0 w 1042"/>
                  <a:gd name="T22" fmla="*/ 0 h 352"/>
                  <a:gd name="T23" fmla="*/ 1042 w 1042"/>
                  <a:gd name="T24" fmla="*/ 352 h 3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2" h="352">
                    <a:moveTo>
                      <a:pt x="3" y="175"/>
                    </a:moveTo>
                    <a:lnTo>
                      <a:pt x="312" y="352"/>
                    </a:lnTo>
                    <a:lnTo>
                      <a:pt x="1026" y="298"/>
                    </a:lnTo>
                    <a:lnTo>
                      <a:pt x="1042" y="140"/>
                    </a:lnTo>
                    <a:lnTo>
                      <a:pt x="694" y="0"/>
                    </a:lnTo>
                    <a:lnTo>
                      <a:pt x="0" y="26"/>
                    </a:lnTo>
                    <a:lnTo>
                      <a:pt x="3" y="175"/>
                    </a:lnTo>
                    <a:close/>
                  </a:path>
                </a:pathLst>
              </a:custGeom>
              <a:gradFill rotWithShape="1">
                <a:gsLst>
                  <a:gs pos="0">
                    <a:srgbClr val="87ABB3"/>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441936" name="Freeform 429"/>
              <p:cNvSpPr>
                <a:spLocks/>
              </p:cNvSpPr>
              <p:nvPr/>
            </p:nvSpPr>
            <p:spPr bwMode="gray">
              <a:xfrm>
                <a:off x="3602" y="1892"/>
                <a:ext cx="318" cy="326"/>
              </a:xfrm>
              <a:custGeom>
                <a:avLst/>
                <a:gdLst>
                  <a:gd name="T0" fmla="*/ 1 w 318"/>
                  <a:gd name="T1" fmla="*/ 147 h 326"/>
                  <a:gd name="T2" fmla="*/ 310 w 318"/>
                  <a:gd name="T3" fmla="*/ 326 h 326"/>
                  <a:gd name="T4" fmla="*/ 318 w 318"/>
                  <a:gd name="T5" fmla="*/ 140 h 326"/>
                  <a:gd name="T6" fmla="*/ 0 w 318"/>
                  <a:gd name="T7" fmla="*/ 0 h 326"/>
                  <a:gd name="T8" fmla="*/ 1 w 318"/>
                  <a:gd name="T9" fmla="*/ 147 h 326"/>
                  <a:gd name="T10" fmla="*/ 0 60000 65536"/>
                  <a:gd name="T11" fmla="*/ 0 60000 65536"/>
                  <a:gd name="T12" fmla="*/ 0 60000 65536"/>
                  <a:gd name="T13" fmla="*/ 0 60000 65536"/>
                  <a:gd name="T14" fmla="*/ 0 60000 65536"/>
                  <a:gd name="T15" fmla="*/ 0 w 318"/>
                  <a:gd name="T16" fmla="*/ 0 h 326"/>
                  <a:gd name="T17" fmla="*/ 318 w 318"/>
                  <a:gd name="T18" fmla="*/ 326 h 326"/>
                </a:gdLst>
                <a:ahLst/>
                <a:cxnLst>
                  <a:cxn ang="T10">
                    <a:pos x="T0" y="T1"/>
                  </a:cxn>
                  <a:cxn ang="T11">
                    <a:pos x="T2" y="T3"/>
                  </a:cxn>
                  <a:cxn ang="T12">
                    <a:pos x="T4" y="T5"/>
                  </a:cxn>
                  <a:cxn ang="T13">
                    <a:pos x="T6" y="T7"/>
                  </a:cxn>
                  <a:cxn ang="T14">
                    <a:pos x="T8" y="T9"/>
                  </a:cxn>
                </a:cxnLst>
                <a:rect l="T15" t="T16" r="T17" b="T18"/>
                <a:pathLst>
                  <a:path w="318" h="326">
                    <a:moveTo>
                      <a:pt x="1" y="147"/>
                    </a:moveTo>
                    <a:lnTo>
                      <a:pt x="310" y="326"/>
                    </a:lnTo>
                    <a:lnTo>
                      <a:pt x="318" y="140"/>
                    </a:lnTo>
                    <a:lnTo>
                      <a:pt x="0" y="0"/>
                    </a:lnTo>
                    <a:lnTo>
                      <a:pt x="1" y="147"/>
                    </a:lnTo>
                    <a:close/>
                  </a:path>
                </a:pathLst>
              </a:custGeom>
              <a:gradFill rotWithShape="1">
                <a:gsLst>
                  <a:gs pos="0">
                    <a:srgbClr val="8ABAC5"/>
                  </a:gs>
                  <a:gs pos="100000">
                    <a:srgbClr val="74ADBA"/>
                  </a:gs>
                </a:gsLst>
                <a:lin ang="5400000" scaled="1"/>
              </a:gradFill>
              <a:ln w="9525">
                <a:noFill/>
                <a:round/>
                <a:headEnd/>
                <a:tailEnd/>
              </a:ln>
            </p:spPr>
            <p:txBody>
              <a:bodyPr/>
              <a:lstStyle/>
              <a:p>
                <a:pPr defTabSz="912546"/>
                <a:endParaRPr>
                  <a:solidFill>
                    <a:srgbClr val="000000"/>
                  </a:solidFill>
                </a:endParaRPr>
              </a:p>
            </p:txBody>
          </p:sp>
          <p:sp>
            <p:nvSpPr>
              <p:cNvPr id="264622" name="Freeform 430"/>
              <p:cNvSpPr>
                <a:spLocks/>
              </p:cNvSpPr>
              <p:nvPr/>
            </p:nvSpPr>
            <p:spPr bwMode="gray">
              <a:xfrm>
                <a:off x="3578" y="1838"/>
                <a:ext cx="1050" cy="172"/>
              </a:xfrm>
              <a:custGeom>
                <a:avLst/>
                <a:gdLst/>
                <a:ahLst/>
                <a:cxnLst>
                  <a:cxn ang="0">
                    <a:pos x="318" y="172"/>
                  </a:cxn>
                  <a:cxn ang="0">
                    <a:pos x="1042" y="142"/>
                  </a:cxn>
                  <a:cxn ang="0">
                    <a:pos x="692" y="0"/>
                  </a:cxn>
                  <a:cxn ang="0">
                    <a:pos x="0" y="26"/>
                  </a:cxn>
                  <a:cxn ang="0">
                    <a:pos x="318" y="172"/>
                  </a:cxn>
                </a:cxnLst>
                <a:rect l="0" t="0" r="r" b="b"/>
                <a:pathLst>
                  <a:path w="1042" h="172">
                    <a:moveTo>
                      <a:pt x="318" y="172"/>
                    </a:moveTo>
                    <a:lnTo>
                      <a:pt x="1042" y="142"/>
                    </a:lnTo>
                    <a:lnTo>
                      <a:pt x="692" y="0"/>
                    </a:lnTo>
                    <a:lnTo>
                      <a:pt x="0" y="26"/>
                    </a:lnTo>
                    <a:lnTo>
                      <a:pt x="318" y="172"/>
                    </a:lnTo>
                    <a:close/>
                  </a:path>
                </a:pathLst>
              </a:custGeom>
              <a:gradFill rotWithShape="1">
                <a:gsLst>
                  <a:gs pos="0">
                    <a:schemeClr val="bg2"/>
                  </a:gs>
                  <a:gs pos="100000">
                    <a:schemeClr val="bg2">
                      <a:gamma/>
                      <a:shade val="66275"/>
                      <a:invGamma/>
                    </a:schemeClr>
                  </a:gs>
                </a:gsLst>
                <a:lin ang="2700000" scaled="1"/>
              </a:gradFill>
              <a:ln w="9525">
                <a:noFill/>
                <a:round/>
                <a:headEnd/>
                <a:tailEnd/>
              </a:ln>
              <a:effectLst/>
            </p:spPr>
            <p:txBody>
              <a:bodyPr/>
              <a:lstStyle/>
              <a:p>
                <a:pPr defTabSz="912546">
                  <a:defRPr/>
                </a:pPr>
                <a:endParaRPr lang="en-US" dirty="0">
                  <a:solidFill>
                    <a:srgbClr val="000000"/>
                  </a:solidFill>
                </a:endParaRPr>
              </a:p>
            </p:txBody>
          </p:sp>
          <p:sp>
            <p:nvSpPr>
              <p:cNvPr id="441938" name="Freeform 431"/>
              <p:cNvSpPr>
                <a:spLocks/>
              </p:cNvSpPr>
              <p:nvPr/>
            </p:nvSpPr>
            <p:spPr bwMode="gray">
              <a:xfrm>
                <a:off x="3632" y="1870"/>
                <a:ext cx="968" cy="154"/>
              </a:xfrm>
              <a:custGeom>
                <a:avLst/>
                <a:gdLst>
                  <a:gd name="T0" fmla="*/ 290 w 968"/>
                  <a:gd name="T1" fmla="*/ 154 h 154"/>
                  <a:gd name="T2" fmla="*/ 968 w 968"/>
                  <a:gd name="T3" fmla="*/ 126 h 154"/>
                  <a:gd name="T4" fmla="*/ 656 w 968"/>
                  <a:gd name="T5" fmla="*/ 0 h 154"/>
                  <a:gd name="T6" fmla="*/ 0 w 968"/>
                  <a:gd name="T7" fmla="*/ 22 h 154"/>
                  <a:gd name="T8" fmla="*/ 290 w 968"/>
                  <a:gd name="T9" fmla="*/ 154 h 154"/>
                  <a:gd name="T10" fmla="*/ 0 60000 65536"/>
                  <a:gd name="T11" fmla="*/ 0 60000 65536"/>
                  <a:gd name="T12" fmla="*/ 0 60000 65536"/>
                  <a:gd name="T13" fmla="*/ 0 60000 65536"/>
                  <a:gd name="T14" fmla="*/ 0 60000 65536"/>
                  <a:gd name="T15" fmla="*/ 0 w 968"/>
                  <a:gd name="T16" fmla="*/ 0 h 154"/>
                  <a:gd name="T17" fmla="*/ 968 w 968"/>
                  <a:gd name="T18" fmla="*/ 154 h 154"/>
                </a:gdLst>
                <a:ahLst/>
                <a:cxnLst>
                  <a:cxn ang="T10">
                    <a:pos x="T0" y="T1"/>
                  </a:cxn>
                  <a:cxn ang="T11">
                    <a:pos x="T2" y="T3"/>
                  </a:cxn>
                  <a:cxn ang="T12">
                    <a:pos x="T4" y="T5"/>
                  </a:cxn>
                  <a:cxn ang="T13">
                    <a:pos x="T6" y="T7"/>
                  </a:cxn>
                  <a:cxn ang="T14">
                    <a:pos x="T8" y="T9"/>
                  </a:cxn>
                </a:cxnLst>
                <a:rect l="T15" t="T16" r="T17" b="T18"/>
                <a:pathLst>
                  <a:path w="968" h="154">
                    <a:moveTo>
                      <a:pt x="290" y="154"/>
                    </a:moveTo>
                    <a:lnTo>
                      <a:pt x="968" y="126"/>
                    </a:lnTo>
                    <a:lnTo>
                      <a:pt x="656" y="0"/>
                    </a:lnTo>
                    <a:lnTo>
                      <a:pt x="0" y="22"/>
                    </a:lnTo>
                    <a:lnTo>
                      <a:pt x="290" y="154"/>
                    </a:lnTo>
                    <a:close/>
                  </a:path>
                </a:pathLst>
              </a:custGeom>
              <a:gradFill rotWithShape="1">
                <a:gsLst>
                  <a:gs pos="0">
                    <a:srgbClr val="969696"/>
                  </a:gs>
                  <a:gs pos="100000">
                    <a:srgbClr val="727272"/>
                  </a:gs>
                </a:gsLst>
                <a:lin ang="2700000" scaled="1"/>
              </a:gradFill>
              <a:ln w="9525">
                <a:noFill/>
                <a:round/>
                <a:headEnd/>
                <a:tailEnd/>
              </a:ln>
            </p:spPr>
            <p:txBody>
              <a:bodyPr/>
              <a:lstStyle/>
              <a:p>
                <a:pPr defTabSz="912546"/>
                <a:endParaRPr>
                  <a:solidFill>
                    <a:srgbClr val="000000"/>
                  </a:solidFill>
                </a:endParaRPr>
              </a:p>
            </p:txBody>
          </p:sp>
          <p:sp>
            <p:nvSpPr>
              <p:cNvPr id="441939" name="Freeform 432"/>
              <p:cNvSpPr>
                <a:spLocks/>
              </p:cNvSpPr>
              <p:nvPr/>
            </p:nvSpPr>
            <p:spPr bwMode="gray">
              <a:xfrm>
                <a:off x="3688" y="1791"/>
                <a:ext cx="122" cy="369"/>
              </a:xfrm>
              <a:custGeom>
                <a:avLst/>
                <a:gdLst>
                  <a:gd name="T0" fmla="*/ 0 w 122"/>
                  <a:gd name="T1" fmla="*/ 11 h 369"/>
                  <a:gd name="T2" fmla="*/ 64 w 122"/>
                  <a:gd name="T3" fmla="*/ 0 h 369"/>
                  <a:gd name="T4" fmla="*/ 122 w 122"/>
                  <a:gd name="T5" fmla="*/ 59 h 369"/>
                  <a:gd name="T6" fmla="*/ 118 w 122"/>
                  <a:gd name="T7" fmla="*/ 181 h 369"/>
                  <a:gd name="T8" fmla="*/ 112 w 122"/>
                  <a:gd name="T9" fmla="*/ 369 h 369"/>
                  <a:gd name="T10" fmla="*/ 2 w 122"/>
                  <a:gd name="T11" fmla="*/ 303 h 369"/>
                  <a:gd name="T12" fmla="*/ 0 w 122"/>
                  <a:gd name="T13" fmla="*/ 11 h 369"/>
                  <a:gd name="T14" fmla="*/ 0 60000 65536"/>
                  <a:gd name="T15" fmla="*/ 0 60000 65536"/>
                  <a:gd name="T16" fmla="*/ 0 60000 65536"/>
                  <a:gd name="T17" fmla="*/ 0 60000 65536"/>
                  <a:gd name="T18" fmla="*/ 0 60000 65536"/>
                  <a:gd name="T19" fmla="*/ 0 60000 65536"/>
                  <a:gd name="T20" fmla="*/ 0 60000 65536"/>
                  <a:gd name="T21" fmla="*/ 0 w 122"/>
                  <a:gd name="T22" fmla="*/ 0 h 369"/>
                  <a:gd name="T23" fmla="*/ 122 w 122"/>
                  <a:gd name="T24" fmla="*/ 369 h 3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2" h="369">
                    <a:moveTo>
                      <a:pt x="0" y="11"/>
                    </a:moveTo>
                    <a:lnTo>
                      <a:pt x="64" y="0"/>
                    </a:lnTo>
                    <a:lnTo>
                      <a:pt x="122" y="59"/>
                    </a:lnTo>
                    <a:lnTo>
                      <a:pt x="118" y="181"/>
                    </a:lnTo>
                    <a:lnTo>
                      <a:pt x="112" y="369"/>
                    </a:lnTo>
                    <a:lnTo>
                      <a:pt x="2" y="303"/>
                    </a:lnTo>
                    <a:lnTo>
                      <a:pt x="0" y="11"/>
                    </a:lnTo>
                    <a:close/>
                  </a:path>
                </a:pathLst>
              </a:custGeom>
              <a:solidFill>
                <a:srgbClr val="74ADBA"/>
              </a:solidFill>
              <a:ln w="9525">
                <a:noFill/>
                <a:round/>
                <a:headEnd/>
                <a:tailEnd/>
              </a:ln>
            </p:spPr>
            <p:txBody>
              <a:bodyPr/>
              <a:lstStyle/>
              <a:p>
                <a:pPr defTabSz="912546"/>
                <a:endParaRPr>
                  <a:solidFill>
                    <a:srgbClr val="000000"/>
                  </a:solidFill>
                </a:endParaRPr>
              </a:p>
            </p:txBody>
          </p:sp>
          <p:sp>
            <p:nvSpPr>
              <p:cNvPr id="441940" name="Freeform 433"/>
              <p:cNvSpPr>
                <a:spLocks/>
              </p:cNvSpPr>
              <p:nvPr/>
            </p:nvSpPr>
            <p:spPr bwMode="gray">
              <a:xfrm>
                <a:off x="3806" y="1836"/>
                <a:ext cx="180" cy="144"/>
              </a:xfrm>
              <a:custGeom>
                <a:avLst/>
                <a:gdLst>
                  <a:gd name="T0" fmla="*/ 26 w 180"/>
                  <a:gd name="T1" fmla="*/ 144 h 144"/>
                  <a:gd name="T2" fmla="*/ 178 w 180"/>
                  <a:gd name="T3" fmla="*/ 138 h 144"/>
                  <a:gd name="T4" fmla="*/ 180 w 180"/>
                  <a:gd name="T5" fmla="*/ 0 h 144"/>
                  <a:gd name="T6" fmla="*/ 2 w 180"/>
                  <a:gd name="T7" fmla="*/ 10 h 144"/>
                  <a:gd name="T8" fmla="*/ 0 w 180"/>
                  <a:gd name="T9" fmla="*/ 142 h 144"/>
                  <a:gd name="T10" fmla="*/ 14 w 180"/>
                  <a:gd name="T11" fmla="*/ 142 h 144"/>
                  <a:gd name="T12" fmla="*/ 26 w 180"/>
                  <a:gd name="T13" fmla="*/ 144 h 144"/>
                  <a:gd name="T14" fmla="*/ 0 60000 65536"/>
                  <a:gd name="T15" fmla="*/ 0 60000 65536"/>
                  <a:gd name="T16" fmla="*/ 0 60000 65536"/>
                  <a:gd name="T17" fmla="*/ 0 60000 65536"/>
                  <a:gd name="T18" fmla="*/ 0 60000 65536"/>
                  <a:gd name="T19" fmla="*/ 0 60000 65536"/>
                  <a:gd name="T20" fmla="*/ 0 60000 65536"/>
                  <a:gd name="T21" fmla="*/ 0 w 180"/>
                  <a:gd name="T22" fmla="*/ 0 h 144"/>
                  <a:gd name="T23" fmla="*/ 180 w 180"/>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0" h="144">
                    <a:moveTo>
                      <a:pt x="26" y="144"/>
                    </a:moveTo>
                    <a:lnTo>
                      <a:pt x="178" y="138"/>
                    </a:lnTo>
                    <a:lnTo>
                      <a:pt x="180" y="0"/>
                    </a:lnTo>
                    <a:lnTo>
                      <a:pt x="2" y="10"/>
                    </a:lnTo>
                    <a:lnTo>
                      <a:pt x="0" y="142"/>
                    </a:lnTo>
                    <a:lnTo>
                      <a:pt x="14" y="142"/>
                    </a:lnTo>
                    <a:lnTo>
                      <a:pt x="26" y="144"/>
                    </a:lnTo>
                    <a:close/>
                  </a:path>
                </a:pathLst>
              </a:custGeom>
              <a:gradFill rotWithShape="1">
                <a:gsLst>
                  <a:gs pos="0">
                    <a:srgbClr val="749DA7"/>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264626" name="Freeform 434"/>
              <p:cNvSpPr>
                <a:spLocks/>
              </p:cNvSpPr>
              <p:nvPr/>
            </p:nvSpPr>
            <p:spPr bwMode="gray">
              <a:xfrm>
                <a:off x="3660" y="1771"/>
                <a:ext cx="322" cy="70"/>
              </a:xfrm>
              <a:custGeom>
                <a:avLst/>
                <a:gdLst/>
                <a:ahLst/>
                <a:cxnLst>
                  <a:cxn ang="0">
                    <a:pos x="2" y="24"/>
                  </a:cxn>
                  <a:cxn ang="0">
                    <a:pos x="68" y="12"/>
                  </a:cxn>
                  <a:cxn ang="0">
                    <a:pos x="134" y="70"/>
                  </a:cxn>
                  <a:cxn ang="0">
                    <a:pos x="330" y="62"/>
                  </a:cxn>
                  <a:cxn ang="0">
                    <a:pos x="242" y="0"/>
                  </a:cxn>
                  <a:cxn ang="0">
                    <a:pos x="68" y="4"/>
                  </a:cxn>
                  <a:cxn ang="0">
                    <a:pos x="0" y="18"/>
                  </a:cxn>
                  <a:cxn ang="0">
                    <a:pos x="2" y="24"/>
                  </a:cxn>
                </a:cxnLst>
                <a:rect l="0" t="0" r="r" b="b"/>
                <a:pathLst>
                  <a:path w="330" h="70">
                    <a:moveTo>
                      <a:pt x="2" y="24"/>
                    </a:moveTo>
                    <a:lnTo>
                      <a:pt x="68" y="12"/>
                    </a:lnTo>
                    <a:lnTo>
                      <a:pt x="134" y="70"/>
                    </a:lnTo>
                    <a:lnTo>
                      <a:pt x="330" y="62"/>
                    </a:lnTo>
                    <a:lnTo>
                      <a:pt x="242" y="0"/>
                    </a:lnTo>
                    <a:lnTo>
                      <a:pt x="68" y="4"/>
                    </a:lnTo>
                    <a:lnTo>
                      <a:pt x="0" y="18"/>
                    </a:lnTo>
                    <a:lnTo>
                      <a:pt x="2" y="24"/>
                    </a:lnTo>
                    <a:close/>
                  </a:path>
                </a:pathLst>
              </a:custGeom>
              <a:gradFill rotWithShape="1">
                <a:gsLst>
                  <a:gs pos="0">
                    <a:schemeClr val="bg2"/>
                  </a:gs>
                  <a:gs pos="100000">
                    <a:schemeClr val="bg2">
                      <a:gamma/>
                      <a:shade val="82353"/>
                      <a:invGamma/>
                    </a:schemeClr>
                  </a:gs>
                </a:gsLst>
                <a:lin ang="5400000" scaled="1"/>
              </a:gradFill>
              <a:ln w="9525">
                <a:noFill/>
                <a:round/>
                <a:headEnd/>
                <a:tailEnd/>
              </a:ln>
              <a:effectLst/>
            </p:spPr>
            <p:txBody>
              <a:bodyPr/>
              <a:lstStyle/>
              <a:p>
                <a:pPr defTabSz="912546">
                  <a:defRPr/>
                </a:pPr>
                <a:endParaRPr lang="en-US" dirty="0">
                  <a:solidFill>
                    <a:srgbClr val="000000"/>
                  </a:solidFill>
                </a:endParaRPr>
              </a:p>
            </p:txBody>
          </p:sp>
          <p:sp>
            <p:nvSpPr>
              <p:cNvPr id="441942" name="Freeform 435"/>
              <p:cNvSpPr>
                <a:spLocks/>
              </p:cNvSpPr>
              <p:nvPr/>
            </p:nvSpPr>
            <p:spPr bwMode="gray">
              <a:xfrm>
                <a:off x="3770" y="1702"/>
                <a:ext cx="25" cy="84"/>
              </a:xfrm>
              <a:custGeom>
                <a:avLst/>
                <a:gdLst>
                  <a:gd name="T0" fmla="*/ 0 w 25"/>
                  <a:gd name="T1" fmla="*/ 4 h 84"/>
                  <a:gd name="T2" fmla="*/ 2 w 25"/>
                  <a:gd name="T3" fmla="*/ 22 h 84"/>
                  <a:gd name="T4" fmla="*/ 2 w 25"/>
                  <a:gd name="T5" fmla="*/ 84 h 84"/>
                  <a:gd name="T6" fmla="*/ 24 w 25"/>
                  <a:gd name="T7" fmla="*/ 84 h 84"/>
                  <a:gd name="T8" fmla="*/ 22 w 25"/>
                  <a:gd name="T9" fmla="*/ 6 h 84"/>
                  <a:gd name="T10" fmla="*/ 0 w 25"/>
                  <a:gd name="T11" fmla="*/ 4 h 84"/>
                  <a:gd name="T12" fmla="*/ 0 60000 65536"/>
                  <a:gd name="T13" fmla="*/ 0 60000 65536"/>
                  <a:gd name="T14" fmla="*/ 0 60000 65536"/>
                  <a:gd name="T15" fmla="*/ 0 60000 65536"/>
                  <a:gd name="T16" fmla="*/ 0 60000 65536"/>
                  <a:gd name="T17" fmla="*/ 0 60000 65536"/>
                  <a:gd name="T18" fmla="*/ 0 w 25"/>
                  <a:gd name="T19" fmla="*/ 0 h 84"/>
                  <a:gd name="T20" fmla="*/ 25 w 25"/>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25" h="84">
                    <a:moveTo>
                      <a:pt x="0" y="4"/>
                    </a:moveTo>
                    <a:cubicBezTo>
                      <a:pt x="3" y="15"/>
                      <a:pt x="2" y="9"/>
                      <a:pt x="2" y="22"/>
                    </a:cubicBezTo>
                    <a:lnTo>
                      <a:pt x="2" y="84"/>
                    </a:lnTo>
                    <a:lnTo>
                      <a:pt x="24" y="84"/>
                    </a:lnTo>
                    <a:cubicBezTo>
                      <a:pt x="23" y="58"/>
                      <a:pt x="25" y="32"/>
                      <a:pt x="22" y="6"/>
                    </a:cubicBezTo>
                    <a:cubicBezTo>
                      <a:pt x="21" y="0"/>
                      <a:pt x="3" y="11"/>
                      <a:pt x="0" y="4"/>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43" name="Freeform 436"/>
              <p:cNvSpPr>
                <a:spLocks/>
              </p:cNvSpPr>
              <p:nvPr/>
            </p:nvSpPr>
            <p:spPr bwMode="gray">
              <a:xfrm>
                <a:off x="4129" y="1733"/>
                <a:ext cx="29" cy="159"/>
              </a:xfrm>
              <a:custGeom>
                <a:avLst/>
                <a:gdLst>
                  <a:gd name="T0" fmla="*/ 4 w 29"/>
                  <a:gd name="T1" fmla="*/ 11 h 159"/>
                  <a:gd name="T2" fmla="*/ 4 w 29"/>
                  <a:gd name="T3" fmla="*/ 159 h 159"/>
                  <a:gd name="T4" fmla="*/ 28 w 29"/>
                  <a:gd name="T5" fmla="*/ 159 h 159"/>
                  <a:gd name="T6" fmla="*/ 26 w 29"/>
                  <a:gd name="T7" fmla="*/ 13 h 159"/>
                  <a:gd name="T8" fmla="*/ 4 w 29"/>
                  <a:gd name="T9" fmla="*/ 11 h 159"/>
                  <a:gd name="T10" fmla="*/ 0 60000 65536"/>
                  <a:gd name="T11" fmla="*/ 0 60000 65536"/>
                  <a:gd name="T12" fmla="*/ 0 60000 65536"/>
                  <a:gd name="T13" fmla="*/ 0 60000 65536"/>
                  <a:gd name="T14" fmla="*/ 0 60000 65536"/>
                  <a:gd name="T15" fmla="*/ 0 w 29"/>
                  <a:gd name="T16" fmla="*/ 0 h 159"/>
                  <a:gd name="T17" fmla="*/ 29 w 29"/>
                  <a:gd name="T18" fmla="*/ 159 h 159"/>
                </a:gdLst>
                <a:ahLst/>
                <a:cxnLst>
                  <a:cxn ang="T10">
                    <a:pos x="T0" y="T1"/>
                  </a:cxn>
                  <a:cxn ang="T11">
                    <a:pos x="T2" y="T3"/>
                  </a:cxn>
                  <a:cxn ang="T12">
                    <a:pos x="T4" y="T5"/>
                  </a:cxn>
                  <a:cxn ang="T13">
                    <a:pos x="T6" y="T7"/>
                  </a:cxn>
                  <a:cxn ang="T14">
                    <a:pos x="T8" y="T9"/>
                  </a:cxn>
                </a:cxnLst>
                <a:rect l="T15" t="T16" r="T17" b="T18"/>
                <a:pathLst>
                  <a:path w="29" h="159">
                    <a:moveTo>
                      <a:pt x="4" y="11"/>
                    </a:moveTo>
                    <a:cubicBezTo>
                      <a:pt x="4" y="34"/>
                      <a:pt x="0" y="134"/>
                      <a:pt x="4" y="159"/>
                    </a:cubicBezTo>
                    <a:lnTo>
                      <a:pt x="28" y="159"/>
                    </a:lnTo>
                    <a:cubicBezTo>
                      <a:pt x="27" y="133"/>
                      <a:pt x="29" y="39"/>
                      <a:pt x="26" y="13"/>
                    </a:cubicBezTo>
                    <a:cubicBezTo>
                      <a:pt x="21" y="0"/>
                      <a:pt x="7" y="8"/>
                      <a:pt x="4" y="11"/>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44" name="Freeform 437"/>
              <p:cNvSpPr>
                <a:spLocks/>
              </p:cNvSpPr>
              <p:nvPr/>
            </p:nvSpPr>
            <p:spPr bwMode="gray">
              <a:xfrm>
                <a:off x="4230" y="1705"/>
                <a:ext cx="66" cy="189"/>
              </a:xfrm>
              <a:custGeom>
                <a:avLst/>
                <a:gdLst>
                  <a:gd name="T0" fmla="*/ 6 w 66"/>
                  <a:gd name="T1" fmla="*/ 25 h 189"/>
                  <a:gd name="T2" fmla="*/ 0 w 66"/>
                  <a:gd name="T3" fmla="*/ 173 h 189"/>
                  <a:gd name="T4" fmla="*/ 2 w 66"/>
                  <a:gd name="T5" fmla="*/ 181 h 189"/>
                  <a:gd name="T6" fmla="*/ 14 w 66"/>
                  <a:gd name="T7" fmla="*/ 187 h 189"/>
                  <a:gd name="T8" fmla="*/ 26 w 66"/>
                  <a:gd name="T9" fmla="*/ 189 h 189"/>
                  <a:gd name="T10" fmla="*/ 40 w 66"/>
                  <a:gd name="T11" fmla="*/ 189 h 189"/>
                  <a:gd name="T12" fmla="*/ 54 w 66"/>
                  <a:gd name="T13" fmla="*/ 185 h 189"/>
                  <a:gd name="T14" fmla="*/ 64 w 66"/>
                  <a:gd name="T15" fmla="*/ 181 h 189"/>
                  <a:gd name="T16" fmla="*/ 66 w 66"/>
                  <a:gd name="T17" fmla="*/ 21 h 189"/>
                  <a:gd name="T18" fmla="*/ 6 w 66"/>
                  <a:gd name="T19" fmla="*/ 25 h 1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89"/>
                  <a:gd name="T32" fmla="*/ 66 w 66"/>
                  <a:gd name="T33" fmla="*/ 189 h 1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89">
                    <a:moveTo>
                      <a:pt x="6" y="25"/>
                    </a:moveTo>
                    <a:lnTo>
                      <a:pt x="0" y="173"/>
                    </a:lnTo>
                    <a:lnTo>
                      <a:pt x="2" y="181"/>
                    </a:lnTo>
                    <a:lnTo>
                      <a:pt x="14" y="187"/>
                    </a:lnTo>
                    <a:lnTo>
                      <a:pt x="26" y="189"/>
                    </a:lnTo>
                    <a:lnTo>
                      <a:pt x="40" y="189"/>
                    </a:lnTo>
                    <a:lnTo>
                      <a:pt x="54" y="185"/>
                    </a:lnTo>
                    <a:lnTo>
                      <a:pt x="64" y="181"/>
                    </a:lnTo>
                    <a:cubicBezTo>
                      <a:pt x="63" y="155"/>
                      <a:pt x="66" y="43"/>
                      <a:pt x="66" y="21"/>
                    </a:cubicBezTo>
                    <a:cubicBezTo>
                      <a:pt x="44" y="11"/>
                      <a:pt x="17" y="0"/>
                      <a:pt x="6" y="25"/>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45" name="Freeform 438"/>
              <p:cNvSpPr>
                <a:spLocks/>
              </p:cNvSpPr>
              <p:nvPr/>
            </p:nvSpPr>
            <p:spPr bwMode="gray">
              <a:xfrm>
                <a:off x="3912" y="2160"/>
                <a:ext cx="548" cy="56"/>
              </a:xfrm>
              <a:custGeom>
                <a:avLst/>
                <a:gdLst>
                  <a:gd name="T0" fmla="*/ 0 w 548"/>
                  <a:gd name="T1" fmla="*/ 56 h 56"/>
                  <a:gd name="T2" fmla="*/ 546 w 548"/>
                  <a:gd name="T3" fmla="*/ 14 h 56"/>
                  <a:gd name="T4" fmla="*/ 548 w 548"/>
                  <a:gd name="T5" fmla="*/ 0 h 56"/>
                  <a:gd name="T6" fmla="*/ 2 w 548"/>
                  <a:gd name="T7" fmla="*/ 39 h 56"/>
                  <a:gd name="T8" fmla="*/ 0 w 548"/>
                  <a:gd name="T9" fmla="*/ 56 h 56"/>
                  <a:gd name="T10" fmla="*/ 0 60000 65536"/>
                  <a:gd name="T11" fmla="*/ 0 60000 65536"/>
                  <a:gd name="T12" fmla="*/ 0 60000 65536"/>
                  <a:gd name="T13" fmla="*/ 0 60000 65536"/>
                  <a:gd name="T14" fmla="*/ 0 60000 65536"/>
                  <a:gd name="T15" fmla="*/ 0 w 548"/>
                  <a:gd name="T16" fmla="*/ 0 h 56"/>
                  <a:gd name="T17" fmla="*/ 548 w 548"/>
                  <a:gd name="T18" fmla="*/ 56 h 56"/>
                </a:gdLst>
                <a:ahLst/>
                <a:cxnLst>
                  <a:cxn ang="T10">
                    <a:pos x="T0" y="T1"/>
                  </a:cxn>
                  <a:cxn ang="T11">
                    <a:pos x="T2" y="T3"/>
                  </a:cxn>
                  <a:cxn ang="T12">
                    <a:pos x="T4" y="T5"/>
                  </a:cxn>
                  <a:cxn ang="T13">
                    <a:pos x="T6" y="T7"/>
                  </a:cxn>
                  <a:cxn ang="T14">
                    <a:pos x="T8" y="T9"/>
                  </a:cxn>
                </a:cxnLst>
                <a:rect l="T15" t="T16" r="T17" b="T18"/>
                <a:pathLst>
                  <a:path w="548" h="56">
                    <a:moveTo>
                      <a:pt x="0" y="56"/>
                    </a:moveTo>
                    <a:lnTo>
                      <a:pt x="546" y="14"/>
                    </a:lnTo>
                    <a:lnTo>
                      <a:pt x="548" y="0"/>
                    </a:lnTo>
                    <a:lnTo>
                      <a:pt x="2" y="39"/>
                    </a:lnTo>
                    <a:lnTo>
                      <a:pt x="0" y="56"/>
                    </a:lnTo>
                    <a:close/>
                  </a:path>
                </a:pathLst>
              </a:custGeom>
              <a:solidFill>
                <a:srgbClr val="3B6A75"/>
              </a:solidFill>
              <a:ln w="9525">
                <a:noFill/>
                <a:round/>
                <a:headEnd/>
                <a:tailEnd/>
              </a:ln>
            </p:spPr>
            <p:txBody>
              <a:bodyPr/>
              <a:lstStyle/>
              <a:p>
                <a:pPr defTabSz="912546"/>
                <a:endParaRPr>
                  <a:solidFill>
                    <a:srgbClr val="000000"/>
                  </a:solidFill>
                </a:endParaRPr>
              </a:p>
            </p:txBody>
          </p:sp>
          <p:sp>
            <p:nvSpPr>
              <p:cNvPr id="441946" name="Freeform 439"/>
              <p:cNvSpPr>
                <a:spLocks/>
              </p:cNvSpPr>
              <p:nvPr/>
            </p:nvSpPr>
            <p:spPr bwMode="gray">
              <a:xfrm>
                <a:off x="4458" y="2012"/>
                <a:ext cx="50" cy="190"/>
              </a:xfrm>
              <a:custGeom>
                <a:avLst/>
                <a:gdLst>
                  <a:gd name="T0" fmla="*/ 50 w 50"/>
                  <a:gd name="T1" fmla="*/ 20 h 190"/>
                  <a:gd name="T2" fmla="*/ 40 w 50"/>
                  <a:gd name="T3" fmla="*/ 190 h 190"/>
                  <a:gd name="T4" fmla="*/ 0 w 50"/>
                  <a:gd name="T5" fmla="*/ 162 h 190"/>
                  <a:gd name="T6" fmla="*/ 6 w 50"/>
                  <a:gd name="T7" fmla="*/ 0 h 190"/>
                  <a:gd name="T8" fmla="*/ 50 w 50"/>
                  <a:gd name="T9" fmla="*/ 20 h 190"/>
                  <a:gd name="T10" fmla="*/ 0 60000 65536"/>
                  <a:gd name="T11" fmla="*/ 0 60000 65536"/>
                  <a:gd name="T12" fmla="*/ 0 60000 65536"/>
                  <a:gd name="T13" fmla="*/ 0 60000 65536"/>
                  <a:gd name="T14" fmla="*/ 0 60000 65536"/>
                  <a:gd name="T15" fmla="*/ 0 w 50"/>
                  <a:gd name="T16" fmla="*/ 0 h 190"/>
                  <a:gd name="T17" fmla="*/ 50 w 50"/>
                  <a:gd name="T18" fmla="*/ 190 h 190"/>
                </a:gdLst>
                <a:ahLst/>
                <a:cxnLst>
                  <a:cxn ang="T10">
                    <a:pos x="T0" y="T1"/>
                  </a:cxn>
                  <a:cxn ang="T11">
                    <a:pos x="T2" y="T3"/>
                  </a:cxn>
                  <a:cxn ang="T12">
                    <a:pos x="T4" y="T5"/>
                  </a:cxn>
                  <a:cxn ang="T13">
                    <a:pos x="T6" y="T7"/>
                  </a:cxn>
                  <a:cxn ang="T14">
                    <a:pos x="T8" y="T9"/>
                  </a:cxn>
                </a:cxnLst>
                <a:rect l="T15" t="T16" r="T17" b="T18"/>
                <a:pathLst>
                  <a:path w="50" h="190">
                    <a:moveTo>
                      <a:pt x="50" y="20"/>
                    </a:moveTo>
                    <a:lnTo>
                      <a:pt x="40" y="190"/>
                    </a:lnTo>
                    <a:lnTo>
                      <a:pt x="0" y="162"/>
                    </a:lnTo>
                    <a:lnTo>
                      <a:pt x="6" y="0"/>
                    </a:lnTo>
                    <a:lnTo>
                      <a:pt x="50" y="20"/>
                    </a:lnTo>
                    <a:close/>
                  </a:path>
                </a:pathLst>
              </a:custGeom>
              <a:solidFill>
                <a:srgbClr val="74ADBA"/>
              </a:solidFill>
              <a:ln w="9525">
                <a:noFill/>
                <a:round/>
                <a:headEnd/>
                <a:tailEnd/>
              </a:ln>
            </p:spPr>
            <p:txBody>
              <a:bodyPr/>
              <a:lstStyle/>
              <a:p>
                <a:pPr defTabSz="912546"/>
                <a:endParaRPr>
                  <a:solidFill>
                    <a:srgbClr val="000000"/>
                  </a:solidFill>
                </a:endParaRPr>
              </a:p>
            </p:txBody>
          </p:sp>
          <p:sp>
            <p:nvSpPr>
              <p:cNvPr id="441947" name="Freeform 440"/>
              <p:cNvSpPr>
                <a:spLocks/>
              </p:cNvSpPr>
              <p:nvPr/>
            </p:nvSpPr>
            <p:spPr bwMode="gray">
              <a:xfrm>
                <a:off x="4496" y="2022"/>
                <a:ext cx="190" cy="178"/>
              </a:xfrm>
              <a:custGeom>
                <a:avLst/>
                <a:gdLst>
                  <a:gd name="T0" fmla="*/ 172 w 190"/>
                  <a:gd name="T1" fmla="*/ 161 h 178"/>
                  <a:gd name="T2" fmla="*/ 190 w 190"/>
                  <a:gd name="T3" fmla="*/ 0 h 178"/>
                  <a:gd name="T4" fmla="*/ 12 w 190"/>
                  <a:gd name="T5" fmla="*/ 10 h 178"/>
                  <a:gd name="T6" fmla="*/ 0 w 190"/>
                  <a:gd name="T7" fmla="*/ 178 h 178"/>
                  <a:gd name="T8" fmla="*/ 172 w 190"/>
                  <a:gd name="T9" fmla="*/ 161 h 178"/>
                  <a:gd name="T10" fmla="*/ 0 60000 65536"/>
                  <a:gd name="T11" fmla="*/ 0 60000 65536"/>
                  <a:gd name="T12" fmla="*/ 0 60000 65536"/>
                  <a:gd name="T13" fmla="*/ 0 60000 65536"/>
                  <a:gd name="T14" fmla="*/ 0 60000 65536"/>
                  <a:gd name="T15" fmla="*/ 0 w 190"/>
                  <a:gd name="T16" fmla="*/ 0 h 178"/>
                  <a:gd name="T17" fmla="*/ 190 w 190"/>
                  <a:gd name="T18" fmla="*/ 178 h 178"/>
                </a:gdLst>
                <a:ahLst/>
                <a:cxnLst>
                  <a:cxn ang="T10">
                    <a:pos x="T0" y="T1"/>
                  </a:cxn>
                  <a:cxn ang="T11">
                    <a:pos x="T2" y="T3"/>
                  </a:cxn>
                  <a:cxn ang="T12">
                    <a:pos x="T4" y="T5"/>
                  </a:cxn>
                  <a:cxn ang="T13">
                    <a:pos x="T6" y="T7"/>
                  </a:cxn>
                  <a:cxn ang="T14">
                    <a:pos x="T8" y="T9"/>
                  </a:cxn>
                </a:cxnLst>
                <a:rect l="T15" t="T16" r="T17" b="T18"/>
                <a:pathLst>
                  <a:path w="190" h="178">
                    <a:moveTo>
                      <a:pt x="172" y="161"/>
                    </a:moveTo>
                    <a:lnTo>
                      <a:pt x="190" y="0"/>
                    </a:lnTo>
                    <a:lnTo>
                      <a:pt x="12" y="10"/>
                    </a:lnTo>
                    <a:lnTo>
                      <a:pt x="0" y="178"/>
                    </a:lnTo>
                    <a:lnTo>
                      <a:pt x="172" y="161"/>
                    </a:lnTo>
                    <a:close/>
                  </a:path>
                </a:pathLst>
              </a:custGeom>
              <a:gradFill rotWithShape="1">
                <a:gsLst>
                  <a:gs pos="0">
                    <a:srgbClr val="749DA7"/>
                  </a:gs>
                  <a:gs pos="100000">
                    <a:srgbClr val="447B88"/>
                  </a:gs>
                </a:gsLst>
                <a:lin ang="5400000" scaled="1"/>
              </a:gradFill>
              <a:ln w="9525">
                <a:noFill/>
                <a:round/>
                <a:headEnd/>
                <a:tailEnd/>
              </a:ln>
            </p:spPr>
            <p:txBody>
              <a:bodyPr/>
              <a:lstStyle/>
              <a:p>
                <a:pPr defTabSz="912546"/>
                <a:endParaRPr>
                  <a:solidFill>
                    <a:srgbClr val="000000"/>
                  </a:solidFill>
                </a:endParaRPr>
              </a:p>
            </p:txBody>
          </p:sp>
          <p:sp>
            <p:nvSpPr>
              <p:cNvPr id="441948" name="Freeform 441"/>
              <p:cNvSpPr>
                <a:spLocks/>
              </p:cNvSpPr>
              <p:nvPr/>
            </p:nvSpPr>
            <p:spPr bwMode="gray">
              <a:xfrm>
                <a:off x="4466" y="2002"/>
                <a:ext cx="224" cy="32"/>
              </a:xfrm>
              <a:custGeom>
                <a:avLst/>
                <a:gdLst>
                  <a:gd name="T0" fmla="*/ 0 w 224"/>
                  <a:gd name="T1" fmla="*/ 10 h 32"/>
                  <a:gd name="T2" fmla="*/ 42 w 224"/>
                  <a:gd name="T3" fmla="*/ 32 h 32"/>
                  <a:gd name="T4" fmla="*/ 224 w 224"/>
                  <a:gd name="T5" fmla="*/ 24 h 32"/>
                  <a:gd name="T6" fmla="*/ 176 w 224"/>
                  <a:gd name="T7" fmla="*/ 0 h 32"/>
                  <a:gd name="T8" fmla="*/ 2 w 224"/>
                  <a:gd name="T9" fmla="*/ 10 h 32"/>
                  <a:gd name="T10" fmla="*/ 0 w 224"/>
                  <a:gd name="T11" fmla="*/ 10 h 32"/>
                  <a:gd name="T12" fmla="*/ 0 60000 65536"/>
                  <a:gd name="T13" fmla="*/ 0 60000 65536"/>
                  <a:gd name="T14" fmla="*/ 0 60000 65536"/>
                  <a:gd name="T15" fmla="*/ 0 60000 65536"/>
                  <a:gd name="T16" fmla="*/ 0 60000 65536"/>
                  <a:gd name="T17" fmla="*/ 0 60000 65536"/>
                  <a:gd name="T18" fmla="*/ 0 w 224"/>
                  <a:gd name="T19" fmla="*/ 0 h 32"/>
                  <a:gd name="T20" fmla="*/ 224 w 2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24" h="32">
                    <a:moveTo>
                      <a:pt x="0" y="10"/>
                    </a:moveTo>
                    <a:lnTo>
                      <a:pt x="42" y="32"/>
                    </a:lnTo>
                    <a:lnTo>
                      <a:pt x="224" y="24"/>
                    </a:lnTo>
                    <a:lnTo>
                      <a:pt x="176" y="0"/>
                    </a:lnTo>
                    <a:lnTo>
                      <a:pt x="2" y="10"/>
                    </a:lnTo>
                    <a:lnTo>
                      <a:pt x="0" y="1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49" name="Freeform 442"/>
              <p:cNvSpPr>
                <a:spLocks/>
              </p:cNvSpPr>
              <p:nvPr/>
            </p:nvSpPr>
            <p:spPr bwMode="gray">
              <a:xfrm>
                <a:off x="4236" y="1712"/>
                <a:ext cx="59" cy="23"/>
              </a:xfrm>
              <a:custGeom>
                <a:avLst/>
                <a:gdLst>
                  <a:gd name="T0" fmla="*/ 2 w 59"/>
                  <a:gd name="T1" fmla="*/ 12 h 23"/>
                  <a:gd name="T2" fmla="*/ 57 w 59"/>
                  <a:gd name="T3" fmla="*/ 12 h 23"/>
                  <a:gd name="T4" fmla="*/ 2 w 59"/>
                  <a:gd name="T5" fmla="*/ 12 h 23"/>
                  <a:gd name="T6" fmla="*/ 0 60000 65536"/>
                  <a:gd name="T7" fmla="*/ 0 60000 65536"/>
                  <a:gd name="T8" fmla="*/ 0 60000 65536"/>
                  <a:gd name="T9" fmla="*/ 0 w 59"/>
                  <a:gd name="T10" fmla="*/ 0 h 23"/>
                  <a:gd name="T11" fmla="*/ 59 w 59"/>
                  <a:gd name="T12" fmla="*/ 23 h 23"/>
                </a:gdLst>
                <a:ahLst/>
                <a:cxnLst>
                  <a:cxn ang="T6">
                    <a:pos x="T0" y="T1"/>
                  </a:cxn>
                  <a:cxn ang="T7">
                    <a:pos x="T2" y="T3"/>
                  </a:cxn>
                  <a:cxn ang="T8">
                    <a:pos x="T4" y="T5"/>
                  </a:cxn>
                </a:cxnLst>
                <a:rect l="T9" t="T10" r="T11" b="T12"/>
                <a:pathLst>
                  <a:path w="59" h="23">
                    <a:moveTo>
                      <a:pt x="2" y="12"/>
                    </a:moveTo>
                    <a:cubicBezTo>
                      <a:pt x="0" y="21"/>
                      <a:pt x="59" y="23"/>
                      <a:pt x="57" y="12"/>
                    </a:cubicBezTo>
                    <a:cubicBezTo>
                      <a:pt x="57" y="0"/>
                      <a:pt x="0" y="1"/>
                      <a:pt x="2" y="12"/>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0" name="Freeform 443"/>
              <p:cNvSpPr>
                <a:spLocks/>
              </p:cNvSpPr>
              <p:nvPr/>
            </p:nvSpPr>
            <p:spPr bwMode="gray">
              <a:xfrm>
                <a:off x="4550" y="1803"/>
                <a:ext cx="45" cy="195"/>
              </a:xfrm>
              <a:custGeom>
                <a:avLst/>
                <a:gdLst>
                  <a:gd name="T0" fmla="*/ 14 w 45"/>
                  <a:gd name="T1" fmla="*/ 13 h 195"/>
                  <a:gd name="T2" fmla="*/ 3 w 45"/>
                  <a:gd name="T3" fmla="*/ 195 h 195"/>
                  <a:gd name="T4" fmla="*/ 30 w 45"/>
                  <a:gd name="T5" fmla="*/ 194 h 195"/>
                  <a:gd name="T6" fmla="*/ 42 w 45"/>
                  <a:gd name="T7" fmla="*/ 13 h 195"/>
                  <a:gd name="T8" fmla="*/ 14 w 45"/>
                  <a:gd name="T9" fmla="*/ 13 h 195"/>
                  <a:gd name="T10" fmla="*/ 0 60000 65536"/>
                  <a:gd name="T11" fmla="*/ 0 60000 65536"/>
                  <a:gd name="T12" fmla="*/ 0 60000 65536"/>
                  <a:gd name="T13" fmla="*/ 0 60000 65536"/>
                  <a:gd name="T14" fmla="*/ 0 60000 65536"/>
                  <a:gd name="T15" fmla="*/ 0 w 45"/>
                  <a:gd name="T16" fmla="*/ 0 h 195"/>
                  <a:gd name="T17" fmla="*/ 45 w 45"/>
                  <a:gd name="T18" fmla="*/ 195 h 195"/>
                </a:gdLst>
                <a:ahLst/>
                <a:cxnLst>
                  <a:cxn ang="T10">
                    <a:pos x="T0" y="T1"/>
                  </a:cxn>
                  <a:cxn ang="T11">
                    <a:pos x="T2" y="T3"/>
                  </a:cxn>
                  <a:cxn ang="T12">
                    <a:pos x="T4" y="T5"/>
                  </a:cxn>
                  <a:cxn ang="T13">
                    <a:pos x="T6" y="T7"/>
                  </a:cxn>
                  <a:cxn ang="T14">
                    <a:pos x="T8" y="T9"/>
                  </a:cxn>
                </a:cxnLst>
                <a:rect l="T15" t="T16" r="T17" b="T18"/>
                <a:pathLst>
                  <a:path w="45" h="195">
                    <a:moveTo>
                      <a:pt x="14" y="13"/>
                    </a:moveTo>
                    <a:cubicBezTo>
                      <a:pt x="14" y="36"/>
                      <a:pt x="0" y="153"/>
                      <a:pt x="3" y="195"/>
                    </a:cubicBezTo>
                    <a:lnTo>
                      <a:pt x="30" y="194"/>
                    </a:lnTo>
                    <a:cubicBezTo>
                      <a:pt x="29" y="168"/>
                      <a:pt x="45" y="39"/>
                      <a:pt x="42" y="13"/>
                    </a:cubicBezTo>
                    <a:cubicBezTo>
                      <a:pt x="27" y="0"/>
                      <a:pt x="17" y="10"/>
                      <a:pt x="14" y="13"/>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51" name="Freeform 444"/>
              <p:cNvSpPr>
                <a:spLocks/>
              </p:cNvSpPr>
              <p:nvPr/>
            </p:nvSpPr>
            <p:spPr bwMode="gray">
              <a:xfrm>
                <a:off x="4566" y="1809"/>
                <a:ext cx="29" cy="15"/>
              </a:xfrm>
              <a:custGeom>
                <a:avLst/>
                <a:gdLst>
                  <a:gd name="T0" fmla="*/ 0 w 29"/>
                  <a:gd name="T1" fmla="*/ 8 h 15"/>
                  <a:gd name="T2" fmla="*/ 29 w 29"/>
                  <a:gd name="T3" fmla="*/ 9 h 15"/>
                  <a:gd name="T4" fmla="*/ 0 w 29"/>
                  <a:gd name="T5" fmla="*/ 8 h 15"/>
                  <a:gd name="T6" fmla="*/ 0 60000 65536"/>
                  <a:gd name="T7" fmla="*/ 0 60000 65536"/>
                  <a:gd name="T8" fmla="*/ 0 60000 65536"/>
                  <a:gd name="T9" fmla="*/ 0 w 29"/>
                  <a:gd name="T10" fmla="*/ 0 h 15"/>
                  <a:gd name="T11" fmla="*/ 29 w 29"/>
                  <a:gd name="T12" fmla="*/ 15 h 15"/>
                </a:gdLst>
                <a:ahLst/>
                <a:cxnLst>
                  <a:cxn ang="T6">
                    <a:pos x="T0" y="T1"/>
                  </a:cxn>
                  <a:cxn ang="T7">
                    <a:pos x="T2" y="T3"/>
                  </a:cxn>
                  <a:cxn ang="T8">
                    <a:pos x="T4" y="T5"/>
                  </a:cxn>
                </a:cxnLst>
                <a:rect l="T9" t="T10" r="T11" b="T12"/>
                <a:pathLst>
                  <a:path w="29" h="15">
                    <a:moveTo>
                      <a:pt x="0" y="8"/>
                    </a:moveTo>
                    <a:cubicBezTo>
                      <a:pt x="2" y="14"/>
                      <a:pt x="29" y="15"/>
                      <a:pt x="29" y="9"/>
                    </a:cubicBezTo>
                    <a:cubicBezTo>
                      <a:pt x="29" y="0"/>
                      <a:pt x="2" y="0"/>
                      <a:pt x="0" y="8"/>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2" name="Freeform 445"/>
              <p:cNvSpPr>
                <a:spLocks/>
              </p:cNvSpPr>
              <p:nvPr/>
            </p:nvSpPr>
            <p:spPr bwMode="gray">
              <a:xfrm>
                <a:off x="4133" y="1739"/>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3" name="Freeform 446"/>
              <p:cNvSpPr>
                <a:spLocks/>
              </p:cNvSpPr>
              <p:nvPr/>
            </p:nvSpPr>
            <p:spPr bwMode="gray">
              <a:xfrm>
                <a:off x="3772" y="1700"/>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4" name="Freeform 447"/>
              <p:cNvSpPr>
                <a:spLocks/>
              </p:cNvSpPr>
              <p:nvPr/>
            </p:nvSpPr>
            <p:spPr bwMode="gray">
              <a:xfrm>
                <a:off x="4469" y="1813"/>
                <a:ext cx="58" cy="167"/>
              </a:xfrm>
              <a:custGeom>
                <a:avLst/>
                <a:gdLst>
                  <a:gd name="T0" fmla="*/ 4 w 66"/>
                  <a:gd name="T1" fmla="*/ 4 h 189"/>
                  <a:gd name="T2" fmla="*/ 0 w 66"/>
                  <a:gd name="T3" fmla="*/ 34 h 189"/>
                  <a:gd name="T4" fmla="*/ 2 w 66"/>
                  <a:gd name="T5" fmla="*/ 36 h 189"/>
                  <a:gd name="T6" fmla="*/ 4 w 66"/>
                  <a:gd name="T7" fmla="*/ 38 h 189"/>
                  <a:gd name="T8" fmla="*/ 5 w 66"/>
                  <a:gd name="T9" fmla="*/ 38 h 189"/>
                  <a:gd name="T10" fmla="*/ 8 w 66"/>
                  <a:gd name="T11" fmla="*/ 38 h 189"/>
                  <a:gd name="T12" fmla="*/ 10 w 66"/>
                  <a:gd name="T13" fmla="*/ 37 h 189"/>
                  <a:gd name="T14" fmla="*/ 11 w 66"/>
                  <a:gd name="T15" fmla="*/ 36 h 189"/>
                  <a:gd name="T16" fmla="*/ 12 w 66"/>
                  <a:gd name="T17" fmla="*/ 4 h 189"/>
                  <a:gd name="T18" fmla="*/ 4 w 66"/>
                  <a:gd name="T19" fmla="*/ 4 h 1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6"/>
                  <a:gd name="T31" fmla="*/ 0 h 189"/>
                  <a:gd name="T32" fmla="*/ 66 w 66"/>
                  <a:gd name="T33" fmla="*/ 189 h 1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6" h="189">
                    <a:moveTo>
                      <a:pt x="6" y="25"/>
                    </a:moveTo>
                    <a:lnTo>
                      <a:pt x="0" y="173"/>
                    </a:lnTo>
                    <a:lnTo>
                      <a:pt x="2" y="181"/>
                    </a:lnTo>
                    <a:lnTo>
                      <a:pt x="14" y="187"/>
                    </a:lnTo>
                    <a:lnTo>
                      <a:pt x="26" y="189"/>
                    </a:lnTo>
                    <a:lnTo>
                      <a:pt x="40" y="189"/>
                    </a:lnTo>
                    <a:lnTo>
                      <a:pt x="54" y="185"/>
                    </a:lnTo>
                    <a:lnTo>
                      <a:pt x="64" y="181"/>
                    </a:lnTo>
                    <a:cubicBezTo>
                      <a:pt x="63" y="155"/>
                      <a:pt x="66" y="43"/>
                      <a:pt x="66" y="21"/>
                    </a:cubicBezTo>
                    <a:cubicBezTo>
                      <a:pt x="44" y="11"/>
                      <a:pt x="17" y="0"/>
                      <a:pt x="6" y="25"/>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55" name="Freeform 448"/>
              <p:cNvSpPr>
                <a:spLocks/>
              </p:cNvSpPr>
              <p:nvPr/>
            </p:nvSpPr>
            <p:spPr bwMode="gray">
              <a:xfrm>
                <a:off x="4474" y="1818"/>
                <a:ext cx="56" cy="23"/>
              </a:xfrm>
              <a:custGeom>
                <a:avLst/>
                <a:gdLst>
                  <a:gd name="T0" fmla="*/ 2 w 56"/>
                  <a:gd name="T1" fmla="*/ 13 h 23"/>
                  <a:gd name="T2" fmla="*/ 54 w 56"/>
                  <a:gd name="T3" fmla="*/ 12 h 23"/>
                  <a:gd name="T4" fmla="*/ 2 w 56"/>
                  <a:gd name="T5" fmla="*/ 13 h 23"/>
                  <a:gd name="T6" fmla="*/ 0 60000 65536"/>
                  <a:gd name="T7" fmla="*/ 0 60000 65536"/>
                  <a:gd name="T8" fmla="*/ 0 60000 65536"/>
                  <a:gd name="T9" fmla="*/ 0 w 56"/>
                  <a:gd name="T10" fmla="*/ 0 h 23"/>
                  <a:gd name="T11" fmla="*/ 56 w 56"/>
                  <a:gd name="T12" fmla="*/ 23 h 23"/>
                </a:gdLst>
                <a:ahLst/>
                <a:cxnLst>
                  <a:cxn ang="T6">
                    <a:pos x="T0" y="T1"/>
                  </a:cxn>
                  <a:cxn ang="T7">
                    <a:pos x="T2" y="T3"/>
                  </a:cxn>
                  <a:cxn ang="T8">
                    <a:pos x="T4" y="T5"/>
                  </a:cxn>
                </a:cxnLst>
                <a:rect l="T9" t="T10" r="T11" b="T12"/>
                <a:pathLst>
                  <a:path w="56" h="23">
                    <a:moveTo>
                      <a:pt x="2" y="13"/>
                    </a:moveTo>
                    <a:cubicBezTo>
                      <a:pt x="0" y="22"/>
                      <a:pt x="56" y="23"/>
                      <a:pt x="54" y="12"/>
                    </a:cubicBezTo>
                    <a:cubicBezTo>
                      <a:pt x="54" y="0"/>
                      <a:pt x="0" y="2"/>
                      <a:pt x="2" y="13"/>
                    </a:cubicBez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6" name="Freeform 449"/>
              <p:cNvSpPr>
                <a:spLocks/>
              </p:cNvSpPr>
              <p:nvPr/>
            </p:nvSpPr>
            <p:spPr bwMode="gray">
              <a:xfrm>
                <a:off x="3962" y="2145"/>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7" name="Freeform 450"/>
              <p:cNvSpPr>
                <a:spLocks/>
              </p:cNvSpPr>
              <p:nvPr/>
            </p:nvSpPr>
            <p:spPr bwMode="gray">
              <a:xfrm>
                <a:off x="4058" y="2138"/>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8" name="Freeform 451"/>
              <p:cNvSpPr>
                <a:spLocks/>
              </p:cNvSpPr>
              <p:nvPr/>
            </p:nvSpPr>
            <p:spPr bwMode="gray">
              <a:xfrm>
                <a:off x="4154" y="2131"/>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59" name="Freeform 452"/>
              <p:cNvSpPr>
                <a:spLocks/>
              </p:cNvSpPr>
              <p:nvPr/>
            </p:nvSpPr>
            <p:spPr bwMode="gray">
              <a:xfrm>
                <a:off x="4250" y="2124"/>
                <a:ext cx="48" cy="51"/>
              </a:xfrm>
              <a:custGeom>
                <a:avLst/>
                <a:gdLst>
                  <a:gd name="T0" fmla="*/ 0 w 48"/>
                  <a:gd name="T1" fmla="*/ 51 h 51"/>
                  <a:gd name="T2" fmla="*/ 45 w 48"/>
                  <a:gd name="T3" fmla="*/ 48 h 51"/>
                  <a:gd name="T4" fmla="*/ 48 w 48"/>
                  <a:gd name="T5" fmla="*/ 0 h 51"/>
                  <a:gd name="T6" fmla="*/ 3 w 48"/>
                  <a:gd name="T7" fmla="*/ 3 h 51"/>
                  <a:gd name="T8" fmla="*/ 0 w 48"/>
                  <a:gd name="T9" fmla="*/ 51 h 51"/>
                  <a:gd name="T10" fmla="*/ 0 60000 65536"/>
                  <a:gd name="T11" fmla="*/ 0 60000 65536"/>
                  <a:gd name="T12" fmla="*/ 0 60000 65536"/>
                  <a:gd name="T13" fmla="*/ 0 60000 65536"/>
                  <a:gd name="T14" fmla="*/ 0 60000 65536"/>
                  <a:gd name="T15" fmla="*/ 0 w 48"/>
                  <a:gd name="T16" fmla="*/ 0 h 51"/>
                  <a:gd name="T17" fmla="*/ 48 w 48"/>
                  <a:gd name="T18" fmla="*/ 51 h 51"/>
                </a:gdLst>
                <a:ahLst/>
                <a:cxnLst>
                  <a:cxn ang="T10">
                    <a:pos x="T0" y="T1"/>
                  </a:cxn>
                  <a:cxn ang="T11">
                    <a:pos x="T2" y="T3"/>
                  </a:cxn>
                  <a:cxn ang="T12">
                    <a:pos x="T4" y="T5"/>
                  </a:cxn>
                  <a:cxn ang="T13">
                    <a:pos x="T6" y="T7"/>
                  </a:cxn>
                  <a:cxn ang="T14">
                    <a:pos x="T8" y="T9"/>
                  </a:cxn>
                </a:cxnLst>
                <a:rect l="T15" t="T16" r="T17" b="T18"/>
                <a:pathLst>
                  <a:path w="48" h="51">
                    <a:moveTo>
                      <a:pt x="0" y="51"/>
                    </a:moveTo>
                    <a:lnTo>
                      <a:pt x="45" y="48"/>
                    </a:lnTo>
                    <a:lnTo>
                      <a:pt x="48" y="0"/>
                    </a:lnTo>
                    <a:lnTo>
                      <a:pt x="3" y="3"/>
                    </a:lnTo>
                    <a:lnTo>
                      <a:pt x="0" y="51"/>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60" name="Freeform 453"/>
              <p:cNvSpPr>
                <a:spLocks/>
              </p:cNvSpPr>
              <p:nvPr/>
            </p:nvSpPr>
            <p:spPr bwMode="gray">
              <a:xfrm>
                <a:off x="4346" y="2120"/>
                <a:ext cx="45" cy="48"/>
              </a:xfrm>
              <a:custGeom>
                <a:avLst/>
                <a:gdLst>
                  <a:gd name="T0" fmla="*/ 0 w 45"/>
                  <a:gd name="T1" fmla="*/ 48 h 48"/>
                  <a:gd name="T2" fmla="*/ 43 w 45"/>
                  <a:gd name="T3" fmla="*/ 45 h 48"/>
                  <a:gd name="T4" fmla="*/ 45 w 45"/>
                  <a:gd name="T5" fmla="*/ 0 h 48"/>
                  <a:gd name="T6" fmla="*/ 3 w 45"/>
                  <a:gd name="T7" fmla="*/ 3 h 48"/>
                  <a:gd name="T8" fmla="*/ 0 w 45"/>
                  <a:gd name="T9" fmla="*/ 48 h 48"/>
                  <a:gd name="T10" fmla="*/ 0 60000 65536"/>
                  <a:gd name="T11" fmla="*/ 0 60000 65536"/>
                  <a:gd name="T12" fmla="*/ 0 60000 65536"/>
                  <a:gd name="T13" fmla="*/ 0 60000 65536"/>
                  <a:gd name="T14" fmla="*/ 0 60000 65536"/>
                  <a:gd name="T15" fmla="*/ 0 w 45"/>
                  <a:gd name="T16" fmla="*/ 0 h 48"/>
                  <a:gd name="T17" fmla="*/ 45 w 45"/>
                  <a:gd name="T18" fmla="*/ 48 h 48"/>
                </a:gdLst>
                <a:ahLst/>
                <a:cxnLst>
                  <a:cxn ang="T10">
                    <a:pos x="T0" y="T1"/>
                  </a:cxn>
                  <a:cxn ang="T11">
                    <a:pos x="T2" y="T3"/>
                  </a:cxn>
                  <a:cxn ang="T12">
                    <a:pos x="T4" y="T5"/>
                  </a:cxn>
                  <a:cxn ang="T13">
                    <a:pos x="T6" y="T7"/>
                  </a:cxn>
                  <a:cxn ang="T14">
                    <a:pos x="T8" y="T9"/>
                  </a:cxn>
                </a:cxnLst>
                <a:rect l="T15" t="T16" r="T17" b="T18"/>
                <a:pathLst>
                  <a:path w="45" h="48">
                    <a:moveTo>
                      <a:pt x="0" y="48"/>
                    </a:moveTo>
                    <a:lnTo>
                      <a:pt x="43" y="45"/>
                    </a:lnTo>
                    <a:lnTo>
                      <a:pt x="45" y="0"/>
                    </a:lnTo>
                    <a:lnTo>
                      <a:pt x="3" y="3"/>
                    </a:lnTo>
                    <a:lnTo>
                      <a:pt x="0" y="48"/>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61" name="Freeform 454"/>
              <p:cNvSpPr>
                <a:spLocks/>
              </p:cNvSpPr>
              <p:nvPr/>
            </p:nvSpPr>
            <p:spPr bwMode="gray">
              <a:xfrm>
                <a:off x="4522" y="2055"/>
                <a:ext cx="65" cy="14"/>
              </a:xfrm>
              <a:custGeom>
                <a:avLst/>
                <a:gdLst>
                  <a:gd name="T0" fmla="*/ 0 w 65"/>
                  <a:gd name="T1" fmla="*/ 14 h 14"/>
                  <a:gd name="T2" fmla="*/ 65 w 65"/>
                  <a:gd name="T3" fmla="*/ 12 h 14"/>
                  <a:gd name="T4" fmla="*/ 65 w 65"/>
                  <a:gd name="T5" fmla="*/ 0 h 14"/>
                  <a:gd name="T6" fmla="*/ 0 w 65"/>
                  <a:gd name="T7" fmla="*/ 1 h 14"/>
                  <a:gd name="T8" fmla="*/ 0 w 65"/>
                  <a:gd name="T9" fmla="*/ 14 h 14"/>
                  <a:gd name="T10" fmla="*/ 0 60000 65536"/>
                  <a:gd name="T11" fmla="*/ 0 60000 65536"/>
                  <a:gd name="T12" fmla="*/ 0 60000 65536"/>
                  <a:gd name="T13" fmla="*/ 0 60000 65536"/>
                  <a:gd name="T14" fmla="*/ 0 60000 65536"/>
                  <a:gd name="T15" fmla="*/ 0 w 65"/>
                  <a:gd name="T16" fmla="*/ 0 h 14"/>
                  <a:gd name="T17" fmla="*/ 65 w 65"/>
                  <a:gd name="T18" fmla="*/ 14 h 14"/>
                </a:gdLst>
                <a:ahLst/>
                <a:cxnLst>
                  <a:cxn ang="T10">
                    <a:pos x="T0" y="T1"/>
                  </a:cxn>
                  <a:cxn ang="T11">
                    <a:pos x="T2" y="T3"/>
                  </a:cxn>
                  <a:cxn ang="T12">
                    <a:pos x="T4" y="T5"/>
                  </a:cxn>
                  <a:cxn ang="T13">
                    <a:pos x="T6" y="T7"/>
                  </a:cxn>
                  <a:cxn ang="T14">
                    <a:pos x="T8" y="T9"/>
                  </a:cxn>
                </a:cxnLst>
                <a:rect l="T15" t="T16" r="T17" b="T18"/>
                <a:pathLst>
                  <a:path w="65" h="14">
                    <a:moveTo>
                      <a:pt x="0" y="14"/>
                    </a:moveTo>
                    <a:lnTo>
                      <a:pt x="65" y="12"/>
                    </a:lnTo>
                    <a:lnTo>
                      <a:pt x="65" y="0"/>
                    </a:lnTo>
                    <a:lnTo>
                      <a:pt x="0" y="1"/>
                    </a:lnTo>
                    <a:lnTo>
                      <a:pt x="0" y="14"/>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2" name="Freeform 455"/>
              <p:cNvSpPr>
                <a:spLocks/>
              </p:cNvSpPr>
              <p:nvPr/>
            </p:nvSpPr>
            <p:spPr bwMode="gray">
              <a:xfrm>
                <a:off x="4604" y="2052"/>
                <a:ext cx="65" cy="14"/>
              </a:xfrm>
              <a:custGeom>
                <a:avLst/>
                <a:gdLst>
                  <a:gd name="T0" fmla="*/ 0 w 65"/>
                  <a:gd name="T1" fmla="*/ 14 h 14"/>
                  <a:gd name="T2" fmla="*/ 65 w 65"/>
                  <a:gd name="T3" fmla="*/ 12 h 14"/>
                  <a:gd name="T4" fmla="*/ 65 w 65"/>
                  <a:gd name="T5" fmla="*/ 0 h 14"/>
                  <a:gd name="T6" fmla="*/ 0 w 65"/>
                  <a:gd name="T7" fmla="*/ 1 h 14"/>
                  <a:gd name="T8" fmla="*/ 0 w 65"/>
                  <a:gd name="T9" fmla="*/ 14 h 14"/>
                  <a:gd name="T10" fmla="*/ 0 60000 65536"/>
                  <a:gd name="T11" fmla="*/ 0 60000 65536"/>
                  <a:gd name="T12" fmla="*/ 0 60000 65536"/>
                  <a:gd name="T13" fmla="*/ 0 60000 65536"/>
                  <a:gd name="T14" fmla="*/ 0 60000 65536"/>
                  <a:gd name="T15" fmla="*/ 0 w 65"/>
                  <a:gd name="T16" fmla="*/ 0 h 14"/>
                  <a:gd name="T17" fmla="*/ 65 w 65"/>
                  <a:gd name="T18" fmla="*/ 14 h 14"/>
                </a:gdLst>
                <a:ahLst/>
                <a:cxnLst>
                  <a:cxn ang="T10">
                    <a:pos x="T0" y="T1"/>
                  </a:cxn>
                  <a:cxn ang="T11">
                    <a:pos x="T2" y="T3"/>
                  </a:cxn>
                  <a:cxn ang="T12">
                    <a:pos x="T4" y="T5"/>
                  </a:cxn>
                  <a:cxn ang="T13">
                    <a:pos x="T6" y="T7"/>
                  </a:cxn>
                  <a:cxn ang="T14">
                    <a:pos x="T8" y="T9"/>
                  </a:cxn>
                </a:cxnLst>
                <a:rect l="T15" t="T16" r="T17" b="T18"/>
                <a:pathLst>
                  <a:path w="65" h="14">
                    <a:moveTo>
                      <a:pt x="0" y="14"/>
                    </a:moveTo>
                    <a:lnTo>
                      <a:pt x="65" y="12"/>
                    </a:lnTo>
                    <a:lnTo>
                      <a:pt x="65" y="0"/>
                    </a:lnTo>
                    <a:lnTo>
                      <a:pt x="0" y="1"/>
                    </a:lnTo>
                    <a:lnTo>
                      <a:pt x="0" y="14"/>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3" name="Freeform 456"/>
              <p:cNvSpPr>
                <a:spLocks/>
              </p:cNvSpPr>
              <p:nvPr/>
            </p:nvSpPr>
            <p:spPr bwMode="gray">
              <a:xfrm>
                <a:off x="3942" y="2027"/>
                <a:ext cx="506" cy="31"/>
              </a:xfrm>
              <a:custGeom>
                <a:avLst/>
                <a:gdLst>
                  <a:gd name="T0" fmla="*/ 506 w 506"/>
                  <a:gd name="T1" fmla="*/ 0 h 31"/>
                  <a:gd name="T2" fmla="*/ 506 w 506"/>
                  <a:gd name="T3" fmla="*/ 9 h 31"/>
                  <a:gd name="T4" fmla="*/ 0 w 506"/>
                  <a:gd name="T5" fmla="*/ 31 h 31"/>
                  <a:gd name="T6" fmla="*/ 0 w 506"/>
                  <a:gd name="T7" fmla="*/ 21 h 31"/>
                  <a:gd name="T8" fmla="*/ 506 w 506"/>
                  <a:gd name="T9" fmla="*/ 0 h 31"/>
                  <a:gd name="T10" fmla="*/ 0 60000 65536"/>
                  <a:gd name="T11" fmla="*/ 0 60000 65536"/>
                  <a:gd name="T12" fmla="*/ 0 60000 65536"/>
                  <a:gd name="T13" fmla="*/ 0 60000 65536"/>
                  <a:gd name="T14" fmla="*/ 0 60000 65536"/>
                  <a:gd name="T15" fmla="*/ 0 w 506"/>
                  <a:gd name="T16" fmla="*/ 0 h 31"/>
                  <a:gd name="T17" fmla="*/ 506 w 506"/>
                  <a:gd name="T18" fmla="*/ 31 h 31"/>
                </a:gdLst>
                <a:ahLst/>
                <a:cxnLst>
                  <a:cxn ang="T10">
                    <a:pos x="T0" y="T1"/>
                  </a:cxn>
                  <a:cxn ang="T11">
                    <a:pos x="T2" y="T3"/>
                  </a:cxn>
                  <a:cxn ang="T12">
                    <a:pos x="T4" y="T5"/>
                  </a:cxn>
                  <a:cxn ang="T13">
                    <a:pos x="T6" y="T7"/>
                  </a:cxn>
                  <a:cxn ang="T14">
                    <a:pos x="T8" y="T9"/>
                  </a:cxn>
                </a:cxnLst>
                <a:rect l="T15" t="T16" r="T17" b="T18"/>
                <a:pathLst>
                  <a:path w="506" h="31">
                    <a:moveTo>
                      <a:pt x="506" y="0"/>
                    </a:moveTo>
                    <a:lnTo>
                      <a:pt x="506" y="9"/>
                    </a:lnTo>
                    <a:lnTo>
                      <a:pt x="0" y="31"/>
                    </a:lnTo>
                    <a:lnTo>
                      <a:pt x="0" y="21"/>
                    </a:lnTo>
                    <a:lnTo>
                      <a:pt x="506" y="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4" name="Freeform 457"/>
              <p:cNvSpPr>
                <a:spLocks/>
              </p:cNvSpPr>
              <p:nvPr/>
            </p:nvSpPr>
            <p:spPr bwMode="gray">
              <a:xfrm>
                <a:off x="3855" y="1869"/>
                <a:ext cx="86" cy="117"/>
              </a:xfrm>
              <a:custGeom>
                <a:avLst/>
                <a:gdLst>
                  <a:gd name="T0" fmla="*/ 16 w 86"/>
                  <a:gd name="T1" fmla="*/ 5 h 117"/>
                  <a:gd name="T2" fmla="*/ 17 w 86"/>
                  <a:gd name="T3" fmla="*/ 35 h 117"/>
                  <a:gd name="T4" fmla="*/ 17 w 86"/>
                  <a:gd name="T5" fmla="*/ 99 h 117"/>
                  <a:gd name="T6" fmla="*/ 17 w 86"/>
                  <a:gd name="T7" fmla="*/ 116 h 117"/>
                  <a:gd name="T8" fmla="*/ 29 w 86"/>
                  <a:gd name="T9" fmla="*/ 113 h 117"/>
                  <a:gd name="T10" fmla="*/ 29 w 86"/>
                  <a:gd name="T11" fmla="*/ 14 h 117"/>
                  <a:gd name="T12" fmla="*/ 41 w 86"/>
                  <a:gd name="T13" fmla="*/ 15 h 117"/>
                  <a:gd name="T14" fmla="*/ 43 w 86"/>
                  <a:gd name="T15" fmla="*/ 113 h 117"/>
                  <a:gd name="T16" fmla="*/ 55 w 86"/>
                  <a:gd name="T17" fmla="*/ 114 h 117"/>
                  <a:gd name="T18" fmla="*/ 53 w 86"/>
                  <a:gd name="T19" fmla="*/ 14 h 117"/>
                  <a:gd name="T20" fmla="*/ 69 w 86"/>
                  <a:gd name="T21" fmla="*/ 14 h 117"/>
                  <a:gd name="T22" fmla="*/ 69 w 86"/>
                  <a:gd name="T23" fmla="*/ 114 h 117"/>
                  <a:gd name="T24" fmla="*/ 82 w 86"/>
                  <a:gd name="T25" fmla="*/ 116 h 117"/>
                  <a:gd name="T26" fmla="*/ 80 w 86"/>
                  <a:gd name="T27" fmla="*/ 99 h 117"/>
                  <a:gd name="T28" fmla="*/ 74 w 86"/>
                  <a:gd name="T29" fmla="*/ 5 h 117"/>
                  <a:gd name="T30" fmla="*/ 50 w 86"/>
                  <a:gd name="T31" fmla="*/ 6 h 117"/>
                  <a:gd name="T32" fmla="*/ 32 w 86"/>
                  <a:gd name="T33" fmla="*/ 3 h 117"/>
                  <a:gd name="T34" fmla="*/ 17 w 86"/>
                  <a:gd name="T35" fmla="*/ 0 h 117"/>
                  <a:gd name="T36" fmla="*/ 4 w 86"/>
                  <a:gd name="T37" fmla="*/ 5 h 117"/>
                  <a:gd name="T38" fmla="*/ 14 w 86"/>
                  <a:gd name="T39" fmla="*/ 12 h 117"/>
                  <a:gd name="T40" fmla="*/ 16 w 86"/>
                  <a:gd name="T41" fmla="*/ 5 h 1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117"/>
                  <a:gd name="T65" fmla="*/ 86 w 86"/>
                  <a:gd name="T66" fmla="*/ 117 h 1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117">
                    <a:moveTo>
                      <a:pt x="16" y="5"/>
                    </a:moveTo>
                    <a:cubicBezTo>
                      <a:pt x="17" y="34"/>
                      <a:pt x="17" y="24"/>
                      <a:pt x="17" y="35"/>
                    </a:cubicBezTo>
                    <a:lnTo>
                      <a:pt x="17" y="99"/>
                    </a:lnTo>
                    <a:cubicBezTo>
                      <a:pt x="16" y="116"/>
                      <a:pt x="10" y="116"/>
                      <a:pt x="17" y="116"/>
                    </a:cubicBezTo>
                    <a:lnTo>
                      <a:pt x="29" y="113"/>
                    </a:lnTo>
                    <a:lnTo>
                      <a:pt x="29" y="14"/>
                    </a:lnTo>
                    <a:lnTo>
                      <a:pt x="41" y="15"/>
                    </a:lnTo>
                    <a:cubicBezTo>
                      <a:pt x="42" y="48"/>
                      <a:pt x="41" y="80"/>
                      <a:pt x="43" y="113"/>
                    </a:cubicBezTo>
                    <a:cubicBezTo>
                      <a:pt x="43" y="117"/>
                      <a:pt x="55" y="114"/>
                      <a:pt x="55" y="114"/>
                    </a:cubicBezTo>
                    <a:cubicBezTo>
                      <a:pt x="54" y="81"/>
                      <a:pt x="52" y="47"/>
                      <a:pt x="53" y="14"/>
                    </a:cubicBezTo>
                    <a:cubicBezTo>
                      <a:pt x="53" y="9"/>
                      <a:pt x="63" y="15"/>
                      <a:pt x="69" y="14"/>
                    </a:cubicBezTo>
                    <a:cubicBezTo>
                      <a:pt x="66" y="48"/>
                      <a:pt x="67" y="74"/>
                      <a:pt x="69" y="114"/>
                    </a:cubicBezTo>
                    <a:cubicBezTo>
                      <a:pt x="64" y="108"/>
                      <a:pt x="80" y="117"/>
                      <a:pt x="82" y="116"/>
                    </a:cubicBezTo>
                    <a:cubicBezTo>
                      <a:pt x="84" y="115"/>
                      <a:pt x="80" y="99"/>
                      <a:pt x="80" y="99"/>
                    </a:cubicBezTo>
                    <a:cubicBezTo>
                      <a:pt x="77" y="60"/>
                      <a:pt x="86" y="6"/>
                      <a:pt x="74" y="5"/>
                    </a:cubicBezTo>
                    <a:cubicBezTo>
                      <a:pt x="68" y="2"/>
                      <a:pt x="53" y="0"/>
                      <a:pt x="50" y="6"/>
                    </a:cubicBezTo>
                    <a:cubicBezTo>
                      <a:pt x="43" y="1"/>
                      <a:pt x="40" y="2"/>
                      <a:pt x="32" y="3"/>
                    </a:cubicBezTo>
                    <a:cubicBezTo>
                      <a:pt x="26" y="8"/>
                      <a:pt x="24" y="2"/>
                      <a:pt x="17" y="0"/>
                    </a:cubicBezTo>
                    <a:cubicBezTo>
                      <a:pt x="13" y="2"/>
                      <a:pt x="8" y="3"/>
                      <a:pt x="4" y="5"/>
                    </a:cubicBezTo>
                    <a:cubicBezTo>
                      <a:pt x="0" y="14"/>
                      <a:pt x="7" y="14"/>
                      <a:pt x="14" y="12"/>
                    </a:cubicBezTo>
                    <a:cubicBezTo>
                      <a:pt x="16" y="7"/>
                      <a:pt x="16" y="9"/>
                      <a:pt x="16" y="5"/>
                    </a:cubicBez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5" name="Freeform 458"/>
              <p:cNvSpPr>
                <a:spLocks/>
              </p:cNvSpPr>
              <p:nvPr/>
            </p:nvSpPr>
            <p:spPr bwMode="gray">
              <a:xfrm>
                <a:off x="3860" y="1866"/>
                <a:ext cx="86" cy="117"/>
              </a:xfrm>
              <a:custGeom>
                <a:avLst/>
                <a:gdLst>
                  <a:gd name="T0" fmla="*/ 16 w 86"/>
                  <a:gd name="T1" fmla="*/ 5 h 117"/>
                  <a:gd name="T2" fmla="*/ 17 w 86"/>
                  <a:gd name="T3" fmla="*/ 35 h 117"/>
                  <a:gd name="T4" fmla="*/ 17 w 86"/>
                  <a:gd name="T5" fmla="*/ 99 h 117"/>
                  <a:gd name="T6" fmla="*/ 17 w 86"/>
                  <a:gd name="T7" fmla="*/ 116 h 117"/>
                  <a:gd name="T8" fmla="*/ 29 w 86"/>
                  <a:gd name="T9" fmla="*/ 113 h 117"/>
                  <a:gd name="T10" fmla="*/ 29 w 86"/>
                  <a:gd name="T11" fmla="*/ 14 h 117"/>
                  <a:gd name="T12" fmla="*/ 41 w 86"/>
                  <a:gd name="T13" fmla="*/ 15 h 117"/>
                  <a:gd name="T14" fmla="*/ 43 w 86"/>
                  <a:gd name="T15" fmla="*/ 113 h 117"/>
                  <a:gd name="T16" fmla="*/ 55 w 86"/>
                  <a:gd name="T17" fmla="*/ 114 h 117"/>
                  <a:gd name="T18" fmla="*/ 53 w 86"/>
                  <a:gd name="T19" fmla="*/ 14 h 117"/>
                  <a:gd name="T20" fmla="*/ 69 w 86"/>
                  <a:gd name="T21" fmla="*/ 14 h 117"/>
                  <a:gd name="T22" fmla="*/ 69 w 86"/>
                  <a:gd name="T23" fmla="*/ 114 h 117"/>
                  <a:gd name="T24" fmla="*/ 82 w 86"/>
                  <a:gd name="T25" fmla="*/ 116 h 117"/>
                  <a:gd name="T26" fmla="*/ 80 w 86"/>
                  <a:gd name="T27" fmla="*/ 99 h 117"/>
                  <a:gd name="T28" fmla="*/ 74 w 86"/>
                  <a:gd name="T29" fmla="*/ 5 h 117"/>
                  <a:gd name="T30" fmla="*/ 50 w 86"/>
                  <a:gd name="T31" fmla="*/ 6 h 117"/>
                  <a:gd name="T32" fmla="*/ 32 w 86"/>
                  <a:gd name="T33" fmla="*/ 3 h 117"/>
                  <a:gd name="T34" fmla="*/ 17 w 86"/>
                  <a:gd name="T35" fmla="*/ 0 h 117"/>
                  <a:gd name="T36" fmla="*/ 4 w 86"/>
                  <a:gd name="T37" fmla="*/ 5 h 117"/>
                  <a:gd name="T38" fmla="*/ 14 w 86"/>
                  <a:gd name="T39" fmla="*/ 12 h 117"/>
                  <a:gd name="T40" fmla="*/ 16 w 86"/>
                  <a:gd name="T41" fmla="*/ 5 h 11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117"/>
                  <a:gd name="T65" fmla="*/ 86 w 86"/>
                  <a:gd name="T66" fmla="*/ 117 h 11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117">
                    <a:moveTo>
                      <a:pt x="16" y="5"/>
                    </a:moveTo>
                    <a:cubicBezTo>
                      <a:pt x="17" y="34"/>
                      <a:pt x="17" y="24"/>
                      <a:pt x="17" y="35"/>
                    </a:cubicBezTo>
                    <a:lnTo>
                      <a:pt x="17" y="99"/>
                    </a:lnTo>
                    <a:cubicBezTo>
                      <a:pt x="16" y="116"/>
                      <a:pt x="10" y="116"/>
                      <a:pt x="17" y="116"/>
                    </a:cubicBezTo>
                    <a:lnTo>
                      <a:pt x="29" y="113"/>
                    </a:lnTo>
                    <a:lnTo>
                      <a:pt x="29" y="14"/>
                    </a:lnTo>
                    <a:lnTo>
                      <a:pt x="41" y="15"/>
                    </a:lnTo>
                    <a:cubicBezTo>
                      <a:pt x="42" y="48"/>
                      <a:pt x="41" y="80"/>
                      <a:pt x="43" y="113"/>
                    </a:cubicBezTo>
                    <a:cubicBezTo>
                      <a:pt x="43" y="117"/>
                      <a:pt x="55" y="114"/>
                      <a:pt x="55" y="114"/>
                    </a:cubicBezTo>
                    <a:cubicBezTo>
                      <a:pt x="54" y="81"/>
                      <a:pt x="52" y="47"/>
                      <a:pt x="53" y="14"/>
                    </a:cubicBezTo>
                    <a:cubicBezTo>
                      <a:pt x="53" y="9"/>
                      <a:pt x="63" y="15"/>
                      <a:pt x="69" y="14"/>
                    </a:cubicBezTo>
                    <a:cubicBezTo>
                      <a:pt x="66" y="48"/>
                      <a:pt x="67" y="74"/>
                      <a:pt x="69" y="114"/>
                    </a:cubicBezTo>
                    <a:cubicBezTo>
                      <a:pt x="64" y="108"/>
                      <a:pt x="80" y="117"/>
                      <a:pt x="82" y="116"/>
                    </a:cubicBezTo>
                    <a:cubicBezTo>
                      <a:pt x="84" y="115"/>
                      <a:pt x="80" y="99"/>
                      <a:pt x="80" y="99"/>
                    </a:cubicBezTo>
                    <a:cubicBezTo>
                      <a:pt x="77" y="60"/>
                      <a:pt x="86" y="6"/>
                      <a:pt x="74" y="5"/>
                    </a:cubicBezTo>
                    <a:cubicBezTo>
                      <a:pt x="68" y="2"/>
                      <a:pt x="53" y="0"/>
                      <a:pt x="50" y="6"/>
                    </a:cubicBezTo>
                    <a:cubicBezTo>
                      <a:pt x="43" y="1"/>
                      <a:pt x="40" y="2"/>
                      <a:pt x="32" y="3"/>
                    </a:cubicBezTo>
                    <a:cubicBezTo>
                      <a:pt x="26" y="8"/>
                      <a:pt x="24" y="2"/>
                      <a:pt x="17" y="0"/>
                    </a:cubicBezTo>
                    <a:cubicBezTo>
                      <a:pt x="13" y="2"/>
                      <a:pt x="8" y="3"/>
                      <a:pt x="4" y="5"/>
                    </a:cubicBezTo>
                    <a:cubicBezTo>
                      <a:pt x="0" y="14"/>
                      <a:pt x="7" y="14"/>
                      <a:pt x="14" y="12"/>
                    </a:cubicBezTo>
                    <a:cubicBezTo>
                      <a:pt x="16" y="7"/>
                      <a:pt x="16" y="9"/>
                      <a:pt x="16" y="5"/>
                    </a:cubicBezTo>
                    <a:close/>
                  </a:path>
                </a:pathLst>
              </a:custGeom>
              <a:solidFill>
                <a:srgbClr val="969696"/>
              </a:solidFill>
              <a:ln w="9525">
                <a:noFill/>
                <a:round/>
                <a:headEnd/>
                <a:tailEnd/>
              </a:ln>
            </p:spPr>
            <p:txBody>
              <a:bodyPr/>
              <a:lstStyle/>
              <a:p>
                <a:pPr defTabSz="912546"/>
                <a:endParaRPr>
                  <a:solidFill>
                    <a:srgbClr val="000000"/>
                  </a:solidFill>
                </a:endParaRPr>
              </a:p>
            </p:txBody>
          </p:sp>
          <p:sp>
            <p:nvSpPr>
              <p:cNvPr id="441966" name="Freeform 459"/>
              <p:cNvSpPr>
                <a:spLocks/>
              </p:cNvSpPr>
              <p:nvPr/>
            </p:nvSpPr>
            <p:spPr bwMode="gray">
              <a:xfrm>
                <a:off x="3807" y="1844"/>
                <a:ext cx="194" cy="12"/>
              </a:xfrm>
              <a:custGeom>
                <a:avLst/>
                <a:gdLst>
                  <a:gd name="T0" fmla="*/ 194 w 194"/>
                  <a:gd name="T1" fmla="*/ 0 h 12"/>
                  <a:gd name="T2" fmla="*/ 192 w 194"/>
                  <a:gd name="T3" fmla="*/ 6 h 12"/>
                  <a:gd name="T4" fmla="*/ 0 w 194"/>
                  <a:gd name="T5" fmla="*/ 12 h 12"/>
                  <a:gd name="T6" fmla="*/ 0 w 194"/>
                  <a:gd name="T7" fmla="*/ 6 h 12"/>
                  <a:gd name="T8" fmla="*/ 194 w 194"/>
                  <a:gd name="T9" fmla="*/ 0 h 12"/>
                  <a:gd name="T10" fmla="*/ 0 60000 65536"/>
                  <a:gd name="T11" fmla="*/ 0 60000 65536"/>
                  <a:gd name="T12" fmla="*/ 0 60000 65536"/>
                  <a:gd name="T13" fmla="*/ 0 60000 65536"/>
                  <a:gd name="T14" fmla="*/ 0 60000 65536"/>
                  <a:gd name="T15" fmla="*/ 0 w 194"/>
                  <a:gd name="T16" fmla="*/ 0 h 12"/>
                  <a:gd name="T17" fmla="*/ 194 w 194"/>
                  <a:gd name="T18" fmla="*/ 12 h 12"/>
                </a:gdLst>
                <a:ahLst/>
                <a:cxnLst>
                  <a:cxn ang="T10">
                    <a:pos x="T0" y="T1"/>
                  </a:cxn>
                  <a:cxn ang="T11">
                    <a:pos x="T2" y="T3"/>
                  </a:cxn>
                  <a:cxn ang="T12">
                    <a:pos x="T4" y="T5"/>
                  </a:cxn>
                  <a:cxn ang="T13">
                    <a:pos x="T6" y="T7"/>
                  </a:cxn>
                  <a:cxn ang="T14">
                    <a:pos x="T8" y="T9"/>
                  </a:cxn>
                </a:cxnLst>
                <a:rect l="T15" t="T16" r="T17" b="T18"/>
                <a:pathLst>
                  <a:path w="194" h="12">
                    <a:moveTo>
                      <a:pt x="194" y="0"/>
                    </a:moveTo>
                    <a:lnTo>
                      <a:pt x="192" y="6"/>
                    </a:lnTo>
                    <a:lnTo>
                      <a:pt x="0" y="12"/>
                    </a:lnTo>
                    <a:lnTo>
                      <a:pt x="0" y="6"/>
                    </a:lnTo>
                    <a:lnTo>
                      <a:pt x="194" y="0"/>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7" name="Freeform 460"/>
              <p:cNvSpPr>
                <a:spLocks/>
              </p:cNvSpPr>
              <p:nvPr/>
            </p:nvSpPr>
            <p:spPr bwMode="gray">
              <a:xfrm>
                <a:off x="3713" y="2042"/>
                <a:ext cx="60" cy="99"/>
              </a:xfrm>
              <a:custGeom>
                <a:avLst/>
                <a:gdLst>
                  <a:gd name="T0" fmla="*/ 60 w 60"/>
                  <a:gd name="T1" fmla="*/ 32 h 99"/>
                  <a:gd name="T2" fmla="*/ 0 w 60"/>
                  <a:gd name="T3" fmla="*/ 0 h 99"/>
                  <a:gd name="T4" fmla="*/ 0 w 60"/>
                  <a:gd name="T5" fmla="*/ 66 h 99"/>
                  <a:gd name="T6" fmla="*/ 57 w 60"/>
                  <a:gd name="T7" fmla="*/ 99 h 99"/>
                  <a:gd name="T8" fmla="*/ 60 w 60"/>
                  <a:gd name="T9" fmla="*/ 32 h 99"/>
                  <a:gd name="T10" fmla="*/ 0 60000 65536"/>
                  <a:gd name="T11" fmla="*/ 0 60000 65536"/>
                  <a:gd name="T12" fmla="*/ 0 60000 65536"/>
                  <a:gd name="T13" fmla="*/ 0 60000 65536"/>
                  <a:gd name="T14" fmla="*/ 0 60000 65536"/>
                  <a:gd name="T15" fmla="*/ 0 w 60"/>
                  <a:gd name="T16" fmla="*/ 0 h 99"/>
                  <a:gd name="T17" fmla="*/ 60 w 60"/>
                  <a:gd name="T18" fmla="*/ 99 h 99"/>
                </a:gdLst>
                <a:ahLst/>
                <a:cxnLst>
                  <a:cxn ang="T10">
                    <a:pos x="T0" y="T1"/>
                  </a:cxn>
                  <a:cxn ang="T11">
                    <a:pos x="T2" y="T3"/>
                  </a:cxn>
                  <a:cxn ang="T12">
                    <a:pos x="T4" y="T5"/>
                  </a:cxn>
                  <a:cxn ang="T13">
                    <a:pos x="T6" y="T7"/>
                  </a:cxn>
                  <a:cxn ang="T14">
                    <a:pos x="T8" y="T9"/>
                  </a:cxn>
                </a:cxnLst>
                <a:rect l="T15" t="T16" r="T17" b="T18"/>
                <a:pathLst>
                  <a:path w="60" h="99">
                    <a:moveTo>
                      <a:pt x="60" y="32"/>
                    </a:moveTo>
                    <a:lnTo>
                      <a:pt x="0" y="0"/>
                    </a:lnTo>
                    <a:lnTo>
                      <a:pt x="0" y="66"/>
                    </a:lnTo>
                    <a:lnTo>
                      <a:pt x="57" y="99"/>
                    </a:lnTo>
                    <a:lnTo>
                      <a:pt x="60" y="32"/>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68" name="Freeform 461"/>
              <p:cNvSpPr>
                <a:spLocks/>
              </p:cNvSpPr>
              <p:nvPr/>
            </p:nvSpPr>
            <p:spPr bwMode="gray">
              <a:xfrm>
                <a:off x="3812" y="2006"/>
                <a:ext cx="88" cy="51"/>
              </a:xfrm>
              <a:custGeom>
                <a:avLst/>
                <a:gdLst>
                  <a:gd name="T0" fmla="*/ 88 w 88"/>
                  <a:gd name="T1" fmla="*/ 40 h 51"/>
                  <a:gd name="T2" fmla="*/ 87 w 88"/>
                  <a:gd name="T3" fmla="*/ 51 h 51"/>
                  <a:gd name="T4" fmla="*/ 0 w 88"/>
                  <a:gd name="T5" fmla="*/ 10 h 51"/>
                  <a:gd name="T6" fmla="*/ 0 w 88"/>
                  <a:gd name="T7" fmla="*/ 0 h 51"/>
                  <a:gd name="T8" fmla="*/ 88 w 88"/>
                  <a:gd name="T9" fmla="*/ 40 h 51"/>
                  <a:gd name="T10" fmla="*/ 0 60000 65536"/>
                  <a:gd name="T11" fmla="*/ 0 60000 65536"/>
                  <a:gd name="T12" fmla="*/ 0 60000 65536"/>
                  <a:gd name="T13" fmla="*/ 0 60000 65536"/>
                  <a:gd name="T14" fmla="*/ 0 60000 65536"/>
                  <a:gd name="T15" fmla="*/ 0 w 88"/>
                  <a:gd name="T16" fmla="*/ 0 h 51"/>
                  <a:gd name="T17" fmla="*/ 88 w 88"/>
                  <a:gd name="T18" fmla="*/ 51 h 51"/>
                </a:gdLst>
                <a:ahLst/>
                <a:cxnLst>
                  <a:cxn ang="T10">
                    <a:pos x="T0" y="T1"/>
                  </a:cxn>
                  <a:cxn ang="T11">
                    <a:pos x="T2" y="T3"/>
                  </a:cxn>
                  <a:cxn ang="T12">
                    <a:pos x="T4" y="T5"/>
                  </a:cxn>
                  <a:cxn ang="T13">
                    <a:pos x="T6" y="T7"/>
                  </a:cxn>
                  <a:cxn ang="T14">
                    <a:pos x="T8" y="T9"/>
                  </a:cxn>
                </a:cxnLst>
                <a:rect l="T15" t="T16" r="T17" b="T18"/>
                <a:pathLst>
                  <a:path w="88" h="51">
                    <a:moveTo>
                      <a:pt x="88" y="40"/>
                    </a:moveTo>
                    <a:lnTo>
                      <a:pt x="87" y="51"/>
                    </a:lnTo>
                    <a:lnTo>
                      <a:pt x="0" y="10"/>
                    </a:lnTo>
                    <a:lnTo>
                      <a:pt x="0" y="0"/>
                    </a:lnTo>
                    <a:lnTo>
                      <a:pt x="88" y="40"/>
                    </a:lnTo>
                    <a:close/>
                  </a:path>
                </a:pathLst>
              </a:custGeom>
              <a:solidFill>
                <a:srgbClr val="808080"/>
              </a:solidFill>
              <a:ln w="9525">
                <a:noFill/>
                <a:round/>
                <a:headEnd/>
                <a:tailEnd/>
              </a:ln>
            </p:spPr>
            <p:txBody>
              <a:bodyPr/>
              <a:lstStyle/>
              <a:p>
                <a:pPr defTabSz="912546"/>
                <a:endParaRPr>
                  <a:solidFill>
                    <a:srgbClr val="000000"/>
                  </a:solidFill>
                </a:endParaRPr>
              </a:p>
            </p:txBody>
          </p:sp>
          <p:sp>
            <p:nvSpPr>
              <p:cNvPr id="441969" name="Freeform 462"/>
              <p:cNvSpPr>
                <a:spLocks/>
              </p:cNvSpPr>
              <p:nvPr/>
            </p:nvSpPr>
            <p:spPr bwMode="gray">
              <a:xfrm>
                <a:off x="3612" y="1913"/>
                <a:ext cx="66" cy="42"/>
              </a:xfrm>
              <a:custGeom>
                <a:avLst/>
                <a:gdLst>
                  <a:gd name="T0" fmla="*/ 66 w 66"/>
                  <a:gd name="T1" fmla="*/ 33 h 42"/>
                  <a:gd name="T2" fmla="*/ 65 w 66"/>
                  <a:gd name="T3" fmla="*/ 42 h 42"/>
                  <a:gd name="T4" fmla="*/ 0 w 66"/>
                  <a:gd name="T5" fmla="*/ 7 h 42"/>
                  <a:gd name="T6" fmla="*/ 0 w 66"/>
                  <a:gd name="T7" fmla="*/ 0 h 42"/>
                  <a:gd name="T8" fmla="*/ 66 w 66"/>
                  <a:gd name="T9" fmla="*/ 33 h 42"/>
                  <a:gd name="T10" fmla="*/ 0 60000 65536"/>
                  <a:gd name="T11" fmla="*/ 0 60000 65536"/>
                  <a:gd name="T12" fmla="*/ 0 60000 65536"/>
                  <a:gd name="T13" fmla="*/ 0 60000 65536"/>
                  <a:gd name="T14" fmla="*/ 0 60000 65536"/>
                  <a:gd name="T15" fmla="*/ 0 w 66"/>
                  <a:gd name="T16" fmla="*/ 0 h 42"/>
                  <a:gd name="T17" fmla="*/ 66 w 66"/>
                  <a:gd name="T18" fmla="*/ 42 h 42"/>
                </a:gdLst>
                <a:ahLst/>
                <a:cxnLst>
                  <a:cxn ang="T10">
                    <a:pos x="T0" y="T1"/>
                  </a:cxn>
                  <a:cxn ang="T11">
                    <a:pos x="T2" y="T3"/>
                  </a:cxn>
                  <a:cxn ang="T12">
                    <a:pos x="T4" y="T5"/>
                  </a:cxn>
                  <a:cxn ang="T13">
                    <a:pos x="T6" y="T7"/>
                  </a:cxn>
                  <a:cxn ang="T14">
                    <a:pos x="T8" y="T9"/>
                  </a:cxn>
                </a:cxnLst>
                <a:rect l="T15" t="T16" r="T17" b="T18"/>
                <a:pathLst>
                  <a:path w="66" h="42">
                    <a:moveTo>
                      <a:pt x="66" y="33"/>
                    </a:moveTo>
                    <a:lnTo>
                      <a:pt x="65" y="42"/>
                    </a:lnTo>
                    <a:lnTo>
                      <a:pt x="0" y="7"/>
                    </a:lnTo>
                    <a:lnTo>
                      <a:pt x="0" y="0"/>
                    </a:lnTo>
                    <a:lnTo>
                      <a:pt x="66" y="33"/>
                    </a:lnTo>
                    <a:close/>
                  </a:path>
                </a:pathLst>
              </a:custGeom>
              <a:solidFill>
                <a:srgbClr val="808080"/>
              </a:solidFill>
              <a:ln w="9525">
                <a:noFill/>
                <a:round/>
                <a:headEnd/>
                <a:tailEnd/>
              </a:ln>
            </p:spPr>
            <p:txBody>
              <a:bodyPr/>
              <a:lstStyle/>
              <a:p>
                <a:pPr defTabSz="912546"/>
                <a:endParaRPr>
                  <a:solidFill>
                    <a:srgbClr val="000000"/>
                  </a:solidFill>
                </a:endParaRPr>
              </a:p>
            </p:txBody>
          </p:sp>
          <p:sp>
            <p:nvSpPr>
              <p:cNvPr id="441970" name="Freeform 463"/>
              <p:cNvSpPr>
                <a:spLocks/>
              </p:cNvSpPr>
              <p:nvPr/>
            </p:nvSpPr>
            <p:spPr bwMode="gray">
              <a:xfrm>
                <a:off x="3716" y="1843"/>
                <a:ext cx="17" cy="51"/>
              </a:xfrm>
              <a:custGeom>
                <a:avLst/>
                <a:gdLst>
                  <a:gd name="T0" fmla="*/ 17 w 17"/>
                  <a:gd name="T1" fmla="*/ 6 h 51"/>
                  <a:gd name="T2" fmla="*/ 0 w 17"/>
                  <a:gd name="T3" fmla="*/ 0 h 51"/>
                  <a:gd name="T4" fmla="*/ 1 w 17"/>
                  <a:gd name="T5" fmla="*/ 43 h 51"/>
                  <a:gd name="T6" fmla="*/ 16 w 17"/>
                  <a:gd name="T7" fmla="*/ 51 h 51"/>
                  <a:gd name="T8" fmla="*/ 17 w 17"/>
                  <a:gd name="T9" fmla="*/ 6 h 51"/>
                  <a:gd name="T10" fmla="*/ 0 60000 65536"/>
                  <a:gd name="T11" fmla="*/ 0 60000 65536"/>
                  <a:gd name="T12" fmla="*/ 0 60000 65536"/>
                  <a:gd name="T13" fmla="*/ 0 60000 65536"/>
                  <a:gd name="T14" fmla="*/ 0 60000 65536"/>
                  <a:gd name="T15" fmla="*/ 0 w 17"/>
                  <a:gd name="T16" fmla="*/ 0 h 51"/>
                  <a:gd name="T17" fmla="*/ 17 w 17"/>
                  <a:gd name="T18" fmla="*/ 51 h 51"/>
                </a:gdLst>
                <a:ahLst/>
                <a:cxnLst>
                  <a:cxn ang="T10">
                    <a:pos x="T0" y="T1"/>
                  </a:cxn>
                  <a:cxn ang="T11">
                    <a:pos x="T2" y="T3"/>
                  </a:cxn>
                  <a:cxn ang="T12">
                    <a:pos x="T4" y="T5"/>
                  </a:cxn>
                  <a:cxn ang="T13">
                    <a:pos x="T6" y="T7"/>
                  </a:cxn>
                  <a:cxn ang="T14">
                    <a:pos x="T8" y="T9"/>
                  </a:cxn>
                </a:cxnLst>
                <a:rect l="T15" t="T16" r="T17" b="T18"/>
                <a:pathLst>
                  <a:path w="17" h="51">
                    <a:moveTo>
                      <a:pt x="17" y="6"/>
                    </a:moveTo>
                    <a:lnTo>
                      <a:pt x="0" y="0"/>
                    </a:lnTo>
                    <a:lnTo>
                      <a:pt x="1" y="43"/>
                    </a:lnTo>
                    <a:lnTo>
                      <a:pt x="16" y="51"/>
                    </a:lnTo>
                    <a:lnTo>
                      <a:pt x="17"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1" name="Freeform 464"/>
              <p:cNvSpPr>
                <a:spLocks/>
              </p:cNvSpPr>
              <p:nvPr/>
            </p:nvSpPr>
            <p:spPr bwMode="gray">
              <a:xfrm>
                <a:off x="3756" y="1859"/>
                <a:ext cx="18" cy="54"/>
              </a:xfrm>
              <a:custGeom>
                <a:avLst/>
                <a:gdLst>
                  <a:gd name="T0" fmla="*/ 18 w 18"/>
                  <a:gd name="T1" fmla="*/ 6 h 54"/>
                  <a:gd name="T2" fmla="*/ 0 w 18"/>
                  <a:gd name="T3" fmla="*/ 0 h 54"/>
                  <a:gd name="T4" fmla="*/ 0 w 18"/>
                  <a:gd name="T5" fmla="*/ 48 h 54"/>
                  <a:gd name="T6" fmla="*/ 16 w 18"/>
                  <a:gd name="T7" fmla="*/ 54 h 54"/>
                  <a:gd name="T8" fmla="*/ 18 w 18"/>
                  <a:gd name="T9" fmla="*/ 6 h 54"/>
                  <a:gd name="T10" fmla="*/ 0 60000 65536"/>
                  <a:gd name="T11" fmla="*/ 0 60000 65536"/>
                  <a:gd name="T12" fmla="*/ 0 60000 65536"/>
                  <a:gd name="T13" fmla="*/ 0 60000 65536"/>
                  <a:gd name="T14" fmla="*/ 0 60000 65536"/>
                  <a:gd name="T15" fmla="*/ 0 w 18"/>
                  <a:gd name="T16" fmla="*/ 0 h 54"/>
                  <a:gd name="T17" fmla="*/ 18 w 18"/>
                  <a:gd name="T18" fmla="*/ 54 h 54"/>
                </a:gdLst>
                <a:ahLst/>
                <a:cxnLst>
                  <a:cxn ang="T10">
                    <a:pos x="T0" y="T1"/>
                  </a:cxn>
                  <a:cxn ang="T11">
                    <a:pos x="T2" y="T3"/>
                  </a:cxn>
                  <a:cxn ang="T12">
                    <a:pos x="T4" y="T5"/>
                  </a:cxn>
                  <a:cxn ang="T13">
                    <a:pos x="T6" y="T7"/>
                  </a:cxn>
                  <a:cxn ang="T14">
                    <a:pos x="T8" y="T9"/>
                  </a:cxn>
                </a:cxnLst>
                <a:rect l="T15" t="T16" r="T17" b="T18"/>
                <a:pathLst>
                  <a:path w="18" h="54">
                    <a:moveTo>
                      <a:pt x="18" y="6"/>
                    </a:moveTo>
                    <a:lnTo>
                      <a:pt x="0" y="0"/>
                    </a:lnTo>
                    <a:lnTo>
                      <a:pt x="0" y="48"/>
                    </a:lnTo>
                    <a:lnTo>
                      <a:pt x="16" y="54"/>
                    </a:lnTo>
                    <a:lnTo>
                      <a:pt x="18"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2" name="Freeform 465"/>
              <p:cNvSpPr>
                <a:spLocks/>
              </p:cNvSpPr>
              <p:nvPr/>
            </p:nvSpPr>
            <p:spPr bwMode="gray">
              <a:xfrm>
                <a:off x="3618" y="2025"/>
                <a:ext cx="14" cy="32"/>
              </a:xfrm>
              <a:custGeom>
                <a:avLst/>
                <a:gdLst>
                  <a:gd name="T0" fmla="*/ 14 w 14"/>
                  <a:gd name="T1" fmla="*/ 8 h 32"/>
                  <a:gd name="T2" fmla="*/ 0 w 14"/>
                  <a:gd name="T3" fmla="*/ 0 h 32"/>
                  <a:gd name="T4" fmla="*/ 0 w 14"/>
                  <a:gd name="T5" fmla="*/ 23 h 32"/>
                  <a:gd name="T6" fmla="*/ 14 w 14"/>
                  <a:gd name="T7" fmla="*/ 32 h 32"/>
                  <a:gd name="T8" fmla="*/ 14 w 14"/>
                  <a:gd name="T9" fmla="*/ 8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8"/>
                    </a:moveTo>
                    <a:lnTo>
                      <a:pt x="0" y="0"/>
                    </a:lnTo>
                    <a:lnTo>
                      <a:pt x="0" y="23"/>
                    </a:lnTo>
                    <a:lnTo>
                      <a:pt x="14" y="32"/>
                    </a:lnTo>
                    <a:lnTo>
                      <a:pt x="14" y="8"/>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3" name="Freeform 466"/>
              <p:cNvSpPr>
                <a:spLocks/>
              </p:cNvSpPr>
              <p:nvPr/>
            </p:nvSpPr>
            <p:spPr bwMode="gray">
              <a:xfrm>
                <a:off x="3642" y="2040"/>
                <a:ext cx="15" cy="32"/>
              </a:xfrm>
              <a:custGeom>
                <a:avLst/>
                <a:gdLst>
                  <a:gd name="T0" fmla="*/ 15 w 15"/>
                  <a:gd name="T1" fmla="*/ 6 h 32"/>
                  <a:gd name="T2" fmla="*/ 2 w 15"/>
                  <a:gd name="T3" fmla="*/ 0 h 32"/>
                  <a:gd name="T4" fmla="*/ 0 w 15"/>
                  <a:gd name="T5" fmla="*/ 24 h 32"/>
                  <a:gd name="T6" fmla="*/ 15 w 15"/>
                  <a:gd name="T7" fmla="*/ 32 h 32"/>
                  <a:gd name="T8" fmla="*/ 15 w 15"/>
                  <a:gd name="T9" fmla="*/ 6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6"/>
                    </a:moveTo>
                    <a:lnTo>
                      <a:pt x="2" y="0"/>
                    </a:lnTo>
                    <a:lnTo>
                      <a:pt x="0" y="24"/>
                    </a:lnTo>
                    <a:lnTo>
                      <a:pt x="15" y="32"/>
                    </a:lnTo>
                    <a:lnTo>
                      <a:pt x="15"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4" name="Freeform 467"/>
              <p:cNvSpPr>
                <a:spLocks/>
              </p:cNvSpPr>
              <p:nvPr/>
            </p:nvSpPr>
            <p:spPr bwMode="gray">
              <a:xfrm>
                <a:off x="3668" y="2052"/>
                <a:ext cx="16" cy="36"/>
              </a:xfrm>
              <a:custGeom>
                <a:avLst/>
                <a:gdLst>
                  <a:gd name="T0" fmla="*/ 13 w 16"/>
                  <a:gd name="T1" fmla="*/ 6 h 36"/>
                  <a:gd name="T2" fmla="*/ 0 w 16"/>
                  <a:gd name="T3" fmla="*/ 0 h 36"/>
                  <a:gd name="T4" fmla="*/ 1 w 16"/>
                  <a:gd name="T5" fmla="*/ 28 h 36"/>
                  <a:gd name="T6" fmla="*/ 16 w 16"/>
                  <a:gd name="T7" fmla="*/ 36 h 36"/>
                  <a:gd name="T8" fmla="*/ 13 w 16"/>
                  <a:gd name="T9" fmla="*/ 6 h 36"/>
                  <a:gd name="T10" fmla="*/ 0 60000 65536"/>
                  <a:gd name="T11" fmla="*/ 0 60000 65536"/>
                  <a:gd name="T12" fmla="*/ 0 60000 65536"/>
                  <a:gd name="T13" fmla="*/ 0 60000 65536"/>
                  <a:gd name="T14" fmla="*/ 0 60000 65536"/>
                  <a:gd name="T15" fmla="*/ 0 w 16"/>
                  <a:gd name="T16" fmla="*/ 0 h 36"/>
                  <a:gd name="T17" fmla="*/ 16 w 16"/>
                  <a:gd name="T18" fmla="*/ 36 h 36"/>
                </a:gdLst>
                <a:ahLst/>
                <a:cxnLst>
                  <a:cxn ang="T10">
                    <a:pos x="T0" y="T1"/>
                  </a:cxn>
                  <a:cxn ang="T11">
                    <a:pos x="T2" y="T3"/>
                  </a:cxn>
                  <a:cxn ang="T12">
                    <a:pos x="T4" y="T5"/>
                  </a:cxn>
                  <a:cxn ang="T13">
                    <a:pos x="T6" y="T7"/>
                  </a:cxn>
                  <a:cxn ang="T14">
                    <a:pos x="T8" y="T9"/>
                  </a:cxn>
                </a:cxnLst>
                <a:rect l="T15" t="T16" r="T17" b="T18"/>
                <a:pathLst>
                  <a:path w="16" h="36">
                    <a:moveTo>
                      <a:pt x="13" y="6"/>
                    </a:moveTo>
                    <a:lnTo>
                      <a:pt x="0" y="0"/>
                    </a:lnTo>
                    <a:lnTo>
                      <a:pt x="1" y="28"/>
                    </a:lnTo>
                    <a:lnTo>
                      <a:pt x="16" y="36"/>
                    </a:lnTo>
                    <a:lnTo>
                      <a:pt x="13"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5" name="Freeform 468"/>
              <p:cNvSpPr>
                <a:spLocks/>
              </p:cNvSpPr>
              <p:nvPr/>
            </p:nvSpPr>
            <p:spPr bwMode="gray">
              <a:xfrm>
                <a:off x="3808" y="2130"/>
                <a:ext cx="17" cy="38"/>
              </a:xfrm>
              <a:custGeom>
                <a:avLst/>
                <a:gdLst>
                  <a:gd name="T0" fmla="*/ 183 w 14"/>
                  <a:gd name="T1" fmla="*/ 77 h 32"/>
                  <a:gd name="T2" fmla="*/ 0 w 14"/>
                  <a:gd name="T3" fmla="*/ 0 h 32"/>
                  <a:gd name="T4" fmla="*/ 0 w 14"/>
                  <a:gd name="T5" fmla="*/ 211 h 32"/>
                  <a:gd name="T6" fmla="*/ 183 w 14"/>
                  <a:gd name="T7" fmla="*/ 298 h 32"/>
                  <a:gd name="T8" fmla="*/ 183 w 14"/>
                  <a:gd name="T9" fmla="*/ 77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8"/>
                    </a:moveTo>
                    <a:lnTo>
                      <a:pt x="0" y="0"/>
                    </a:lnTo>
                    <a:lnTo>
                      <a:pt x="0" y="23"/>
                    </a:lnTo>
                    <a:lnTo>
                      <a:pt x="14" y="32"/>
                    </a:lnTo>
                    <a:lnTo>
                      <a:pt x="14" y="8"/>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6" name="Freeform 469"/>
              <p:cNvSpPr>
                <a:spLocks/>
              </p:cNvSpPr>
              <p:nvPr/>
            </p:nvSpPr>
            <p:spPr bwMode="gray">
              <a:xfrm>
                <a:off x="3836" y="2148"/>
                <a:ext cx="18" cy="37"/>
              </a:xfrm>
              <a:custGeom>
                <a:avLst/>
                <a:gdLst>
                  <a:gd name="T0" fmla="*/ 158 w 15"/>
                  <a:gd name="T1" fmla="*/ 39 h 32"/>
                  <a:gd name="T2" fmla="*/ 2 w 15"/>
                  <a:gd name="T3" fmla="*/ 0 h 32"/>
                  <a:gd name="T4" fmla="*/ 0 w 15"/>
                  <a:gd name="T5" fmla="*/ 160 h 32"/>
                  <a:gd name="T6" fmla="*/ 158 w 15"/>
                  <a:gd name="T7" fmla="*/ 214 h 32"/>
                  <a:gd name="T8" fmla="*/ 158 w 15"/>
                  <a:gd name="T9" fmla="*/ 39 h 32"/>
                  <a:gd name="T10" fmla="*/ 0 60000 65536"/>
                  <a:gd name="T11" fmla="*/ 0 60000 65536"/>
                  <a:gd name="T12" fmla="*/ 0 60000 65536"/>
                  <a:gd name="T13" fmla="*/ 0 60000 65536"/>
                  <a:gd name="T14" fmla="*/ 0 60000 65536"/>
                  <a:gd name="T15" fmla="*/ 0 w 15"/>
                  <a:gd name="T16" fmla="*/ 0 h 32"/>
                  <a:gd name="T17" fmla="*/ 15 w 15"/>
                  <a:gd name="T18" fmla="*/ 32 h 32"/>
                </a:gdLst>
                <a:ahLst/>
                <a:cxnLst>
                  <a:cxn ang="T10">
                    <a:pos x="T0" y="T1"/>
                  </a:cxn>
                  <a:cxn ang="T11">
                    <a:pos x="T2" y="T3"/>
                  </a:cxn>
                  <a:cxn ang="T12">
                    <a:pos x="T4" y="T5"/>
                  </a:cxn>
                  <a:cxn ang="T13">
                    <a:pos x="T6" y="T7"/>
                  </a:cxn>
                  <a:cxn ang="T14">
                    <a:pos x="T8" y="T9"/>
                  </a:cxn>
                </a:cxnLst>
                <a:rect l="T15" t="T16" r="T17" b="T18"/>
                <a:pathLst>
                  <a:path w="15" h="32">
                    <a:moveTo>
                      <a:pt x="15" y="6"/>
                    </a:moveTo>
                    <a:lnTo>
                      <a:pt x="2" y="0"/>
                    </a:lnTo>
                    <a:lnTo>
                      <a:pt x="0" y="24"/>
                    </a:lnTo>
                    <a:lnTo>
                      <a:pt x="15" y="32"/>
                    </a:lnTo>
                    <a:lnTo>
                      <a:pt x="15"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7" name="Freeform 470"/>
              <p:cNvSpPr>
                <a:spLocks/>
              </p:cNvSpPr>
              <p:nvPr/>
            </p:nvSpPr>
            <p:spPr bwMode="gray">
              <a:xfrm>
                <a:off x="3868" y="2163"/>
                <a:ext cx="19" cy="41"/>
              </a:xfrm>
              <a:custGeom>
                <a:avLst/>
                <a:gdLst>
                  <a:gd name="T0" fmla="*/ 19 w 19"/>
                  <a:gd name="T1" fmla="*/ 6 h 41"/>
                  <a:gd name="T2" fmla="*/ 1 w 19"/>
                  <a:gd name="T3" fmla="*/ 0 h 41"/>
                  <a:gd name="T4" fmla="*/ 0 w 19"/>
                  <a:gd name="T5" fmla="*/ 32 h 41"/>
                  <a:gd name="T6" fmla="*/ 18 w 19"/>
                  <a:gd name="T7" fmla="*/ 41 h 41"/>
                  <a:gd name="T8" fmla="*/ 19 w 19"/>
                  <a:gd name="T9" fmla="*/ 6 h 41"/>
                  <a:gd name="T10" fmla="*/ 0 60000 65536"/>
                  <a:gd name="T11" fmla="*/ 0 60000 65536"/>
                  <a:gd name="T12" fmla="*/ 0 60000 65536"/>
                  <a:gd name="T13" fmla="*/ 0 60000 65536"/>
                  <a:gd name="T14" fmla="*/ 0 60000 65536"/>
                  <a:gd name="T15" fmla="*/ 0 w 19"/>
                  <a:gd name="T16" fmla="*/ 0 h 41"/>
                  <a:gd name="T17" fmla="*/ 19 w 19"/>
                  <a:gd name="T18" fmla="*/ 41 h 41"/>
                </a:gdLst>
                <a:ahLst/>
                <a:cxnLst>
                  <a:cxn ang="T10">
                    <a:pos x="T0" y="T1"/>
                  </a:cxn>
                  <a:cxn ang="T11">
                    <a:pos x="T2" y="T3"/>
                  </a:cxn>
                  <a:cxn ang="T12">
                    <a:pos x="T4" y="T5"/>
                  </a:cxn>
                  <a:cxn ang="T13">
                    <a:pos x="T6" y="T7"/>
                  </a:cxn>
                  <a:cxn ang="T14">
                    <a:pos x="T8" y="T9"/>
                  </a:cxn>
                </a:cxnLst>
                <a:rect l="T15" t="T16" r="T17" b="T18"/>
                <a:pathLst>
                  <a:path w="19" h="41">
                    <a:moveTo>
                      <a:pt x="19" y="6"/>
                    </a:moveTo>
                    <a:lnTo>
                      <a:pt x="1" y="0"/>
                    </a:lnTo>
                    <a:lnTo>
                      <a:pt x="0" y="32"/>
                    </a:lnTo>
                    <a:lnTo>
                      <a:pt x="18" y="41"/>
                    </a:lnTo>
                    <a:lnTo>
                      <a:pt x="19" y="6"/>
                    </a:lnTo>
                    <a:close/>
                  </a:path>
                </a:pathLst>
              </a:custGeom>
              <a:solidFill>
                <a:schemeClr val="folHlink"/>
              </a:solidFill>
              <a:ln w="9525">
                <a:noFill/>
                <a:round/>
                <a:headEnd/>
                <a:tailEnd/>
              </a:ln>
            </p:spPr>
            <p:txBody>
              <a:bodyPr/>
              <a:lstStyle/>
              <a:p>
                <a:pPr defTabSz="912546"/>
                <a:endParaRPr>
                  <a:solidFill>
                    <a:srgbClr val="000000"/>
                  </a:solidFill>
                </a:endParaRPr>
              </a:p>
            </p:txBody>
          </p:sp>
          <p:sp>
            <p:nvSpPr>
              <p:cNvPr id="441978" name="Freeform 471"/>
              <p:cNvSpPr>
                <a:spLocks/>
              </p:cNvSpPr>
              <p:nvPr/>
            </p:nvSpPr>
            <p:spPr bwMode="gray">
              <a:xfrm>
                <a:off x="4643" y="2156"/>
                <a:ext cx="15" cy="30"/>
              </a:xfrm>
              <a:custGeom>
                <a:avLst/>
                <a:gdLst>
                  <a:gd name="T0" fmla="*/ 0 w 15"/>
                  <a:gd name="T1" fmla="*/ 30 h 30"/>
                  <a:gd name="T2" fmla="*/ 12 w 15"/>
                  <a:gd name="T3" fmla="*/ 29 h 30"/>
                  <a:gd name="T4" fmla="*/ 15 w 15"/>
                  <a:gd name="T5" fmla="*/ 0 h 30"/>
                  <a:gd name="T6" fmla="*/ 3 w 15"/>
                  <a:gd name="T7" fmla="*/ 0 h 30"/>
                  <a:gd name="T8" fmla="*/ 0 w 15"/>
                  <a:gd name="T9" fmla="*/ 30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0" y="30"/>
                    </a:moveTo>
                    <a:lnTo>
                      <a:pt x="12" y="29"/>
                    </a:lnTo>
                    <a:lnTo>
                      <a:pt x="15" y="0"/>
                    </a:lnTo>
                    <a:lnTo>
                      <a:pt x="3" y="0"/>
                    </a:lnTo>
                    <a:lnTo>
                      <a:pt x="0" y="30"/>
                    </a:lnTo>
                    <a:close/>
                  </a:path>
                </a:pathLst>
              </a:custGeom>
              <a:solidFill>
                <a:schemeClr val="accent2"/>
              </a:solidFill>
              <a:ln w="9525">
                <a:noFill/>
                <a:round/>
                <a:headEnd/>
                <a:tailEnd/>
              </a:ln>
            </p:spPr>
            <p:txBody>
              <a:bodyPr/>
              <a:lstStyle/>
              <a:p>
                <a:pPr defTabSz="912546"/>
                <a:endParaRPr>
                  <a:solidFill>
                    <a:srgbClr val="000000"/>
                  </a:solidFill>
                </a:endParaRPr>
              </a:p>
            </p:txBody>
          </p:sp>
          <p:sp>
            <p:nvSpPr>
              <p:cNvPr id="441979" name="Freeform 472"/>
              <p:cNvSpPr>
                <a:spLocks/>
              </p:cNvSpPr>
              <p:nvPr/>
            </p:nvSpPr>
            <p:spPr bwMode="gray">
              <a:xfrm>
                <a:off x="4080" y="1740"/>
                <a:ext cx="29" cy="159"/>
              </a:xfrm>
              <a:custGeom>
                <a:avLst/>
                <a:gdLst>
                  <a:gd name="T0" fmla="*/ 4 w 29"/>
                  <a:gd name="T1" fmla="*/ 11 h 159"/>
                  <a:gd name="T2" fmla="*/ 4 w 29"/>
                  <a:gd name="T3" fmla="*/ 159 h 159"/>
                  <a:gd name="T4" fmla="*/ 28 w 29"/>
                  <a:gd name="T5" fmla="*/ 159 h 159"/>
                  <a:gd name="T6" fmla="*/ 26 w 29"/>
                  <a:gd name="T7" fmla="*/ 13 h 159"/>
                  <a:gd name="T8" fmla="*/ 4 w 29"/>
                  <a:gd name="T9" fmla="*/ 11 h 159"/>
                  <a:gd name="T10" fmla="*/ 0 60000 65536"/>
                  <a:gd name="T11" fmla="*/ 0 60000 65536"/>
                  <a:gd name="T12" fmla="*/ 0 60000 65536"/>
                  <a:gd name="T13" fmla="*/ 0 60000 65536"/>
                  <a:gd name="T14" fmla="*/ 0 60000 65536"/>
                  <a:gd name="T15" fmla="*/ 0 w 29"/>
                  <a:gd name="T16" fmla="*/ 0 h 159"/>
                  <a:gd name="T17" fmla="*/ 29 w 29"/>
                  <a:gd name="T18" fmla="*/ 159 h 159"/>
                </a:gdLst>
                <a:ahLst/>
                <a:cxnLst>
                  <a:cxn ang="T10">
                    <a:pos x="T0" y="T1"/>
                  </a:cxn>
                  <a:cxn ang="T11">
                    <a:pos x="T2" y="T3"/>
                  </a:cxn>
                  <a:cxn ang="T12">
                    <a:pos x="T4" y="T5"/>
                  </a:cxn>
                  <a:cxn ang="T13">
                    <a:pos x="T6" y="T7"/>
                  </a:cxn>
                  <a:cxn ang="T14">
                    <a:pos x="T8" y="T9"/>
                  </a:cxn>
                </a:cxnLst>
                <a:rect l="T15" t="T16" r="T17" b="T18"/>
                <a:pathLst>
                  <a:path w="29" h="159">
                    <a:moveTo>
                      <a:pt x="4" y="11"/>
                    </a:moveTo>
                    <a:cubicBezTo>
                      <a:pt x="4" y="34"/>
                      <a:pt x="0" y="134"/>
                      <a:pt x="4" y="159"/>
                    </a:cubicBezTo>
                    <a:lnTo>
                      <a:pt x="28" y="159"/>
                    </a:lnTo>
                    <a:cubicBezTo>
                      <a:pt x="27" y="133"/>
                      <a:pt x="29" y="39"/>
                      <a:pt x="26" y="13"/>
                    </a:cubicBezTo>
                    <a:cubicBezTo>
                      <a:pt x="21" y="0"/>
                      <a:pt x="7" y="8"/>
                      <a:pt x="4" y="11"/>
                    </a:cubicBezTo>
                    <a:close/>
                  </a:path>
                </a:pathLst>
              </a:custGeom>
              <a:gradFill rotWithShape="1">
                <a:gsLst>
                  <a:gs pos="0">
                    <a:srgbClr val="636363"/>
                  </a:gs>
                  <a:gs pos="50000">
                    <a:srgbClr val="969696"/>
                  </a:gs>
                  <a:gs pos="100000">
                    <a:srgbClr val="636363"/>
                  </a:gs>
                </a:gsLst>
                <a:lin ang="0" scaled="1"/>
              </a:gradFill>
              <a:ln w="9525">
                <a:noFill/>
                <a:round/>
                <a:headEnd/>
                <a:tailEnd/>
              </a:ln>
            </p:spPr>
            <p:txBody>
              <a:bodyPr/>
              <a:lstStyle/>
              <a:p>
                <a:pPr defTabSz="912546"/>
                <a:endParaRPr>
                  <a:solidFill>
                    <a:srgbClr val="000000"/>
                  </a:solidFill>
                </a:endParaRPr>
              </a:p>
            </p:txBody>
          </p:sp>
          <p:sp>
            <p:nvSpPr>
              <p:cNvPr id="441980" name="Freeform 473"/>
              <p:cNvSpPr>
                <a:spLocks/>
              </p:cNvSpPr>
              <p:nvPr/>
            </p:nvSpPr>
            <p:spPr bwMode="gray">
              <a:xfrm>
                <a:off x="4084" y="1746"/>
                <a:ext cx="21" cy="13"/>
              </a:xfrm>
              <a:custGeom>
                <a:avLst/>
                <a:gdLst>
                  <a:gd name="T0" fmla="*/ 0 w 21"/>
                  <a:gd name="T1" fmla="*/ 7 h 13"/>
                  <a:gd name="T2" fmla="*/ 21 w 21"/>
                  <a:gd name="T3" fmla="*/ 7 h 13"/>
                  <a:gd name="T4" fmla="*/ 0 w 21"/>
                  <a:gd name="T5" fmla="*/ 7 h 13"/>
                  <a:gd name="T6" fmla="*/ 0 60000 65536"/>
                  <a:gd name="T7" fmla="*/ 0 60000 65536"/>
                  <a:gd name="T8" fmla="*/ 0 60000 65536"/>
                  <a:gd name="T9" fmla="*/ 0 w 21"/>
                  <a:gd name="T10" fmla="*/ 0 h 13"/>
                  <a:gd name="T11" fmla="*/ 21 w 21"/>
                  <a:gd name="T12" fmla="*/ 13 h 13"/>
                </a:gdLst>
                <a:ahLst/>
                <a:cxnLst>
                  <a:cxn ang="T6">
                    <a:pos x="T0" y="T1"/>
                  </a:cxn>
                  <a:cxn ang="T7">
                    <a:pos x="T2" y="T3"/>
                  </a:cxn>
                  <a:cxn ang="T8">
                    <a:pos x="T4" y="T5"/>
                  </a:cxn>
                </a:cxnLst>
                <a:rect l="T9" t="T10" r="T11" b="T12"/>
                <a:pathLst>
                  <a:path w="21" h="13">
                    <a:moveTo>
                      <a:pt x="0" y="7"/>
                    </a:moveTo>
                    <a:cubicBezTo>
                      <a:pt x="2" y="13"/>
                      <a:pt x="21" y="13"/>
                      <a:pt x="21" y="7"/>
                    </a:cubicBezTo>
                    <a:cubicBezTo>
                      <a:pt x="21" y="0"/>
                      <a:pt x="1" y="0"/>
                      <a:pt x="0" y="7"/>
                    </a:cubicBezTo>
                    <a:close/>
                  </a:path>
                </a:pathLst>
              </a:custGeom>
              <a:solidFill>
                <a:schemeClr val="accent2"/>
              </a:solidFill>
              <a:ln w="9525">
                <a:noFill/>
                <a:round/>
                <a:headEnd/>
                <a:tailEnd/>
              </a:ln>
            </p:spPr>
            <p:txBody>
              <a:bodyPr/>
              <a:lstStyle/>
              <a:p>
                <a:pPr defTabSz="912546"/>
                <a:endParaRPr>
                  <a:solidFill>
                    <a:srgbClr val="000000"/>
                  </a:solidFill>
                </a:endParaRPr>
              </a:p>
            </p:txBody>
          </p:sp>
        </p:grpSp>
        <p:grpSp>
          <p:nvGrpSpPr>
            <p:cNvPr id="265124" name="Group 474"/>
            <p:cNvGrpSpPr>
              <a:grpSpLocks/>
            </p:cNvGrpSpPr>
            <p:nvPr/>
          </p:nvGrpSpPr>
          <p:grpSpPr bwMode="gray">
            <a:xfrm rot="214580" flipH="1">
              <a:off x="4278" y="2164"/>
              <a:ext cx="144" cy="69"/>
              <a:chOff x="1878" y="3183"/>
              <a:chExt cx="322" cy="137"/>
            </a:xfrm>
          </p:grpSpPr>
          <p:sp>
            <p:nvSpPr>
              <p:cNvPr id="441922" name="Freeform 475"/>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923" name="Freeform 476"/>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1924" name="Freeform 477"/>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1925" name="Freeform 478"/>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926" name="Freeform 479"/>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1927" name="Freeform 480"/>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928" name="Freeform 481"/>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929" name="Freeform 482"/>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30" name="Freeform 483"/>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31" name="Freeform 484"/>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32" name="Freeform 485"/>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33" name="Freeform 486"/>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34" name="Freeform 487"/>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25" name="Group 488"/>
            <p:cNvGrpSpPr>
              <a:grpSpLocks/>
            </p:cNvGrpSpPr>
            <p:nvPr/>
          </p:nvGrpSpPr>
          <p:grpSpPr bwMode="gray">
            <a:xfrm rot="214580" flipH="1">
              <a:off x="4176" y="2170"/>
              <a:ext cx="144" cy="69"/>
              <a:chOff x="1878" y="3183"/>
              <a:chExt cx="322" cy="137"/>
            </a:xfrm>
          </p:grpSpPr>
          <p:sp>
            <p:nvSpPr>
              <p:cNvPr id="441909" name="Freeform 489"/>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910" name="Freeform 490"/>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1911" name="Freeform 491"/>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1912" name="Freeform 492"/>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913" name="Freeform 493"/>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1914" name="Freeform 494"/>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915" name="Freeform 495"/>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916" name="Freeform 496"/>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17" name="Freeform 497"/>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18" name="Freeform 498"/>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19" name="Freeform 499"/>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20" name="Freeform 500"/>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21" name="Freeform 501"/>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26" name="Group 502"/>
            <p:cNvGrpSpPr>
              <a:grpSpLocks/>
            </p:cNvGrpSpPr>
            <p:nvPr/>
          </p:nvGrpSpPr>
          <p:grpSpPr bwMode="gray">
            <a:xfrm rot="214580" flipH="1">
              <a:off x="3984" y="2184"/>
              <a:ext cx="144" cy="69"/>
              <a:chOff x="1878" y="3183"/>
              <a:chExt cx="322" cy="137"/>
            </a:xfrm>
          </p:grpSpPr>
          <p:sp>
            <p:nvSpPr>
              <p:cNvPr id="441896" name="Freeform 503"/>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897" name="Freeform 504"/>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1898" name="Freeform 505"/>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rgbClr val="BEBEBE"/>
              </a:solidFill>
              <a:ln w="12700">
                <a:noFill/>
                <a:round/>
                <a:headEnd/>
                <a:tailEnd/>
              </a:ln>
            </p:spPr>
            <p:txBody>
              <a:bodyPr lIns="45720" tIns="46800" rIns="45720" bIns="46800" anchor="ctr"/>
              <a:lstStyle/>
              <a:p>
                <a:pPr defTabSz="912546"/>
                <a:endParaRPr>
                  <a:solidFill>
                    <a:srgbClr val="000000"/>
                  </a:solidFill>
                </a:endParaRPr>
              </a:p>
            </p:txBody>
          </p:sp>
          <p:sp>
            <p:nvSpPr>
              <p:cNvPr id="441899" name="Freeform 506"/>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900" name="Freeform 507"/>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1901" name="Freeform 508"/>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902" name="Freeform 509"/>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903" name="Freeform 510"/>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04" name="Freeform 511"/>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05" name="Freeform 512"/>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06" name="Freeform 513"/>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07" name="Freeform 514"/>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908" name="Freeform 515"/>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grpSp>
        <p:nvGrpSpPr>
          <p:cNvPr id="265127" name="Group 516"/>
          <p:cNvGrpSpPr>
            <a:grpSpLocks/>
          </p:cNvGrpSpPr>
          <p:nvPr/>
        </p:nvGrpSpPr>
        <p:grpSpPr bwMode="gray">
          <a:xfrm>
            <a:off x="3067050" y="1896677"/>
            <a:ext cx="828675" cy="663575"/>
            <a:chOff x="2019" y="933"/>
            <a:chExt cx="1461" cy="1177"/>
          </a:xfrm>
        </p:grpSpPr>
        <p:grpSp>
          <p:nvGrpSpPr>
            <p:cNvPr id="265128" name="Group 517"/>
            <p:cNvGrpSpPr>
              <a:grpSpLocks/>
            </p:cNvGrpSpPr>
            <p:nvPr/>
          </p:nvGrpSpPr>
          <p:grpSpPr bwMode="gray">
            <a:xfrm>
              <a:off x="2019" y="933"/>
              <a:ext cx="1461" cy="1177"/>
              <a:chOff x="3075" y="965"/>
              <a:chExt cx="1461" cy="1177"/>
            </a:xfrm>
          </p:grpSpPr>
          <p:sp>
            <p:nvSpPr>
              <p:cNvPr id="441834" name="Freeform 518"/>
              <p:cNvSpPr>
                <a:spLocks/>
              </p:cNvSpPr>
              <p:nvPr/>
            </p:nvSpPr>
            <p:spPr bwMode="gray">
              <a:xfrm>
                <a:off x="3834" y="1827"/>
                <a:ext cx="702" cy="174"/>
              </a:xfrm>
              <a:custGeom>
                <a:avLst/>
                <a:gdLst>
                  <a:gd name="T0" fmla="*/ 0 w 702"/>
                  <a:gd name="T1" fmla="*/ 111 h 174"/>
                  <a:gd name="T2" fmla="*/ 111 w 702"/>
                  <a:gd name="T3" fmla="*/ 174 h 174"/>
                  <a:gd name="T4" fmla="*/ 648 w 702"/>
                  <a:gd name="T5" fmla="*/ 105 h 174"/>
                  <a:gd name="T6" fmla="*/ 672 w 702"/>
                  <a:gd name="T7" fmla="*/ 63 h 174"/>
                  <a:gd name="T8" fmla="*/ 564 w 702"/>
                  <a:gd name="T9" fmla="*/ 0 h 174"/>
                  <a:gd name="T10" fmla="*/ 0 w 702"/>
                  <a:gd name="T11" fmla="*/ 111 h 174"/>
                  <a:gd name="T12" fmla="*/ 0 60000 65536"/>
                  <a:gd name="T13" fmla="*/ 0 60000 65536"/>
                  <a:gd name="T14" fmla="*/ 0 60000 65536"/>
                  <a:gd name="T15" fmla="*/ 0 60000 65536"/>
                  <a:gd name="T16" fmla="*/ 0 60000 65536"/>
                  <a:gd name="T17" fmla="*/ 0 60000 65536"/>
                  <a:gd name="T18" fmla="*/ 0 w 702"/>
                  <a:gd name="T19" fmla="*/ 0 h 174"/>
                  <a:gd name="T20" fmla="*/ 702 w 702"/>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702" h="174">
                    <a:moveTo>
                      <a:pt x="0" y="111"/>
                    </a:moveTo>
                    <a:lnTo>
                      <a:pt x="111" y="174"/>
                    </a:lnTo>
                    <a:cubicBezTo>
                      <a:pt x="423" y="138"/>
                      <a:pt x="468" y="129"/>
                      <a:pt x="648" y="105"/>
                    </a:cubicBezTo>
                    <a:cubicBezTo>
                      <a:pt x="690" y="99"/>
                      <a:pt x="702" y="78"/>
                      <a:pt x="672" y="63"/>
                    </a:cubicBezTo>
                    <a:cubicBezTo>
                      <a:pt x="642" y="45"/>
                      <a:pt x="618" y="30"/>
                      <a:pt x="564" y="0"/>
                    </a:cubicBezTo>
                    <a:cubicBezTo>
                      <a:pt x="274" y="43"/>
                      <a:pt x="0" y="111"/>
                      <a:pt x="0" y="111"/>
                    </a:cubicBezTo>
                    <a:close/>
                  </a:path>
                </a:pathLst>
              </a:custGeom>
              <a:solidFill>
                <a:srgbClr val="B8B8B8"/>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35" name="Freeform 519"/>
              <p:cNvSpPr>
                <a:spLocks/>
              </p:cNvSpPr>
              <p:nvPr/>
            </p:nvSpPr>
            <p:spPr bwMode="gray">
              <a:xfrm>
                <a:off x="3837" y="1806"/>
                <a:ext cx="585" cy="135"/>
              </a:xfrm>
              <a:custGeom>
                <a:avLst/>
                <a:gdLst>
                  <a:gd name="T0" fmla="*/ 582 w 585"/>
                  <a:gd name="T1" fmla="*/ 51 h 135"/>
                  <a:gd name="T2" fmla="*/ 0 w 585"/>
                  <a:gd name="T3" fmla="*/ 135 h 135"/>
                  <a:gd name="T4" fmla="*/ 0 w 585"/>
                  <a:gd name="T5" fmla="*/ 75 h 135"/>
                  <a:gd name="T6" fmla="*/ 585 w 585"/>
                  <a:gd name="T7" fmla="*/ 0 h 135"/>
                  <a:gd name="T8" fmla="*/ 582 w 585"/>
                  <a:gd name="T9" fmla="*/ 51 h 135"/>
                  <a:gd name="T10" fmla="*/ 0 60000 65536"/>
                  <a:gd name="T11" fmla="*/ 0 60000 65536"/>
                  <a:gd name="T12" fmla="*/ 0 60000 65536"/>
                  <a:gd name="T13" fmla="*/ 0 60000 65536"/>
                  <a:gd name="T14" fmla="*/ 0 60000 65536"/>
                  <a:gd name="T15" fmla="*/ 0 w 585"/>
                  <a:gd name="T16" fmla="*/ 0 h 135"/>
                  <a:gd name="T17" fmla="*/ 585 w 585"/>
                  <a:gd name="T18" fmla="*/ 135 h 135"/>
                </a:gdLst>
                <a:ahLst/>
                <a:cxnLst>
                  <a:cxn ang="T10">
                    <a:pos x="T0" y="T1"/>
                  </a:cxn>
                  <a:cxn ang="T11">
                    <a:pos x="T2" y="T3"/>
                  </a:cxn>
                  <a:cxn ang="T12">
                    <a:pos x="T4" y="T5"/>
                  </a:cxn>
                  <a:cxn ang="T13">
                    <a:pos x="T6" y="T7"/>
                  </a:cxn>
                  <a:cxn ang="T14">
                    <a:pos x="T8" y="T9"/>
                  </a:cxn>
                </a:cxnLst>
                <a:rect l="T15" t="T16" r="T17" b="T18"/>
                <a:pathLst>
                  <a:path w="585" h="135">
                    <a:moveTo>
                      <a:pt x="582" y="51"/>
                    </a:moveTo>
                    <a:lnTo>
                      <a:pt x="0" y="135"/>
                    </a:lnTo>
                    <a:lnTo>
                      <a:pt x="0" y="75"/>
                    </a:lnTo>
                    <a:lnTo>
                      <a:pt x="585" y="0"/>
                    </a:lnTo>
                    <a:lnTo>
                      <a:pt x="582" y="51"/>
                    </a:lnTo>
                    <a:close/>
                  </a:path>
                </a:pathLst>
              </a:custGeom>
              <a:solidFill>
                <a:schemeClr val="bg2"/>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36" name="Freeform 520"/>
              <p:cNvSpPr>
                <a:spLocks/>
              </p:cNvSpPr>
              <p:nvPr/>
            </p:nvSpPr>
            <p:spPr bwMode="gray">
              <a:xfrm>
                <a:off x="3075" y="1668"/>
                <a:ext cx="948" cy="474"/>
              </a:xfrm>
              <a:custGeom>
                <a:avLst/>
                <a:gdLst>
                  <a:gd name="T0" fmla="*/ 234 w 948"/>
                  <a:gd name="T1" fmla="*/ 0 h 474"/>
                  <a:gd name="T2" fmla="*/ 861 w 948"/>
                  <a:gd name="T3" fmla="*/ 324 h 474"/>
                  <a:gd name="T4" fmla="*/ 948 w 948"/>
                  <a:gd name="T5" fmla="*/ 417 h 474"/>
                  <a:gd name="T6" fmla="*/ 615 w 948"/>
                  <a:gd name="T7" fmla="*/ 474 h 474"/>
                  <a:gd name="T8" fmla="*/ 492 w 948"/>
                  <a:gd name="T9" fmla="*/ 294 h 474"/>
                  <a:gd name="T10" fmla="*/ 0 w 948"/>
                  <a:gd name="T11" fmla="*/ 15 h 474"/>
                  <a:gd name="T12" fmla="*/ 234 w 948"/>
                  <a:gd name="T13" fmla="*/ 0 h 474"/>
                  <a:gd name="T14" fmla="*/ 0 60000 65536"/>
                  <a:gd name="T15" fmla="*/ 0 60000 65536"/>
                  <a:gd name="T16" fmla="*/ 0 60000 65536"/>
                  <a:gd name="T17" fmla="*/ 0 60000 65536"/>
                  <a:gd name="T18" fmla="*/ 0 60000 65536"/>
                  <a:gd name="T19" fmla="*/ 0 60000 65536"/>
                  <a:gd name="T20" fmla="*/ 0 60000 65536"/>
                  <a:gd name="T21" fmla="*/ 0 w 948"/>
                  <a:gd name="T22" fmla="*/ 0 h 474"/>
                  <a:gd name="T23" fmla="*/ 948 w 948"/>
                  <a:gd name="T24" fmla="*/ 474 h 4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8" h="474">
                    <a:moveTo>
                      <a:pt x="234" y="0"/>
                    </a:moveTo>
                    <a:cubicBezTo>
                      <a:pt x="243" y="5"/>
                      <a:pt x="666" y="216"/>
                      <a:pt x="861" y="324"/>
                    </a:cubicBezTo>
                    <a:cubicBezTo>
                      <a:pt x="906" y="357"/>
                      <a:pt x="927" y="375"/>
                      <a:pt x="948" y="417"/>
                    </a:cubicBezTo>
                    <a:cubicBezTo>
                      <a:pt x="837" y="436"/>
                      <a:pt x="727" y="461"/>
                      <a:pt x="615" y="474"/>
                    </a:cubicBezTo>
                    <a:cubicBezTo>
                      <a:pt x="591" y="408"/>
                      <a:pt x="592" y="367"/>
                      <a:pt x="492" y="294"/>
                    </a:cubicBezTo>
                    <a:lnTo>
                      <a:pt x="0" y="15"/>
                    </a:lnTo>
                    <a:lnTo>
                      <a:pt x="234" y="0"/>
                    </a:lnTo>
                    <a:close/>
                  </a:path>
                </a:pathLst>
              </a:custGeom>
              <a:solidFill>
                <a:schemeClr val="folHlink"/>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37" name="Freeform 521"/>
              <p:cNvSpPr>
                <a:spLocks/>
              </p:cNvSpPr>
              <p:nvPr/>
            </p:nvSpPr>
            <p:spPr bwMode="gray">
              <a:xfrm>
                <a:off x="3384" y="1662"/>
                <a:ext cx="453" cy="276"/>
              </a:xfrm>
              <a:custGeom>
                <a:avLst/>
                <a:gdLst>
                  <a:gd name="T0" fmla="*/ 0 w 453"/>
                  <a:gd name="T1" fmla="*/ 0 h 276"/>
                  <a:gd name="T2" fmla="*/ 453 w 453"/>
                  <a:gd name="T3" fmla="*/ 219 h 276"/>
                  <a:gd name="T4" fmla="*/ 453 w 453"/>
                  <a:gd name="T5" fmla="*/ 276 h 276"/>
                  <a:gd name="T6" fmla="*/ 3 w 453"/>
                  <a:gd name="T7" fmla="*/ 42 h 276"/>
                  <a:gd name="T8" fmla="*/ 0 w 453"/>
                  <a:gd name="T9" fmla="*/ 0 h 276"/>
                  <a:gd name="T10" fmla="*/ 0 60000 65536"/>
                  <a:gd name="T11" fmla="*/ 0 60000 65536"/>
                  <a:gd name="T12" fmla="*/ 0 60000 65536"/>
                  <a:gd name="T13" fmla="*/ 0 60000 65536"/>
                  <a:gd name="T14" fmla="*/ 0 60000 65536"/>
                  <a:gd name="T15" fmla="*/ 0 w 453"/>
                  <a:gd name="T16" fmla="*/ 0 h 276"/>
                  <a:gd name="T17" fmla="*/ 453 w 453"/>
                  <a:gd name="T18" fmla="*/ 276 h 276"/>
                </a:gdLst>
                <a:ahLst/>
                <a:cxnLst>
                  <a:cxn ang="T10">
                    <a:pos x="T0" y="T1"/>
                  </a:cxn>
                  <a:cxn ang="T11">
                    <a:pos x="T2" y="T3"/>
                  </a:cxn>
                  <a:cxn ang="T12">
                    <a:pos x="T4" y="T5"/>
                  </a:cxn>
                  <a:cxn ang="T13">
                    <a:pos x="T6" y="T7"/>
                  </a:cxn>
                  <a:cxn ang="T14">
                    <a:pos x="T8" y="T9"/>
                  </a:cxn>
                </a:cxnLst>
                <a:rect l="T15" t="T16" r="T17" b="T18"/>
                <a:pathLst>
                  <a:path w="453" h="276">
                    <a:moveTo>
                      <a:pt x="0" y="0"/>
                    </a:moveTo>
                    <a:lnTo>
                      <a:pt x="453" y="219"/>
                    </a:lnTo>
                    <a:lnTo>
                      <a:pt x="453" y="276"/>
                    </a:lnTo>
                    <a:lnTo>
                      <a:pt x="3" y="42"/>
                    </a:lnTo>
                    <a:lnTo>
                      <a:pt x="0" y="0"/>
                    </a:lnTo>
                    <a:close/>
                  </a:path>
                </a:pathLst>
              </a:custGeom>
              <a:solidFill>
                <a:srgbClr val="E5E5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38" name="Freeform 522"/>
              <p:cNvSpPr>
                <a:spLocks/>
              </p:cNvSpPr>
              <p:nvPr/>
            </p:nvSpPr>
            <p:spPr bwMode="gray">
              <a:xfrm>
                <a:off x="3837" y="1257"/>
                <a:ext cx="609" cy="624"/>
              </a:xfrm>
              <a:custGeom>
                <a:avLst/>
                <a:gdLst>
                  <a:gd name="T0" fmla="*/ 582 w 609"/>
                  <a:gd name="T1" fmla="*/ 552 h 624"/>
                  <a:gd name="T2" fmla="*/ 0 w 609"/>
                  <a:gd name="T3" fmla="*/ 624 h 624"/>
                  <a:gd name="T4" fmla="*/ 9 w 609"/>
                  <a:gd name="T5" fmla="*/ 45 h 624"/>
                  <a:gd name="T6" fmla="*/ 609 w 609"/>
                  <a:gd name="T7" fmla="*/ 0 h 624"/>
                  <a:gd name="T8" fmla="*/ 582 w 609"/>
                  <a:gd name="T9" fmla="*/ 552 h 624"/>
                  <a:gd name="T10" fmla="*/ 0 60000 65536"/>
                  <a:gd name="T11" fmla="*/ 0 60000 65536"/>
                  <a:gd name="T12" fmla="*/ 0 60000 65536"/>
                  <a:gd name="T13" fmla="*/ 0 60000 65536"/>
                  <a:gd name="T14" fmla="*/ 0 60000 65536"/>
                  <a:gd name="T15" fmla="*/ 0 w 609"/>
                  <a:gd name="T16" fmla="*/ 0 h 624"/>
                  <a:gd name="T17" fmla="*/ 609 w 609"/>
                  <a:gd name="T18" fmla="*/ 624 h 624"/>
                </a:gdLst>
                <a:ahLst/>
                <a:cxnLst>
                  <a:cxn ang="T10">
                    <a:pos x="T0" y="T1"/>
                  </a:cxn>
                  <a:cxn ang="T11">
                    <a:pos x="T2" y="T3"/>
                  </a:cxn>
                  <a:cxn ang="T12">
                    <a:pos x="T4" y="T5"/>
                  </a:cxn>
                  <a:cxn ang="T13">
                    <a:pos x="T6" y="T7"/>
                  </a:cxn>
                  <a:cxn ang="T14">
                    <a:pos x="T8" y="T9"/>
                  </a:cxn>
                </a:cxnLst>
                <a:rect l="T15" t="T16" r="T17" b="T18"/>
                <a:pathLst>
                  <a:path w="609" h="624">
                    <a:moveTo>
                      <a:pt x="582" y="552"/>
                    </a:moveTo>
                    <a:lnTo>
                      <a:pt x="0" y="624"/>
                    </a:lnTo>
                    <a:lnTo>
                      <a:pt x="9" y="45"/>
                    </a:lnTo>
                    <a:lnTo>
                      <a:pt x="609" y="0"/>
                    </a:lnTo>
                    <a:lnTo>
                      <a:pt x="582" y="552"/>
                    </a:lnTo>
                    <a:close/>
                  </a:path>
                </a:pathLst>
              </a:custGeom>
              <a:solidFill>
                <a:srgbClr val="B39E77"/>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39" name="Freeform 523"/>
              <p:cNvSpPr>
                <a:spLocks/>
              </p:cNvSpPr>
              <p:nvPr/>
            </p:nvSpPr>
            <p:spPr bwMode="gray">
              <a:xfrm>
                <a:off x="3378" y="1149"/>
                <a:ext cx="468" cy="732"/>
              </a:xfrm>
              <a:custGeom>
                <a:avLst/>
                <a:gdLst>
                  <a:gd name="T0" fmla="*/ 15 w 468"/>
                  <a:gd name="T1" fmla="*/ 519 h 732"/>
                  <a:gd name="T2" fmla="*/ 0 w 468"/>
                  <a:gd name="T3" fmla="*/ 0 h 732"/>
                  <a:gd name="T4" fmla="*/ 468 w 468"/>
                  <a:gd name="T5" fmla="*/ 153 h 732"/>
                  <a:gd name="T6" fmla="*/ 459 w 468"/>
                  <a:gd name="T7" fmla="*/ 732 h 732"/>
                  <a:gd name="T8" fmla="*/ 15 w 468"/>
                  <a:gd name="T9" fmla="*/ 519 h 732"/>
                  <a:gd name="T10" fmla="*/ 0 60000 65536"/>
                  <a:gd name="T11" fmla="*/ 0 60000 65536"/>
                  <a:gd name="T12" fmla="*/ 0 60000 65536"/>
                  <a:gd name="T13" fmla="*/ 0 60000 65536"/>
                  <a:gd name="T14" fmla="*/ 0 60000 65536"/>
                  <a:gd name="T15" fmla="*/ 0 w 468"/>
                  <a:gd name="T16" fmla="*/ 0 h 732"/>
                  <a:gd name="T17" fmla="*/ 468 w 468"/>
                  <a:gd name="T18" fmla="*/ 732 h 732"/>
                </a:gdLst>
                <a:ahLst/>
                <a:cxnLst>
                  <a:cxn ang="T10">
                    <a:pos x="T0" y="T1"/>
                  </a:cxn>
                  <a:cxn ang="T11">
                    <a:pos x="T2" y="T3"/>
                  </a:cxn>
                  <a:cxn ang="T12">
                    <a:pos x="T4" y="T5"/>
                  </a:cxn>
                  <a:cxn ang="T13">
                    <a:pos x="T6" y="T7"/>
                  </a:cxn>
                  <a:cxn ang="T14">
                    <a:pos x="T8" y="T9"/>
                  </a:cxn>
                </a:cxnLst>
                <a:rect l="T15" t="T16" r="T17" b="T18"/>
                <a:pathLst>
                  <a:path w="468" h="732">
                    <a:moveTo>
                      <a:pt x="15" y="519"/>
                    </a:moveTo>
                    <a:lnTo>
                      <a:pt x="0" y="0"/>
                    </a:lnTo>
                    <a:lnTo>
                      <a:pt x="468" y="153"/>
                    </a:lnTo>
                    <a:lnTo>
                      <a:pt x="459" y="732"/>
                    </a:lnTo>
                    <a:lnTo>
                      <a:pt x="15" y="519"/>
                    </a:lnTo>
                    <a:close/>
                  </a:path>
                </a:pathLst>
              </a:custGeom>
              <a:solidFill>
                <a:srgbClr val="C9BA9F"/>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0" name="Freeform 524"/>
              <p:cNvSpPr>
                <a:spLocks/>
              </p:cNvSpPr>
              <p:nvPr/>
            </p:nvSpPr>
            <p:spPr bwMode="gray">
              <a:xfrm>
                <a:off x="3837" y="1302"/>
                <a:ext cx="24" cy="582"/>
              </a:xfrm>
              <a:custGeom>
                <a:avLst/>
                <a:gdLst>
                  <a:gd name="T0" fmla="*/ 21 w 24"/>
                  <a:gd name="T1" fmla="*/ 576 h 582"/>
                  <a:gd name="T2" fmla="*/ 21 w 24"/>
                  <a:gd name="T3" fmla="*/ 540 h 582"/>
                  <a:gd name="T4" fmla="*/ 15 w 24"/>
                  <a:gd name="T5" fmla="*/ 534 h 582"/>
                  <a:gd name="T6" fmla="*/ 18 w 24"/>
                  <a:gd name="T7" fmla="*/ 39 h 582"/>
                  <a:gd name="T8" fmla="*/ 24 w 24"/>
                  <a:gd name="T9" fmla="*/ 24 h 582"/>
                  <a:gd name="T10" fmla="*/ 24 w 24"/>
                  <a:gd name="T11" fmla="*/ 0 h 582"/>
                  <a:gd name="T12" fmla="*/ 6 w 24"/>
                  <a:gd name="T13" fmla="*/ 0 h 582"/>
                  <a:gd name="T14" fmla="*/ 0 w 24"/>
                  <a:gd name="T15" fmla="*/ 582 h 582"/>
                  <a:gd name="T16" fmla="*/ 21 w 24"/>
                  <a:gd name="T17" fmla="*/ 576 h 5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582"/>
                  <a:gd name="T29" fmla="*/ 24 w 24"/>
                  <a:gd name="T30" fmla="*/ 582 h 5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582">
                    <a:moveTo>
                      <a:pt x="21" y="576"/>
                    </a:moveTo>
                    <a:lnTo>
                      <a:pt x="21" y="540"/>
                    </a:lnTo>
                    <a:lnTo>
                      <a:pt x="15" y="534"/>
                    </a:lnTo>
                    <a:lnTo>
                      <a:pt x="18" y="39"/>
                    </a:lnTo>
                    <a:lnTo>
                      <a:pt x="24" y="24"/>
                    </a:lnTo>
                    <a:lnTo>
                      <a:pt x="24" y="0"/>
                    </a:lnTo>
                    <a:lnTo>
                      <a:pt x="6" y="0"/>
                    </a:lnTo>
                    <a:lnTo>
                      <a:pt x="0" y="582"/>
                    </a:lnTo>
                    <a:lnTo>
                      <a:pt x="21" y="576"/>
                    </a:lnTo>
                    <a:close/>
                  </a:path>
                </a:pathLst>
              </a:custGeom>
              <a:solidFill>
                <a:srgbClr val="D5D1C3"/>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1" name="Freeform 525"/>
              <p:cNvSpPr>
                <a:spLocks/>
              </p:cNvSpPr>
              <p:nvPr/>
            </p:nvSpPr>
            <p:spPr bwMode="gray">
              <a:xfrm>
                <a:off x="3819" y="1296"/>
                <a:ext cx="24" cy="588"/>
              </a:xfrm>
              <a:custGeom>
                <a:avLst/>
                <a:gdLst>
                  <a:gd name="T0" fmla="*/ 0 w 24"/>
                  <a:gd name="T1" fmla="*/ 582 h 588"/>
                  <a:gd name="T2" fmla="*/ 0 w 24"/>
                  <a:gd name="T3" fmla="*/ 549 h 588"/>
                  <a:gd name="T4" fmla="*/ 9 w 24"/>
                  <a:gd name="T5" fmla="*/ 540 h 588"/>
                  <a:gd name="T6" fmla="*/ 12 w 24"/>
                  <a:gd name="T7" fmla="*/ 45 h 588"/>
                  <a:gd name="T8" fmla="*/ 3 w 24"/>
                  <a:gd name="T9" fmla="*/ 33 h 588"/>
                  <a:gd name="T10" fmla="*/ 3 w 24"/>
                  <a:gd name="T11" fmla="*/ 0 h 588"/>
                  <a:gd name="T12" fmla="*/ 24 w 24"/>
                  <a:gd name="T13" fmla="*/ 6 h 588"/>
                  <a:gd name="T14" fmla="*/ 18 w 24"/>
                  <a:gd name="T15" fmla="*/ 588 h 588"/>
                  <a:gd name="T16" fmla="*/ 0 w 24"/>
                  <a:gd name="T17" fmla="*/ 582 h 5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588"/>
                  <a:gd name="T29" fmla="*/ 24 w 24"/>
                  <a:gd name="T30" fmla="*/ 588 h 5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588">
                    <a:moveTo>
                      <a:pt x="0" y="582"/>
                    </a:moveTo>
                    <a:lnTo>
                      <a:pt x="0" y="549"/>
                    </a:lnTo>
                    <a:lnTo>
                      <a:pt x="9" y="540"/>
                    </a:lnTo>
                    <a:lnTo>
                      <a:pt x="12" y="45"/>
                    </a:lnTo>
                    <a:lnTo>
                      <a:pt x="3" y="33"/>
                    </a:lnTo>
                    <a:lnTo>
                      <a:pt x="3" y="0"/>
                    </a:lnTo>
                    <a:lnTo>
                      <a:pt x="24" y="6"/>
                    </a:lnTo>
                    <a:lnTo>
                      <a:pt x="18" y="588"/>
                    </a:lnTo>
                    <a:lnTo>
                      <a:pt x="0" y="582"/>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2" name="Freeform 526"/>
              <p:cNvSpPr>
                <a:spLocks/>
              </p:cNvSpPr>
              <p:nvPr/>
            </p:nvSpPr>
            <p:spPr bwMode="gray">
              <a:xfrm>
                <a:off x="4404" y="1260"/>
                <a:ext cx="42" cy="549"/>
              </a:xfrm>
              <a:custGeom>
                <a:avLst/>
                <a:gdLst>
                  <a:gd name="T0" fmla="*/ 0 w 42"/>
                  <a:gd name="T1" fmla="*/ 549 h 549"/>
                  <a:gd name="T2" fmla="*/ 0 w 42"/>
                  <a:gd name="T3" fmla="*/ 522 h 549"/>
                  <a:gd name="T4" fmla="*/ 6 w 42"/>
                  <a:gd name="T5" fmla="*/ 513 h 549"/>
                  <a:gd name="T6" fmla="*/ 30 w 42"/>
                  <a:gd name="T7" fmla="*/ 33 h 549"/>
                  <a:gd name="T8" fmla="*/ 24 w 42"/>
                  <a:gd name="T9" fmla="*/ 24 h 549"/>
                  <a:gd name="T10" fmla="*/ 24 w 42"/>
                  <a:gd name="T11" fmla="*/ 0 h 549"/>
                  <a:gd name="T12" fmla="*/ 42 w 42"/>
                  <a:gd name="T13" fmla="*/ 0 h 549"/>
                  <a:gd name="T14" fmla="*/ 15 w 42"/>
                  <a:gd name="T15" fmla="*/ 549 h 549"/>
                  <a:gd name="T16" fmla="*/ 0 w 42"/>
                  <a:gd name="T17" fmla="*/ 549 h 5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549"/>
                  <a:gd name="T29" fmla="*/ 42 w 42"/>
                  <a:gd name="T30" fmla="*/ 549 h 5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549">
                    <a:moveTo>
                      <a:pt x="0" y="549"/>
                    </a:moveTo>
                    <a:lnTo>
                      <a:pt x="0" y="522"/>
                    </a:lnTo>
                    <a:lnTo>
                      <a:pt x="6" y="513"/>
                    </a:lnTo>
                    <a:lnTo>
                      <a:pt x="30" y="33"/>
                    </a:lnTo>
                    <a:lnTo>
                      <a:pt x="24" y="24"/>
                    </a:lnTo>
                    <a:lnTo>
                      <a:pt x="24" y="0"/>
                    </a:lnTo>
                    <a:lnTo>
                      <a:pt x="42" y="0"/>
                    </a:lnTo>
                    <a:lnTo>
                      <a:pt x="15" y="549"/>
                    </a:lnTo>
                    <a:lnTo>
                      <a:pt x="0" y="549"/>
                    </a:lnTo>
                    <a:close/>
                  </a:path>
                </a:pathLst>
              </a:custGeom>
              <a:solidFill>
                <a:srgbClr val="D5D1C3"/>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3" name="Freeform 527"/>
              <p:cNvSpPr>
                <a:spLocks/>
              </p:cNvSpPr>
              <p:nvPr/>
            </p:nvSpPr>
            <p:spPr bwMode="gray">
              <a:xfrm>
                <a:off x="3840" y="1119"/>
                <a:ext cx="600" cy="198"/>
              </a:xfrm>
              <a:custGeom>
                <a:avLst/>
                <a:gdLst>
                  <a:gd name="T0" fmla="*/ 0 w 600"/>
                  <a:gd name="T1" fmla="*/ 186 h 198"/>
                  <a:gd name="T2" fmla="*/ 15 w 600"/>
                  <a:gd name="T3" fmla="*/ 198 h 198"/>
                  <a:gd name="T4" fmla="*/ 585 w 600"/>
                  <a:gd name="T5" fmla="*/ 153 h 198"/>
                  <a:gd name="T6" fmla="*/ 600 w 600"/>
                  <a:gd name="T7" fmla="*/ 138 h 198"/>
                  <a:gd name="T8" fmla="*/ 300 w 600"/>
                  <a:gd name="T9" fmla="*/ 0 h 198"/>
                  <a:gd name="T10" fmla="*/ 0 w 600"/>
                  <a:gd name="T11" fmla="*/ 186 h 198"/>
                  <a:gd name="T12" fmla="*/ 0 60000 65536"/>
                  <a:gd name="T13" fmla="*/ 0 60000 65536"/>
                  <a:gd name="T14" fmla="*/ 0 60000 65536"/>
                  <a:gd name="T15" fmla="*/ 0 60000 65536"/>
                  <a:gd name="T16" fmla="*/ 0 60000 65536"/>
                  <a:gd name="T17" fmla="*/ 0 60000 65536"/>
                  <a:gd name="T18" fmla="*/ 0 w 600"/>
                  <a:gd name="T19" fmla="*/ 0 h 198"/>
                  <a:gd name="T20" fmla="*/ 600 w 600"/>
                  <a:gd name="T21" fmla="*/ 198 h 198"/>
                </a:gdLst>
                <a:ahLst/>
                <a:cxnLst>
                  <a:cxn ang="T12">
                    <a:pos x="T0" y="T1"/>
                  </a:cxn>
                  <a:cxn ang="T13">
                    <a:pos x="T2" y="T3"/>
                  </a:cxn>
                  <a:cxn ang="T14">
                    <a:pos x="T4" y="T5"/>
                  </a:cxn>
                  <a:cxn ang="T15">
                    <a:pos x="T6" y="T7"/>
                  </a:cxn>
                  <a:cxn ang="T16">
                    <a:pos x="T8" y="T9"/>
                  </a:cxn>
                  <a:cxn ang="T17">
                    <a:pos x="T10" y="T11"/>
                  </a:cxn>
                </a:cxnLst>
                <a:rect l="T18" t="T19" r="T20" b="T21"/>
                <a:pathLst>
                  <a:path w="600" h="198">
                    <a:moveTo>
                      <a:pt x="0" y="186"/>
                    </a:moveTo>
                    <a:lnTo>
                      <a:pt x="15" y="198"/>
                    </a:lnTo>
                    <a:lnTo>
                      <a:pt x="585" y="153"/>
                    </a:lnTo>
                    <a:lnTo>
                      <a:pt x="600" y="138"/>
                    </a:lnTo>
                    <a:lnTo>
                      <a:pt x="300" y="0"/>
                    </a:lnTo>
                    <a:lnTo>
                      <a:pt x="0" y="186"/>
                    </a:lnTo>
                    <a:close/>
                  </a:path>
                </a:pathLst>
              </a:custGeom>
              <a:solidFill>
                <a:srgbClr val="D5D1C3"/>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4" name="Freeform 528"/>
              <p:cNvSpPr>
                <a:spLocks/>
              </p:cNvSpPr>
              <p:nvPr/>
            </p:nvSpPr>
            <p:spPr bwMode="gray">
              <a:xfrm>
                <a:off x="3891" y="1149"/>
                <a:ext cx="498" cy="138"/>
              </a:xfrm>
              <a:custGeom>
                <a:avLst/>
                <a:gdLst>
                  <a:gd name="T0" fmla="*/ 225 w 498"/>
                  <a:gd name="T1" fmla="*/ 3 h 138"/>
                  <a:gd name="T2" fmla="*/ 0 w 498"/>
                  <a:gd name="T3" fmla="*/ 138 h 138"/>
                  <a:gd name="T4" fmla="*/ 498 w 498"/>
                  <a:gd name="T5" fmla="*/ 99 h 138"/>
                  <a:gd name="T6" fmla="*/ 276 w 498"/>
                  <a:gd name="T7" fmla="*/ 0 h 138"/>
                  <a:gd name="T8" fmla="*/ 225 w 498"/>
                  <a:gd name="T9" fmla="*/ 3 h 138"/>
                  <a:gd name="T10" fmla="*/ 0 60000 65536"/>
                  <a:gd name="T11" fmla="*/ 0 60000 65536"/>
                  <a:gd name="T12" fmla="*/ 0 60000 65536"/>
                  <a:gd name="T13" fmla="*/ 0 60000 65536"/>
                  <a:gd name="T14" fmla="*/ 0 60000 65536"/>
                  <a:gd name="T15" fmla="*/ 0 w 498"/>
                  <a:gd name="T16" fmla="*/ 0 h 138"/>
                  <a:gd name="T17" fmla="*/ 498 w 498"/>
                  <a:gd name="T18" fmla="*/ 138 h 138"/>
                </a:gdLst>
                <a:ahLst/>
                <a:cxnLst>
                  <a:cxn ang="T10">
                    <a:pos x="T0" y="T1"/>
                  </a:cxn>
                  <a:cxn ang="T11">
                    <a:pos x="T2" y="T3"/>
                  </a:cxn>
                  <a:cxn ang="T12">
                    <a:pos x="T4" y="T5"/>
                  </a:cxn>
                  <a:cxn ang="T13">
                    <a:pos x="T6" y="T7"/>
                  </a:cxn>
                  <a:cxn ang="T14">
                    <a:pos x="T8" y="T9"/>
                  </a:cxn>
                </a:cxnLst>
                <a:rect l="T15" t="T16" r="T17" b="T18"/>
                <a:pathLst>
                  <a:path w="498" h="138">
                    <a:moveTo>
                      <a:pt x="225" y="3"/>
                    </a:moveTo>
                    <a:lnTo>
                      <a:pt x="0" y="138"/>
                    </a:lnTo>
                    <a:lnTo>
                      <a:pt x="498" y="99"/>
                    </a:lnTo>
                    <a:lnTo>
                      <a:pt x="276" y="0"/>
                    </a:lnTo>
                    <a:lnTo>
                      <a:pt x="225" y="3"/>
                    </a:lnTo>
                    <a:close/>
                  </a:path>
                </a:pathLst>
              </a:custGeom>
              <a:solidFill>
                <a:srgbClr val="B39E77"/>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5" name="Freeform 529"/>
              <p:cNvSpPr>
                <a:spLocks/>
              </p:cNvSpPr>
              <p:nvPr/>
            </p:nvSpPr>
            <p:spPr bwMode="gray">
              <a:xfrm>
                <a:off x="3375" y="1149"/>
                <a:ext cx="27" cy="522"/>
              </a:xfrm>
              <a:custGeom>
                <a:avLst/>
                <a:gdLst>
                  <a:gd name="T0" fmla="*/ 27 w 27"/>
                  <a:gd name="T1" fmla="*/ 522 h 522"/>
                  <a:gd name="T2" fmla="*/ 27 w 27"/>
                  <a:gd name="T3" fmla="*/ 498 h 522"/>
                  <a:gd name="T4" fmla="*/ 27 w 27"/>
                  <a:gd name="T5" fmla="*/ 486 h 522"/>
                  <a:gd name="T6" fmla="*/ 15 w 27"/>
                  <a:gd name="T7" fmla="*/ 42 h 522"/>
                  <a:gd name="T8" fmla="*/ 15 w 27"/>
                  <a:gd name="T9" fmla="*/ 36 h 522"/>
                  <a:gd name="T10" fmla="*/ 15 w 27"/>
                  <a:gd name="T11" fmla="*/ 3 h 522"/>
                  <a:gd name="T12" fmla="*/ 0 w 27"/>
                  <a:gd name="T13" fmla="*/ 0 h 522"/>
                  <a:gd name="T14" fmla="*/ 15 w 27"/>
                  <a:gd name="T15" fmla="*/ 516 h 522"/>
                  <a:gd name="T16" fmla="*/ 27 w 27"/>
                  <a:gd name="T17" fmla="*/ 522 h 5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522"/>
                  <a:gd name="T29" fmla="*/ 27 w 27"/>
                  <a:gd name="T30" fmla="*/ 522 h 5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522">
                    <a:moveTo>
                      <a:pt x="27" y="522"/>
                    </a:moveTo>
                    <a:lnTo>
                      <a:pt x="27" y="498"/>
                    </a:lnTo>
                    <a:lnTo>
                      <a:pt x="27" y="486"/>
                    </a:lnTo>
                    <a:lnTo>
                      <a:pt x="15" y="42"/>
                    </a:lnTo>
                    <a:lnTo>
                      <a:pt x="15" y="36"/>
                    </a:lnTo>
                    <a:lnTo>
                      <a:pt x="15" y="3"/>
                    </a:lnTo>
                    <a:lnTo>
                      <a:pt x="0" y="0"/>
                    </a:lnTo>
                    <a:lnTo>
                      <a:pt x="15" y="516"/>
                    </a:lnTo>
                    <a:lnTo>
                      <a:pt x="27" y="522"/>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6" name="Freeform 530"/>
              <p:cNvSpPr>
                <a:spLocks/>
              </p:cNvSpPr>
              <p:nvPr/>
            </p:nvSpPr>
            <p:spPr bwMode="gray">
              <a:xfrm>
                <a:off x="3366" y="987"/>
                <a:ext cx="777" cy="318"/>
              </a:xfrm>
              <a:custGeom>
                <a:avLst/>
                <a:gdLst>
                  <a:gd name="T0" fmla="*/ 777 w 777"/>
                  <a:gd name="T1" fmla="*/ 132 h 318"/>
                  <a:gd name="T2" fmla="*/ 474 w 777"/>
                  <a:gd name="T3" fmla="*/ 318 h 318"/>
                  <a:gd name="T4" fmla="*/ 0 w 777"/>
                  <a:gd name="T5" fmla="*/ 159 h 318"/>
                  <a:gd name="T6" fmla="*/ 309 w 777"/>
                  <a:gd name="T7" fmla="*/ 0 h 318"/>
                  <a:gd name="T8" fmla="*/ 777 w 777"/>
                  <a:gd name="T9" fmla="*/ 132 h 318"/>
                  <a:gd name="T10" fmla="*/ 0 60000 65536"/>
                  <a:gd name="T11" fmla="*/ 0 60000 65536"/>
                  <a:gd name="T12" fmla="*/ 0 60000 65536"/>
                  <a:gd name="T13" fmla="*/ 0 60000 65536"/>
                  <a:gd name="T14" fmla="*/ 0 60000 65536"/>
                  <a:gd name="T15" fmla="*/ 0 w 777"/>
                  <a:gd name="T16" fmla="*/ 0 h 318"/>
                  <a:gd name="T17" fmla="*/ 777 w 777"/>
                  <a:gd name="T18" fmla="*/ 318 h 318"/>
                </a:gdLst>
                <a:ahLst/>
                <a:cxnLst>
                  <a:cxn ang="T10">
                    <a:pos x="T0" y="T1"/>
                  </a:cxn>
                  <a:cxn ang="T11">
                    <a:pos x="T2" y="T3"/>
                  </a:cxn>
                  <a:cxn ang="T12">
                    <a:pos x="T4" y="T5"/>
                  </a:cxn>
                  <a:cxn ang="T13">
                    <a:pos x="T6" y="T7"/>
                  </a:cxn>
                  <a:cxn ang="T14">
                    <a:pos x="T8" y="T9"/>
                  </a:cxn>
                </a:cxnLst>
                <a:rect l="T15" t="T16" r="T17" b="T18"/>
                <a:pathLst>
                  <a:path w="777" h="318">
                    <a:moveTo>
                      <a:pt x="777" y="132"/>
                    </a:moveTo>
                    <a:lnTo>
                      <a:pt x="474" y="318"/>
                    </a:lnTo>
                    <a:lnTo>
                      <a:pt x="0" y="159"/>
                    </a:lnTo>
                    <a:lnTo>
                      <a:pt x="309" y="0"/>
                    </a:lnTo>
                    <a:lnTo>
                      <a:pt x="777" y="132"/>
                    </a:lnTo>
                    <a:close/>
                  </a:path>
                </a:pathLst>
              </a:custGeom>
              <a:solidFill>
                <a:srgbClr val="977D6B"/>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7" name="Freeform 531"/>
              <p:cNvSpPr>
                <a:spLocks/>
              </p:cNvSpPr>
              <p:nvPr/>
            </p:nvSpPr>
            <p:spPr bwMode="gray">
              <a:xfrm>
                <a:off x="3369" y="1143"/>
                <a:ext cx="471" cy="180"/>
              </a:xfrm>
              <a:custGeom>
                <a:avLst/>
                <a:gdLst>
                  <a:gd name="T0" fmla="*/ 0 w 471"/>
                  <a:gd name="T1" fmla="*/ 0 h 180"/>
                  <a:gd name="T2" fmla="*/ 471 w 471"/>
                  <a:gd name="T3" fmla="*/ 159 h 180"/>
                  <a:gd name="T4" fmla="*/ 471 w 471"/>
                  <a:gd name="T5" fmla="*/ 180 h 180"/>
                  <a:gd name="T6" fmla="*/ 0 w 471"/>
                  <a:gd name="T7" fmla="*/ 15 h 180"/>
                  <a:gd name="T8" fmla="*/ 0 w 471"/>
                  <a:gd name="T9" fmla="*/ 0 h 180"/>
                  <a:gd name="T10" fmla="*/ 0 60000 65536"/>
                  <a:gd name="T11" fmla="*/ 0 60000 65536"/>
                  <a:gd name="T12" fmla="*/ 0 60000 65536"/>
                  <a:gd name="T13" fmla="*/ 0 60000 65536"/>
                  <a:gd name="T14" fmla="*/ 0 60000 65536"/>
                  <a:gd name="T15" fmla="*/ 0 w 471"/>
                  <a:gd name="T16" fmla="*/ 0 h 180"/>
                  <a:gd name="T17" fmla="*/ 471 w 471"/>
                  <a:gd name="T18" fmla="*/ 180 h 180"/>
                </a:gdLst>
                <a:ahLst/>
                <a:cxnLst>
                  <a:cxn ang="T10">
                    <a:pos x="T0" y="T1"/>
                  </a:cxn>
                  <a:cxn ang="T11">
                    <a:pos x="T2" y="T3"/>
                  </a:cxn>
                  <a:cxn ang="T12">
                    <a:pos x="T4" y="T5"/>
                  </a:cxn>
                  <a:cxn ang="T13">
                    <a:pos x="T6" y="T7"/>
                  </a:cxn>
                  <a:cxn ang="T14">
                    <a:pos x="T8" y="T9"/>
                  </a:cxn>
                </a:cxnLst>
                <a:rect l="T15" t="T16" r="T17" b="T18"/>
                <a:pathLst>
                  <a:path w="471" h="180">
                    <a:moveTo>
                      <a:pt x="0" y="0"/>
                    </a:moveTo>
                    <a:lnTo>
                      <a:pt x="471" y="159"/>
                    </a:lnTo>
                    <a:lnTo>
                      <a:pt x="471" y="180"/>
                    </a:lnTo>
                    <a:lnTo>
                      <a:pt x="0" y="15"/>
                    </a:lnTo>
                    <a:lnTo>
                      <a:pt x="0" y="0"/>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8" name="Freeform 532"/>
              <p:cNvSpPr>
                <a:spLocks/>
              </p:cNvSpPr>
              <p:nvPr/>
            </p:nvSpPr>
            <p:spPr bwMode="gray">
              <a:xfrm>
                <a:off x="4143" y="1122"/>
                <a:ext cx="297" cy="135"/>
              </a:xfrm>
              <a:custGeom>
                <a:avLst/>
                <a:gdLst>
                  <a:gd name="T0" fmla="*/ 297 w 297"/>
                  <a:gd name="T1" fmla="*/ 126 h 135"/>
                  <a:gd name="T2" fmla="*/ 297 w 297"/>
                  <a:gd name="T3" fmla="*/ 135 h 135"/>
                  <a:gd name="T4" fmla="*/ 0 w 297"/>
                  <a:gd name="T5" fmla="*/ 3 h 135"/>
                  <a:gd name="T6" fmla="*/ 9 w 297"/>
                  <a:gd name="T7" fmla="*/ 0 h 135"/>
                  <a:gd name="T8" fmla="*/ 297 w 297"/>
                  <a:gd name="T9" fmla="*/ 126 h 135"/>
                  <a:gd name="T10" fmla="*/ 0 60000 65536"/>
                  <a:gd name="T11" fmla="*/ 0 60000 65536"/>
                  <a:gd name="T12" fmla="*/ 0 60000 65536"/>
                  <a:gd name="T13" fmla="*/ 0 60000 65536"/>
                  <a:gd name="T14" fmla="*/ 0 60000 65536"/>
                  <a:gd name="T15" fmla="*/ 0 w 297"/>
                  <a:gd name="T16" fmla="*/ 0 h 135"/>
                  <a:gd name="T17" fmla="*/ 297 w 297"/>
                  <a:gd name="T18" fmla="*/ 135 h 135"/>
                </a:gdLst>
                <a:ahLst/>
                <a:cxnLst>
                  <a:cxn ang="T10">
                    <a:pos x="T0" y="T1"/>
                  </a:cxn>
                  <a:cxn ang="T11">
                    <a:pos x="T2" y="T3"/>
                  </a:cxn>
                  <a:cxn ang="T12">
                    <a:pos x="T4" y="T5"/>
                  </a:cxn>
                  <a:cxn ang="T13">
                    <a:pos x="T6" y="T7"/>
                  </a:cxn>
                  <a:cxn ang="T14">
                    <a:pos x="T8" y="T9"/>
                  </a:cxn>
                </a:cxnLst>
                <a:rect l="T15" t="T16" r="T17" b="T18"/>
                <a:pathLst>
                  <a:path w="297" h="135">
                    <a:moveTo>
                      <a:pt x="297" y="126"/>
                    </a:moveTo>
                    <a:lnTo>
                      <a:pt x="297" y="135"/>
                    </a:lnTo>
                    <a:lnTo>
                      <a:pt x="0" y="3"/>
                    </a:lnTo>
                    <a:lnTo>
                      <a:pt x="9" y="0"/>
                    </a:lnTo>
                    <a:lnTo>
                      <a:pt x="297" y="126"/>
                    </a:lnTo>
                    <a:close/>
                  </a:path>
                </a:pathLst>
              </a:custGeom>
              <a:solidFill>
                <a:srgbClr val="977D6B"/>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49" name="Freeform 533"/>
              <p:cNvSpPr>
                <a:spLocks/>
              </p:cNvSpPr>
              <p:nvPr/>
            </p:nvSpPr>
            <p:spPr bwMode="gray">
              <a:xfrm>
                <a:off x="3658" y="965"/>
                <a:ext cx="497" cy="163"/>
              </a:xfrm>
              <a:custGeom>
                <a:avLst/>
                <a:gdLst>
                  <a:gd name="T0" fmla="*/ 23 w 497"/>
                  <a:gd name="T1" fmla="*/ 10 h 163"/>
                  <a:gd name="T2" fmla="*/ 8 w 497"/>
                  <a:gd name="T3" fmla="*/ 22 h 163"/>
                  <a:gd name="T4" fmla="*/ 17 w 497"/>
                  <a:gd name="T5" fmla="*/ 28 h 163"/>
                  <a:gd name="T6" fmla="*/ 473 w 497"/>
                  <a:gd name="T7" fmla="*/ 163 h 163"/>
                  <a:gd name="T8" fmla="*/ 494 w 497"/>
                  <a:gd name="T9" fmla="*/ 154 h 163"/>
                  <a:gd name="T10" fmla="*/ 491 w 497"/>
                  <a:gd name="T11" fmla="*/ 145 h 163"/>
                  <a:gd name="T12" fmla="*/ 473 w 497"/>
                  <a:gd name="T13" fmla="*/ 145 h 163"/>
                  <a:gd name="T14" fmla="*/ 38 w 497"/>
                  <a:gd name="T15" fmla="*/ 19 h 163"/>
                  <a:gd name="T16" fmla="*/ 23 w 497"/>
                  <a:gd name="T17" fmla="*/ 1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7"/>
                  <a:gd name="T28" fmla="*/ 0 h 163"/>
                  <a:gd name="T29" fmla="*/ 497 w 497"/>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7" h="163">
                    <a:moveTo>
                      <a:pt x="23" y="10"/>
                    </a:moveTo>
                    <a:cubicBezTo>
                      <a:pt x="8" y="0"/>
                      <a:pt x="0" y="10"/>
                      <a:pt x="8" y="22"/>
                    </a:cubicBezTo>
                    <a:cubicBezTo>
                      <a:pt x="9" y="28"/>
                      <a:pt x="17" y="28"/>
                      <a:pt x="17" y="28"/>
                    </a:cubicBezTo>
                    <a:cubicBezTo>
                      <a:pt x="169" y="73"/>
                      <a:pt x="320" y="123"/>
                      <a:pt x="473" y="163"/>
                    </a:cubicBezTo>
                    <a:cubicBezTo>
                      <a:pt x="491" y="157"/>
                      <a:pt x="492" y="160"/>
                      <a:pt x="494" y="154"/>
                    </a:cubicBezTo>
                    <a:cubicBezTo>
                      <a:pt x="496" y="142"/>
                      <a:pt x="497" y="147"/>
                      <a:pt x="491" y="145"/>
                    </a:cubicBezTo>
                    <a:cubicBezTo>
                      <a:pt x="485" y="145"/>
                      <a:pt x="476" y="133"/>
                      <a:pt x="473" y="145"/>
                    </a:cubicBezTo>
                    <a:cubicBezTo>
                      <a:pt x="260" y="83"/>
                      <a:pt x="38" y="19"/>
                      <a:pt x="38" y="19"/>
                    </a:cubicBezTo>
                    <a:lnTo>
                      <a:pt x="23" y="10"/>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0" name="Freeform 534"/>
              <p:cNvSpPr>
                <a:spLocks/>
              </p:cNvSpPr>
              <p:nvPr/>
            </p:nvSpPr>
            <p:spPr bwMode="gray">
              <a:xfrm>
                <a:off x="3953" y="1200"/>
                <a:ext cx="389" cy="79"/>
              </a:xfrm>
              <a:custGeom>
                <a:avLst/>
                <a:gdLst>
                  <a:gd name="T0" fmla="*/ 31 w 389"/>
                  <a:gd name="T1" fmla="*/ 60 h 79"/>
                  <a:gd name="T2" fmla="*/ 13 w 389"/>
                  <a:gd name="T3" fmla="*/ 54 h 79"/>
                  <a:gd name="T4" fmla="*/ 46 w 389"/>
                  <a:gd name="T5" fmla="*/ 69 h 79"/>
                  <a:gd name="T6" fmla="*/ 58 w 389"/>
                  <a:gd name="T7" fmla="*/ 66 h 79"/>
                  <a:gd name="T8" fmla="*/ 361 w 389"/>
                  <a:gd name="T9" fmla="*/ 42 h 79"/>
                  <a:gd name="T10" fmla="*/ 358 w 389"/>
                  <a:gd name="T11" fmla="*/ 21 h 79"/>
                  <a:gd name="T12" fmla="*/ 361 w 389"/>
                  <a:gd name="T13" fmla="*/ 30 h 79"/>
                  <a:gd name="T14" fmla="*/ 352 w 389"/>
                  <a:gd name="T15" fmla="*/ 36 h 79"/>
                  <a:gd name="T16" fmla="*/ 325 w 389"/>
                  <a:gd name="T17" fmla="*/ 30 h 79"/>
                  <a:gd name="T18" fmla="*/ 331 w 389"/>
                  <a:gd name="T19" fmla="*/ 21 h 79"/>
                  <a:gd name="T20" fmla="*/ 316 w 389"/>
                  <a:gd name="T21" fmla="*/ 9 h 79"/>
                  <a:gd name="T22" fmla="*/ 313 w 389"/>
                  <a:gd name="T23" fmla="*/ 39 h 79"/>
                  <a:gd name="T24" fmla="*/ 280 w 389"/>
                  <a:gd name="T25" fmla="*/ 36 h 79"/>
                  <a:gd name="T26" fmla="*/ 304 w 389"/>
                  <a:gd name="T27" fmla="*/ 30 h 79"/>
                  <a:gd name="T28" fmla="*/ 286 w 389"/>
                  <a:gd name="T29" fmla="*/ 0 h 79"/>
                  <a:gd name="T30" fmla="*/ 262 w 389"/>
                  <a:gd name="T31" fmla="*/ 3 h 79"/>
                  <a:gd name="T32" fmla="*/ 277 w 389"/>
                  <a:gd name="T33" fmla="*/ 30 h 79"/>
                  <a:gd name="T34" fmla="*/ 286 w 389"/>
                  <a:gd name="T35" fmla="*/ 24 h 79"/>
                  <a:gd name="T36" fmla="*/ 268 w 389"/>
                  <a:gd name="T37" fmla="*/ 9 h 79"/>
                  <a:gd name="T38" fmla="*/ 283 w 389"/>
                  <a:gd name="T39" fmla="*/ 12 h 79"/>
                  <a:gd name="T40" fmla="*/ 289 w 389"/>
                  <a:gd name="T41" fmla="*/ 27 h 79"/>
                  <a:gd name="T42" fmla="*/ 265 w 389"/>
                  <a:gd name="T43" fmla="*/ 39 h 79"/>
                  <a:gd name="T44" fmla="*/ 112 w 389"/>
                  <a:gd name="T45" fmla="*/ 45 h 79"/>
                  <a:gd name="T46" fmla="*/ 130 w 389"/>
                  <a:gd name="T47" fmla="*/ 24 h 79"/>
                  <a:gd name="T48" fmla="*/ 142 w 389"/>
                  <a:gd name="T49" fmla="*/ 24 h 79"/>
                  <a:gd name="T50" fmla="*/ 109 w 389"/>
                  <a:gd name="T51" fmla="*/ 15 h 79"/>
                  <a:gd name="T52" fmla="*/ 97 w 389"/>
                  <a:gd name="T53" fmla="*/ 54 h 79"/>
                  <a:gd name="T54" fmla="*/ 79 w 389"/>
                  <a:gd name="T55" fmla="*/ 33 h 79"/>
                  <a:gd name="T56" fmla="*/ 91 w 389"/>
                  <a:gd name="T57" fmla="*/ 36 h 79"/>
                  <a:gd name="T58" fmla="*/ 70 w 389"/>
                  <a:gd name="T59" fmla="*/ 24 h 79"/>
                  <a:gd name="T60" fmla="*/ 73 w 389"/>
                  <a:gd name="T61" fmla="*/ 54 h 79"/>
                  <a:gd name="T62" fmla="*/ 25 w 389"/>
                  <a:gd name="T63" fmla="*/ 66 h 79"/>
                  <a:gd name="T64" fmla="*/ 31 w 389"/>
                  <a:gd name="T65" fmla="*/ 6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9"/>
                  <a:gd name="T100" fmla="*/ 0 h 79"/>
                  <a:gd name="T101" fmla="*/ 389 w 38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9" h="79">
                    <a:moveTo>
                      <a:pt x="31" y="60"/>
                    </a:moveTo>
                    <a:cubicBezTo>
                      <a:pt x="37" y="42"/>
                      <a:pt x="24" y="49"/>
                      <a:pt x="13" y="54"/>
                    </a:cubicBezTo>
                    <a:cubicBezTo>
                      <a:pt x="0" y="79"/>
                      <a:pt x="28" y="71"/>
                      <a:pt x="46" y="69"/>
                    </a:cubicBezTo>
                    <a:cubicBezTo>
                      <a:pt x="50" y="68"/>
                      <a:pt x="58" y="66"/>
                      <a:pt x="58" y="66"/>
                    </a:cubicBezTo>
                    <a:cubicBezTo>
                      <a:pt x="159" y="58"/>
                      <a:pt x="260" y="51"/>
                      <a:pt x="361" y="42"/>
                    </a:cubicBezTo>
                    <a:cubicBezTo>
                      <a:pt x="389" y="40"/>
                      <a:pt x="370" y="29"/>
                      <a:pt x="358" y="21"/>
                    </a:cubicBezTo>
                    <a:cubicBezTo>
                      <a:pt x="320" y="34"/>
                      <a:pt x="349" y="21"/>
                      <a:pt x="361" y="30"/>
                    </a:cubicBezTo>
                    <a:cubicBezTo>
                      <a:pt x="364" y="32"/>
                      <a:pt x="355" y="34"/>
                      <a:pt x="352" y="36"/>
                    </a:cubicBezTo>
                    <a:cubicBezTo>
                      <a:pt x="343" y="34"/>
                      <a:pt x="333" y="35"/>
                      <a:pt x="325" y="30"/>
                    </a:cubicBezTo>
                    <a:cubicBezTo>
                      <a:pt x="322" y="28"/>
                      <a:pt x="331" y="25"/>
                      <a:pt x="331" y="21"/>
                    </a:cubicBezTo>
                    <a:cubicBezTo>
                      <a:pt x="331" y="12"/>
                      <a:pt x="322" y="11"/>
                      <a:pt x="316" y="9"/>
                    </a:cubicBezTo>
                    <a:cubicBezTo>
                      <a:pt x="315" y="19"/>
                      <a:pt x="321" y="33"/>
                      <a:pt x="313" y="39"/>
                    </a:cubicBezTo>
                    <a:cubicBezTo>
                      <a:pt x="304" y="46"/>
                      <a:pt x="290" y="39"/>
                      <a:pt x="280" y="36"/>
                    </a:cubicBezTo>
                    <a:cubicBezTo>
                      <a:pt x="272" y="33"/>
                      <a:pt x="296" y="33"/>
                      <a:pt x="304" y="30"/>
                    </a:cubicBezTo>
                    <a:cubicBezTo>
                      <a:pt x="309" y="14"/>
                      <a:pt x="302" y="5"/>
                      <a:pt x="286" y="0"/>
                    </a:cubicBezTo>
                    <a:cubicBezTo>
                      <a:pt x="278" y="1"/>
                      <a:pt x="269" y="0"/>
                      <a:pt x="262" y="3"/>
                    </a:cubicBezTo>
                    <a:cubicBezTo>
                      <a:pt x="246" y="10"/>
                      <a:pt x="273" y="28"/>
                      <a:pt x="277" y="30"/>
                    </a:cubicBezTo>
                    <a:cubicBezTo>
                      <a:pt x="280" y="28"/>
                      <a:pt x="285" y="28"/>
                      <a:pt x="286" y="24"/>
                    </a:cubicBezTo>
                    <a:cubicBezTo>
                      <a:pt x="288" y="16"/>
                      <a:pt x="262" y="15"/>
                      <a:pt x="268" y="9"/>
                    </a:cubicBezTo>
                    <a:cubicBezTo>
                      <a:pt x="272" y="5"/>
                      <a:pt x="278" y="11"/>
                      <a:pt x="283" y="12"/>
                    </a:cubicBezTo>
                    <a:cubicBezTo>
                      <a:pt x="291" y="18"/>
                      <a:pt x="296" y="16"/>
                      <a:pt x="289" y="27"/>
                    </a:cubicBezTo>
                    <a:cubicBezTo>
                      <a:pt x="284" y="34"/>
                      <a:pt x="265" y="39"/>
                      <a:pt x="265" y="39"/>
                    </a:cubicBezTo>
                    <a:cubicBezTo>
                      <a:pt x="256" y="40"/>
                      <a:pt x="149" y="69"/>
                      <a:pt x="112" y="45"/>
                    </a:cubicBezTo>
                    <a:cubicBezTo>
                      <a:pt x="115" y="31"/>
                      <a:pt x="114" y="19"/>
                      <a:pt x="130" y="24"/>
                    </a:cubicBezTo>
                    <a:cubicBezTo>
                      <a:pt x="116" y="52"/>
                      <a:pt x="135" y="44"/>
                      <a:pt x="142" y="24"/>
                    </a:cubicBezTo>
                    <a:cubicBezTo>
                      <a:pt x="129" y="11"/>
                      <a:pt x="126" y="7"/>
                      <a:pt x="109" y="15"/>
                    </a:cubicBezTo>
                    <a:cubicBezTo>
                      <a:pt x="98" y="31"/>
                      <a:pt x="114" y="43"/>
                      <a:pt x="97" y="54"/>
                    </a:cubicBezTo>
                    <a:cubicBezTo>
                      <a:pt x="82" y="51"/>
                      <a:pt x="73" y="50"/>
                      <a:pt x="79" y="33"/>
                    </a:cubicBezTo>
                    <a:cubicBezTo>
                      <a:pt x="83" y="34"/>
                      <a:pt x="91" y="40"/>
                      <a:pt x="91" y="36"/>
                    </a:cubicBezTo>
                    <a:cubicBezTo>
                      <a:pt x="91" y="30"/>
                      <a:pt x="75" y="26"/>
                      <a:pt x="70" y="24"/>
                    </a:cubicBezTo>
                    <a:cubicBezTo>
                      <a:pt x="62" y="40"/>
                      <a:pt x="68" y="39"/>
                      <a:pt x="73" y="54"/>
                    </a:cubicBezTo>
                    <a:cubicBezTo>
                      <a:pt x="57" y="62"/>
                      <a:pt x="42" y="62"/>
                      <a:pt x="25" y="66"/>
                    </a:cubicBezTo>
                    <a:cubicBezTo>
                      <a:pt x="28" y="56"/>
                      <a:pt x="26" y="55"/>
                      <a:pt x="31" y="60"/>
                    </a:cubicBez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1" name="Freeform 535"/>
              <p:cNvSpPr>
                <a:spLocks/>
              </p:cNvSpPr>
              <p:nvPr/>
            </p:nvSpPr>
            <p:spPr bwMode="gray">
              <a:xfrm>
                <a:off x="4086" y="1158"/>
                <a:ext cx="119" cy="87"/>
              </a:xfrm>
              <a:custGeom>
                <a:avLst/>
                <a:gdLst>
                  <a:gd name="T0" fmla="*/ 66 w 119"/>
                  <a:gd name="T1" fmla="*/ 33 h 87"/>
                  <a:gd name="T2" fmla="*/ 57 w 119"/>
                  <a:gd name="T3" fmla="*/ 0 h 87"/>
                  <a:gd name="T4" fmla="*/ 48 w 119"/>
                  <a:gd name="T5" fmla="*/ 36 h 87"/>
                  <a:gd name="T6" fmla="*/ 54 w 119"/>
                  <a:gd name="T7" fmla="*/ 57 h 87"/>
                  <a:gd name="T8" fmla="*/ 24 w 119"/>
                  <a:gd name="T9" fmla="*/ 51 h 87"/>
                  <a:gd name="T10" fmla="*/ 30 w 119"/>
                  <a:gd name="T11" fmla="*/ 21 h 87"/>
                  <a:gd name="T12" fmla="*/ 27 w 119"/>
                  <a:gd name="T13" fmla="*/ 72 h 87"/>
                  <a:gd name="T14" fmla="*/ 33 w 119"/>
                  <a:gd name="T15" fmla="*/ 81 h 87"/>
                  <a:gd name="T16" fmla="*/ 15 w 119"/>
                  <a:gd name="T17" fmla="*/ 87 h 87"/>
                  <a:gd name="T18" fmla="*/ 96 w 119"/>
                  <a:gd name="T19" fmla="*/ 84 h 87"/>
                  <a:gd name="T20" fmla="*/ 114 w 119"/>
                  <a:gd name="T21" fmla="*/ 66 h 87"/>
                  <a:gd name="T22" fmla="*/ 114 w 119"/>
                  <a:gd name="T23" fmla="*/ 54 h 87"/>
                  <a:gd name="T24" fmla="*/ 99 w 119"/>
                  <a:gd name="T25" fmla="*/ 15 h 87"/>
                  <a:gd name="T26" fmla="*/ 105 w 119"/>
                  <a:gd name="T27" fmla="*/ 36 h 87"/>
                  <a:gd name="T28" fmla="*/ 96 w 119"/>
                  <a:gd name="T29" fmla="*/ 60 h 87"/>
                  <a:gd name="T30" fmla="*/ 78 w 119"/>
                  <a:gd name="T31" fmla="*/ 66 h 87"/>
                  <a:gd name="T32" fmla="*/ 87 w 119"/>
                  <a:gd name="T33" fmla="*/ 42 h 87"/>
                  <a:gd name="T34" fmla="*/ 66 w 119"/>
                  <a:gd name="T35" fmla="*/ 33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87"/>
                  <a:gd name="T56" fmla="*/ 119 w 11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87">
                    <a:moveTo>
                      <a:pt x="66" y="33"/>
                    </a:moveTo>
                    <a:cubicBezTo>
                      <a:pt x="71" y="17"/>
                      <a:pt x="76" y="6"/>
                      <a:pt x="57" y="0"/>
                    </a:cubicBezTo>
                    <a:cubicBezTo>
                      <a:pt x="30" y="5"/>
                      <a:pt x="38" y="16"/>
                      <a:pt x="48" y="36"/>
                    </a:cubicBezTo>
                    <a:cubicBezTo>
                      <a:pt x="29" y="49"/>
                      <a:pt x="48" y="38"/>
                      <a:pt x="54" y="57"/>
                    </a:cubicBezTo>
                    <a:cubicBezTo>
                      <a:pt x="41" y="66"/>
                      <a:pt x="33" y="64"/>
                      <a:pt x="24" y="51"/>
                    </a:cubicBezTo>
                    <a:cubicBezTo>
                      <a:pt x="27" y="38"/>
                      <a:pt x="34" y="33"/>
                      <a:pt x="30" y="21"/>
                    </a:cubicBezTo>
                    <a:cubicBezTo>
                      <a:pt x="10" y="31"/>
                      <a:pt x="0" y="63"/>
                      <a:pt x="27" y="72"/>
                    </a:cubicBezTo>
                    <a:cubicBezTo>
                      <a:pt x="29" y="75"/>
                      <a:pt x="35" y="78"/>
                      <a:pt x="33" y="81"/>
                    </a:cubicBezTo>
                    <a:cubicBezTo>
                      <a:pt x="29" y="86"/>
                      <a:pt x="9" y="87"/>
                      <a:pt x="15" y="87"/>
                    </a:cubicBezTo>
                    <a:cubicBezTo>
                      <a:pt x="42" y="86"/>
                      <a:pt x="69" y="85"/>
                      <a:pt x="96" y="84"/>
                    </a:cubicBezTo>
                    <a:cubicBezTo>
                      <a:pt x="108" y="78"/>
                      <a:pt x="119" y="80"/>
                      <a:pt x="114" y="66"/>
                    </a:cubicBezTo>
                    <a:cubicBezTo>
                      <a:pt x="84" y="72"/>
                      <a:pt x="108" y="71"/>
                      <a:pt x="114" y="54"/>
                    </a:cubicBezTo>
                    <a:cubicBezTo>
                      <a:pt x="112" y="36"/>
                      <a:pt x="116" y="21"/>
                      <a:pt x="99" y="15"/>
                    </a:cubicBezTo>
                    <a:cubicBezTo>
                      <a:pt x="76" y="21"/>
                      <a:pt x="91" y="30"/>
                      <a:pt x="105" y="36"/>
                    </a:cubicBezTo>
                    <a:cubicBezTo>
                      <a:pt x="104" y="42"/>
                      <a:pt x="103" y="56"/>
                      <a:pt x="96" y="60"/>
                    </a:cubicBezTo>
                    <a:cubicBezTo>
                      <a:pt x="91" y="63"/>
                      <a:pt x="78" y="66"/>
                      <a:pt x="78" y="66"/>
                    </a:cubicBezTo>
                    <a:cubicBezTo>
                      <a:pt x="70" y="43"/>
                      <a:pt x="66" y="50"/>
                      <a:pt x="87" y="42"/>
                    </a:cubicBezTo>
                    <a:cubicBezTo>
                      <a:pt x="74" y="22"/>
                      <a:pt x="78" y="45"/>
                      <a:pt x="66" y="33"/>
                    </a:cubicBez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2" name="Freeform 536"/>
              <p:cNvSpPr>
                <a:spLocks/>
              </p:cNvSpPr>
              <p:nvPr/>
            </p:nvSpPr>
            <p:spPr bwMode="gray">
              <a:xfrm>
                <a:off x="3423" y="1260"/>
                <a:ext cx="33" cy="111"/>
              </a:xfrm>
              <a:custGeom>
                <a:avLst/>
                <a:gdLst>
                  <a:gd name="T0" fmla="*/ 0 w 36"/>
                  <a:gd name="T1" fmla="*/ 0 h 117"/>
                  <a:gd name="T2" fmla="*/ 0 w 36"/>
                  <a:gd name="T3" fmla="*/ 52 h 117"/>
                  <a:gd name="T4" fmla="*/ 12 w 36"/>
                  <a:gd name="T5" fmla="*/ 59 h 117"/>
                  <a:gd name="T6" fmla="*/ 12 w 36"/>
                  <a:gd name="T7" fmla="*/ 9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3" name="Freeform 537"/>
              <p:cNvSpPr>
                <a:spLocks/>
              </p:cNvSpPr>
              <p:nvPr/>
            </p:nvSpPr>
            <p:spPr bwMode="gray">
              <a:xfrm>
                <a:off x="3490" y="1288"/>
                <a:ext cx="36" cy="111"/>
              </a:xfrm>
              <a:custGeom>
                <a:avLst/>
                <a:gdLst>
                  <a:gd name="T0" fmla="*/ 0 w 36"/>
                  <a:gd name="T1" fmla="*/ 0 h 117"/>
                  <a:gd name="T2" fmla="*/ 0 w 36"/>
                  <a:gd name="T3" fmla="*/ 52 h 117"/>
                  <a:gd name="T4" fmla="*/ 36 w 36"/>
                  <a:gd name="T5" fmla="*/ 59 h 117"/>
                  <a:gd name="T6" fmla="*/ 36 w 36"/>
                  <a:gd name="T7" fmla="*/ 9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4" name="Freeform 538"/>
              <p:cNvSpPr>
                <a:spLocks/>
              </p:cNvSpPr>
              <p:nvPr/>
            </p:nvSpPr>
            <p:spPr bwMode="gray">
              <a:xfrm>
                <a:off x="3557" y="1313"/>
                <a:ext cx="33" cy="114"/>
              </a:xfrm>
              <a:custGeom>
                <a:avLst/>
                <a:gdLst>
                  <a:gd name="T0" fmla="*/ 0 w 36"/>
                  <a:gd name="T1" fmla="*/ 0 h 117"/>
                  <a:gd name="T2" fmla="*/ 0 w 36"/>
                  <a:gd name="T3" fmla="*/ 74 h 117"/>
                  <a:gd name="T4" fmla="*/ 12 w 36"/>
                  <a:gd name="T5" fmla="*/ 84 h 117"/>
                  <a:gd name="T6" fmla="*/ 12 w 36"/>
                  <a:gd name="T7" fmla="*/ 15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5" name="Freeform 539"/>
              <p:cNvSpPr>
                <a:spLocks/>
              </p:cNvSpPr>
              <p:nvPr/>
            </p:nvSpPr>
            <p:spPr bwMode="gray">
              <a:xfrm>
                <a:off x="3624" y="1338"/>
                <a:ext cx="36" cy="117"/>
              </a:xfrm>
              <a:custGeom>
                <a:avLst/>
                <a:gdLst>
                  <a:gd name="T0" fmla="*/ 0 w 36"/>
                  <a:gd name="T1" fmla="*/ 0 h 117"/>
                  <a:gd name="T2" fmla="*/ 0 w 36"/>
                  <a:gd name="T3" fmla="*/ 102 h 117"/>
                  <a:gd name="T4" fmla="*/ 36 w 36"/>
                  <a:gd name="T5" fmla="*/ 117 h 117"/>
                  <a:gd name="T6" fmla="*/ 36 w 36"/>
                  <a:gd name="T7" fmla="*/ 15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6" name="Freeform 540"/>
              <p:cNvSpPr>
                <a:spLocks/>
              </p:cNvSpPr>
              <p:nvPr/>
            </p:nvSpPr>
            <p:spPr bwMode="gray">
              <a:xfrm>
                <a:off x="3688" y="1363"/>
                <a:ext cx="36" cy="117"/>
              </a:xfrm>
              <a:custGeom>
                <a:avLst/>
                <a:gdLst>
                  <a:gd name="T0" fmla="*/ 0 w 36"/>
                  <a:gd name="T1" fmla="*/ 0 h 117"/>
                  <a:gd name="T2" fmla="*/ 0 w 36"/>
                  <a:gd name="T3" fmla="*/ 102 h 117"/>
                  <a:gd name="T4" fmla="*/ 36 w 36"/>
                  <a:gd name="T5" fmla="*/ 117 h 117"/>
                  <a:gd name="T6" fmla="*/ 36 w 36"/>
                  <a:gd name="T7" fmla="*/ 15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7" name="Freeform 541"/>
              <p:cNvSpPr>
                <a:spLocks/>
              </p:cNvSpPr>
              <p:nvPr/>
            </p:nvSpPr>
            <p:spPr bwMode="gray">
              <a:xfrm>
                <a:off x="3758" y="1391"/>
                <a:ext cx="36" cy="117"/>
              </a:xfrm>
              <a:custGeom>
                <a:avLst/>
                <a:gdLst>
                  <a:gd name="T0" fmla="*/ 0 w 36"/>
                  <a:gd name="T1" fmla="*/ 0 h 117"/>
                  <a:gd name="T2" fmla="*/ 0 w 36"/>
                  <a:gd name="T3" fmla="*/ 102 h 117"/>
                  <a:gd name="T4" fmla="*/ 36 w 36"/>
                  <a:gd name="T5" fmla="*/ 117 h 117"/>
                  <a:gd name="T6" fmla="*/ 36 w 36"/>
                  <a:gd name="T7" fmla="*/ 15 h 117"/>
                  <a:gd name="T8" fmla="*/ 0 w 36"/>
                  <a:gd name="T9" fmla="*/ 0 h 117"/>
                  <a:gd name="T10" fmla="*/ 0 60000 65536"/>
                  <a:gd name="T11" fmla="*/ 0 60000 65536"/>
                  <a:gd name="T12" fmla="*/ 0 60000 65536"/>
                  <a:gd name="T13" fmla="*/ 0 60000 65536"/>
                  <a:gd name="T14" fmla="*/ 0 60000 65536"/>
                  <a:gd name="T15" fmla="*/ 0 w 36"/>
                  <a:gd name="T16" fmla="*/ 0 h 117"/>
                  <a:gd name="T17" fmla="*/ 36 w 36"/>
                  <a:gd name="T18" fmla="*/ 117 h 117"/>
                </a:gdLst>
                <a:ahLst/>
                <a:cxnLst>
                  <a:cxn ang="T10">
                    <a:pos x="T0" y="T1"/>
                  </a:cxn>
                  <a:cxn ang="T11">
                    <a:pos x="T2" y="T3"/>
                  </a:cxn>
                  <a:cxn ang="T12">
                    <a:pos x="T4" y="T5"/>
                  </a:cxn>
                  <a:cxn ang="T13">
                    <a:pos x="T6" y="T7"/>
                  </a:cxn>
                  <a:cxn ang="T14">
                    <a:pos x="T8" y="T9"/>
                  </a:cxn>
                </a:cxnLst>
                <a:rect l="T15" t="T16" r="T17" b="T18"/>
                <a:pathLst>
                  <a:path w="36" h="117">
                    <a:moveTo>
                      <a:pt x="0" y="0"/>
                    </a:moveTo>
                    <a:lnTo>
                      <a:pt x="0" y="102"/>
                    </a:lnTo>
                    <a:lnTo>
                      <a:pt x="36" y="117"/>
                    </a:lnTo>
                    <a:lnTo>
                      <a:pt x="36" y="15"/>
                    </a:lnTo>
                    <a:lnTo>
                      <a:pt x="0"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8" name="Freeform 542"/>
              <p:cNvSpPr>
                <a:spLocks/>
              </p:cNvSpPr>
              <p:nvPr/>
            </p:nvSpPr>
            <p:spPr bwMode="gray">
              <a:xfrm>
                <a:off x="3897" y="1416"/>
                <a:ext cx="42" cy="105"/>
              </a:xfrm>
              <a:custGeom>
                <a:avLst/>
                <a:gdLst>
                  <a:gd name="T0" fmla="*/ 0 w 42"/>
                  <a:gd name="T1" fmla="*/ 3 h 105"/>
                  <a:gd name="T2" fmla="*/ 0 w 42"/>
                  <a:gd name="T3" fmla="*/ 105 h 105"/>
                  <a:gd name="T4" fmla="*/ 42 w 42"/>
                  <a:gd name="T5" fmla="*/ 99 h 105"/>
                  <a:gd name="T6" fmla="*/ 42 w 42"/>
                  <a:gd name="T7" fmla="*/ 0 h 105"/>
                  <a:gd name="T8" fmla="*/ 0 w 42"/>
                  <a:gd name="T9" fmla="*/ 3 h 105"/>
                  <a:gd name="T10" fmla="*/ 0 60000 65536"/>
                  <a:gd name="T11" fmla="*/ 0 60000 65536"/>
                  <a:gd name="T12" fmla="*/ 0 60000 65536"/>
                  <a:gd name="T13" fmla="*/ 0 60000 65536"/>
                  <a:gd name="T14" fmla="*/ 0 60000 65536"/>
                  <a:gd name="T15" fmla="*/ 0 w 42"/>
                  <a:gd name="T16" fmla="*/ 0 h 105"/>
                  <a:gd name="T17" fmla="*/ 42 w 42"/>
                  <a:gd name="T18" fmla="*/ 105 h 105"/>
                </a:gdLst>
                <a:ahLst/>
                <a:cxnLst>
                  <a:cxn ang="T10">
                    <a:pos x="T0" y="T1"/>
                  </a:cxn>
                  <a:cxn ang="T11">
                    <a:pos x="T2" y="T3"/>
                  </a:cxn>
                  <a:cxn ang="T12">
                    <a:pos x="T4" y="T5"/>
                  </a:cxn>
                  <a:cxn ang="T13">
                    <a:pos x="T6" y="T7"/>
                  </a:cxn>
                  <a:cxn ang="T14">
                    <a:pos x="T8" y="T9"/>
                  </a:cxn>
                </a:cxnLst>
                <a:rect l="T15" t="T16" r="T17" b="T18"/>
                <a:pathLst>
                  <a:path w="42" h="105">
                    <a:moveTo>
                      <a:pt x="0" y="3"/>
                    </a:moveTo>
                    <a:lnTo>
                      <a:pt x="0" y="105"/>
                    </a:lnTo>
                    <a:lnTo>
                      <a:pt x="42" y="99"/>
                    </a:lnTo>
                    <a:lnTo>
                      <a:pt x="42" y="0"/>
                    </a:lnTo>
                    <a:lnTo>
                      <a:pt x="0" y="3"/>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59" name="Freeform 543"/>
              <p:cNvSpPr>
                <a:spLocks/>
              </p:cNvSpPr>
              <p:nvPr/>
            </p:nvSpPr>
            <p:spPr bwMode="gray">
              <a:xfrm>
                <a:off x="3982" y="1408"/>
                <a:ext cx="42" cy="105"/>
              </a:xfrm>
              <a:custGeom>
                <a:avLst/>
                <a:gdLst>
                  <a:gd name="T0" fmla="*/ 0 w 42"/>
                  <a:gd name="T1" fmla="*/ 3 h 105"/>
                  <a:gd name="T2" fmla="*/ 0 w 42"/>
                  <a:gd name="T3" fmla="*/ 105 h 105"/>
                  <a:gd name="T4" fmla="*/ 42 w 42"/>
                  <a:gd name="T5" fmla="*/ 99 h 105"/>
                  <a:gd name="T6" fmla="*/ 42 w 42"/>
                  <a:gd name="T7" fmla="*/ 0 h 105"/>
                  <a:gd name="T8" fmla="*/ 0 w 42"/>
                  <a:gd name="T9" fmla="*/ 3 h 105"/>
                  <a:gd name="T10" fmla="*/ 0 60000 65536"/>
                  <a:gd name="T11" fmla="*/ 0 60000 65536"/>
                  <a:gd name="T12" fmla="*/ 0 60000 65536"/>
                  <a:gd name="T13" fmla="*/ 0 60000 65536"/>
                  <a:gd name="T14" fmla="*/ 0 60000 65536"/>
                  <a:gd name="T15" fmla="*/ 0 w 42"/>
                  <a:gd name="T16" fmla="*/ 0 h 105"/>
                  <a:gd name="T17" fmla="*/ 42 w 42"/>
                  <a:gd name="T18" fmla="*/ 105 h 105"/>
                </a:gdLst>
                <a:ahLst/>
                <a:cxnLst>
                  <a:cxn ang="T10">
                    <a:pos x="T0" y="T1"/>
                  </a:cxn>
                  <a:cxn ang="T11">
                    <a:pos x="T2" y="T3"/>
                  </a:cxn>
                  <a:cxn ang="T12">
                    <a:pos x="T4" y="T5"/>
                  </a:cxn>
                  <a:cxn ang="T13">
                    <a:pos x="T6" y="T7"/>
                  </a:cxn>
                  <a:cxn ang="T14">
                    <a:pos x="T8" y="T9"/>
                  </a:cxn>
                </a:cxnLst>
                <a:rect l="T15" t="T16" r="T17" b="T18"/>
                <a:pathLst>
                  <a:path w="42" h="105">
                    <a:moveTo>
                      <a:pt x="0" y="3"/>
                    </a:moveTo>
                    <a:lnTo>
                      <a:pt x="0" y="105"/>
                    </a:lnTo>
                    <a:lnTo>
                      <a:pt x="42" y="99"/>
                    </a:lnTo>
                    <a:lnTo>
                      <a:pt x="42" y="0"/>
                    </a:lnTo>
                    <a:lnTo>
                      <a:pt x="0" y="3"/>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0" name="Freeform 544"/>
              <p:cNvSpPr>
                <a:spLocks/>
              </p:cNvSpPr>
              <p:nvPr/>
            </p:nvSpPr>
            <p:spPr bwMode="gray">
              <a:xfrm>
                <a:off x="4264" y="1384"/>
                <a:ext cx="42" cy="105"/>
              </a:xfrm>
              <a:custGeom>
                <a:avLst/>
                <a:gdLst>
                  <a:gd name="T0" fmla="*/ 0 w 42"/>
                  <a:gd name="T1" fmla="*/ 3 h 105"/>
                  <a:gd name="T2" fmla="*/ 0 w 42"/>
                  <a:gd name="T3" fmla="*/ 105 h 105"/>
                  <a:gd name="T4" fmla="*/ 42 w 42"/>
                  <a:gd name="T5" fmla="*/ 99 h 105"/>
                  <a:gd name="T6" fmla="*/ 42 w 42"/>
                  <a:gd name="T7" fmla="*/ 0 h 105"/>
                  <a:gd name="T8" fmla="*/ 0 w 42"/>
                  <a:gd name="T9" fmla="*/ 3 h 105"/>
                  <a:gd name="T10" fmla="*/ 0 60000 65536"/>
                  <a:gd name="T11" fmla="*/ 0 60000 65536"/>
                  <a:gd name="T12" fmla="*/ 0 60000 65536"/>
                  <a:gd name="T13" fmla="*/ 0 60000 65536"/>
                  <a:gd name="T14" fmla="*/ 0 60000 65536"/>
                  <a:gd name="T15" fmla="*/ 0 w 42"/>
                  <a:gd name="T16" fmla="*/ 0 h 105"/>
                  <a:gd name="T17" fmla="*/ 42 w 42"/>
                  <a:gd name="T18" fmla="*/ 105 h 105"/>
                </a:gdLst>
                <a:ahLst/>
                <a:cxnLst>
                  <a:cxn ang="T10">
                    <a:pos x="T0" y="T1"/>
                  </a:cxn>
                  <a:cxn ang="T11">
                    <a:pos x="T2" y="T3"/>
                  </a:cxn>
                  <a:cxn ang="T12">
                    <a:pos x="T4" y="T5"/>
                  </a:cxn>
                  <a:cxn ang="T13">
                    <a:pos x="T6" y="T7"/>
                  </a:cxn>
                  <a:cxn ang="T14">
                    <a:pos x="T8" y="T9"/>
                  </a:cxn>
                </a:cxnLst>
                <a:rect l="T15" t="T16" r="T17" b="T18"/>
                <a:pathLst>
                  <a:path w="42" h="105">
                    <a:moveTo>
                      <a:pt x="0" y="3"/>
                    </a:moveTo>
                    <a:lnTo>
                      <a:pt x="0" y="105"/>
                    </a:lnTo>
                    <a:lnTo>
                      <a:pt x="42" y="99"/>
                    </a:lnTo>
                    <a:lnTo>
                      <a:pt x="42" y="0"/>
                    </a:lnTo>
                    <a:lnTo>
                      <a:pt x="0" y="3"/>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1" name="Freeform 545"/>
              <p:cNvSpPr>
                <a:spLocks/>
              </p:cNvSpPr>
              <p:nvPr/>
            </p:nvSpPr>
            <p:spPr bwMode="gray">
              <a:xfrm>
                <a:off x="4032" y="1575"/>
                <a:ext cx="62" cy="372"/>
              </a:xfrm>
              <a:custGeom>
                <a:avLst/>
                <a:gdLst>
                  <a:gd name="T0" fmla="*/ 0 w 62"/>
                  <a:gd name="T1" fmla="*/ 3 h 372"/>
                  <a:gd name="T2" fmla="*/ 0 w 62"/>
                  <a:gd name="T3" fmla="*/ 33 h 372"/>
                  <a:gd name="T4" fmla="*/ 15 w 62"/>
                  <a:gd name="T5" fmla="*/ 45 h 372"/>
                  <a:gd name="T6" fmla="*/ 15 w 62"/>
                  <a:gd name="T7" fmla="*/ 276 h 372"/>
                  <a:gd name="T8" fmla="*/ 6 w 62"/>
                  <a:gd name="T9" fmla="*/ 285 h 372"/>
                  <a:gd name="T10" fmla="*/ 9 w 62"/>
                  <a:gd name="T11" fmla="*/ 357 h 372"/>
                  <a:gd name="T12" fmla="*/ 60 w 62"/>
                  <a:gd name="T13" fmla="*/ 354 h 372"/>
                  <a:gd name="T14" fmla="*/ 57 w 62"/>
                  <a:gd name="T15" fmla="*/ 282 h 372"/>
                  <a:gd name="T16" fmla="*/ 48 w 62"/>
                  <a:gd name="T17" fmla="*/ 276 h 372"/>
                  <a:gd name="T18" fmla="*/ 42 w 62"/>
                  <a:gd name="T19" fmla="*/ 45 h 372"/>
                  <a:gd name="T20" fmla="*/ 57 w 62"/>
                  <a:gd name="T21" fmla="*/ 33 h 372"/>
                  <a:gd name="T22" fmla="*/ 57 w 62"/>
                  <a:gd name="T23" fmla="*/ 0 h 372"/>
                  <a:gd name="T24" fmla="*/ 0 w 62"/>
                  <a:gd name="T25" fmla="*/ 3 h 3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372"/>
                  <a:gd name="T41" fmla="*/ 62 w 62"/>
                  <a:gd name="T42" fmla="*/ 372 h 3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372">
                    <a:moveTo>
                      <a:pt x="0" y="3"/>
                    </a:moveTo>
                    <a:lnTo>
                      <a:pt x="0" y="33"/>
                    </a:lnTo>
                    <a:lnTo>
                      <a:pt x="15" y="45"/>
                    </a:lnTo>
                    <a:lnTo>
                      <a:pt x="15" y="276"/>
                    </a:lnTo>
                    <a:lnTo>
                      <a:pt x="6" y="285"/>
                    </a:lnTo>
                    <a:cubicBezTo>
                      <a:pt x="6" y="309"/>
                      <a:pt x="3" y="336"/>
                      <a:pt x="9" y="357"/>
                    </a:cubicBezTo>
                    <a:cubicBezTo>
                      <a:pt x="15" y="366"/>
                      <a:pt x="54" y="372"/>
                      <a:pt x="60" y="354"/>
                    </a:cubicBezTo>
                    <a:cubicBezTo>
                      <a:pt x="57" y="332"/>
                      <a:pt x="62" y="304"/>
                      <a:pt x="57" y="282"/>
                    </a:cubicBezTo>
                    <a:cubicBezTo>
                      <a:pt x="56" y="279"/>
                      <a:pt x="48" y="276"/>
                      <a:pt x="48" y="276"/>
                    </a:cubicBezTo>
                    <a:cubicBezTo>
                      <a:pt x="45" y="238"/>
                      <a:pt x="41" y="85"/>
                      <a:pt x="42" y="45"/>
                    </a:cubicBezTo>
                    <a:cubicBezTo>
                      <a:pt x="51" y="39"/>
                      <a:pt x="55" y="40"/>
                      <a:pt x="57" y="33"/>
                    </a:cubicBezTo>
                    <a:cubicBezTo>
                      <a:pt x="57" y="16"/>
                      <a:pt x="57" y="0"/>
                      <a:pt x="57" y="0"/>
                    </a:cubicBezTo>
                    <a:lnTo>
                      <a:pt x="0" y="3"/>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2" name="Freeform 546"/>
              <p:cNvSpPr>
                <a:spLocks/>
              </p:cNvSpPr>
              <p:nvPr/>
            </p:nvSpPr>
            <p:spPr bwMode="gray">
              <a:xfrm>
                <a:off x="4346" y="1376"/>
                <a:ext cx="42" cy="105"/>
              </a:xfrm>
              <a:custGeom>
                <a:avLst/>
                <a:gdLst>
                  <a:gd name="T0" fmla="*/ 0 w 42"/>
                  <a:gd name="T1" fmla="*/ 3 h 105"/>
                  <a:gd name="T2" fmla="*/ 0 w 42"/>
                  <a:gd name="T3" fmla="*/ 105 h 105"/>
                  <a:gd name="T4" fmla="*/ 42 w 42"/>
                  <a:gd name="T5" fmla="*/ 99 h 105"/>
                  <a:gd name="T6" fmla="*/ 42 w 42"/>
                  <a:gd name="T7" fmla="*/ 0 h 105"/>
                  <a:gd name="T8" fmla="*/ 0 w 42"/>
                  <a:gd name="T9" fmla="*/ 3 h 105"/>
                  <a:gd name="T10" fmla="*/ 0 60000 65536"/>
                  <a:gd name="T11" fmla="*/ 0 60000 65536"/>
                  <a:gd name="T12" fmla="*/ 0 60000 65536"/>
                  <a:gd name="T13" fmla="*/ 0 60000 65536"/>
                  <a:gd name="T14" fmla="*/ 0 60000 65536"/>
                  <a:gd name="T15" fmla="*/ 0 w 42"/>
                  <a:gd name="T16" fmla="*/ 0 h 105"/>
                  <a:gd name="T17" fmla="*/ 42 w 42"/>
                  <a:gd name="T18" fmla="*/ 105 h 105"/>
                </a:gdLst>
                <a:ahLst/>
                <a:cxnLst>
                  <a:cxn ang="T10">
                    <a:pos x="T0" y="T1"/>
                  </a:cxn>
                  <a:cxn ang="T11">
                    <a:pos x="T2" y="T3"/>
                  </a:cxn>
                  <a:cxn ang="T12">
                    <a:pos x="T4" y="T5"/>
                  </a:cxn>
                  <a:cxn ang="T13">
                    <a:pos x="T6" y="T7"/>
                  </a:cxn>
                  <a:cxn ang="T14">
                    <a:pos x="T8" y="T9"/>
                  </a:cxn>
                </a:cxnLst>
                <a:rect l="T15" t="T16" r="T17" b="T18"/>
                <a:pathLst>
                  <a:path w="42" h="105">
                    <a:moveTo>
                      <a:pt x="0" y="3"/>
                    </a:moveTo>
                    <a:lnTo>
                      <a:pt x="0" y="105"/>
                    </a:lnTo>
                    <a:lnTo>
                      <a:pt x="42" y="99"/>
                    </a:lnTo>
                    <a:lnTo>
                      <a:pt x="42" y="0"/>
                    </a:lnTo>
                    <a:lnTo>
                      <a:pt x="0" y="3"/>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3" name="Freeform 547"/>
              <p:cNvSpPr>
                <a:spLocks/>
              </p:cNvSpPr>
              <p:nvPr/>
            </p:nvSpPr>
            <p:spPr bwMode="gray">
              <a:xfrm>
                <a:off x="3981" y="1461"/>
                <a:ext cx="231" cy="126"/>
              </a:xfrm>
              <a:custGeom>
                <a:avLst/>
                <a:gdLst>
                  <a:gd name="T0" fmla="*/ 168 w 231"/>
                  <a:gd name="T1" fmla="*/ 0 h 126"/>
                  <a:gd name="T2" fmla="*/ 0 w 231"/>
                  <a:gd name="T3" fmla="*/ 102 h 126"/>
                  <a:gd name="T4" fmla="*/ 66 w 231"/>
                  <a:gd name="T5" fmla="*/ 126 h 126"/>
                  <a:gd name="T6" fmla="*/ 231 w 231"/>
                  <a:gd name="T7" fmla="*/ 27 h 126"/>
                  <a:gd name="T8" fmla="*/ 168 w 231"/>
                  <a:gd name="T9" fmla="*/ 0 h 126"/>
                  <a:gd name="T10" fmla="*/ 0 60000 65536"/>
                  <a:gd name="T11" fmla="*/ 0 60000 65536"/>
                  <a:gd name="T12" fmla="*/ 0 60000 65536"/>
                  <a:gd name="T13" fmla="*/ 0 60000 65536"/>
                  <a:gd name="T14" fmla="*/ 0 60000 65536"/>
                  <a:gd name="T15" fmla="*/ 0 w 231"/>
                  <a:gd name="T16" fmla="*/ 0 h 126"/>
                  <a:gd name="T17" fmla="*/ 231 w 231"/>
                  <a:gd name="T18" fmla="*/ 126 h 126"/>
                </a:gdLst>
                <a:ahLst/>
                <a:cxnLst>
                  <a:cxn ang="T10">
                    <a:pos x="T0" y="T1"/>
                  </a:cxn>
                  <a:cxn ang="T11">
                    <a:pos x="T2" y="T3"/>
                  </a:cxn>
                  <a:cxn ang="T12">
                    <a:pos x="T4" y="T5"/>
                  </a:cxn>
                  <a:cxn ang="T13">
                    <a:pos x="T6" y="T7"/>
                  </a:cxn>
                  <a:cxn ang="T14">
                    <a:pos x="T8" y="T9"/>
                  </a:cxn>
                </a:cxnLst>
                <a:rect l="T15" t="T16" r="T17" b="T18"/>
                <a:pathLst>
                  <a:path w="231" h="126">
                    <a:moveTo>
                      <a:pt x="168" y="0"/>
                    </a:moveTo>
                    <a:lnTo>
                      <a:pt x="0" y="102"/>
                    </a:lnTo>
                    <a:lnTo>
                      <a:pt x="66" y="126"/>
                    </a:lnTo>
                    <a:lnTo>
                      <a:pt x="231" y="27"/>
                    </a:lnTo>
                    <a:lnTo>
                      <a:pt x="168" y="0"/>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4" name="Freeform 548"/>
              <p:cNvSpPr>
                <a:spLocks/>
              </p:cNvSpPr>
              <p:nvPr/>
            </p:nvSpPr>
            <p:spPr bwMode="gray">
              <a:xfrm>
                <a:off x="4041" y="1486"/>
                <a:ext cx="306" cy="107"/>
              </a:xfrm>
              <a:custGeom>
                <a:avLst/>
                <a:gdLst>
                  <a:gd name="T0" fmla="*/ 0 w 306"/>
                  <a:gd name="T1" fmla="*/ 101 h 107"/>
                  <a:gd name="T2" fmla="*/ 33 w 306"/>
                  <a:gd name="T3" fmla="*/ 107 h 107"/>
                  <a:gd name="T4" fmla="*/ 279 w 306"/>
                  <a:gd name="T5" fmla="*/ 86 h 107"/>
                  <a:gd name="T6" fmla="*/ 306 w 306"/>
                  <a:gd name="T7" fmla="*/ 71 h 107"/>
                  <a:gd name="T8" fmla="*/ 160 w 306"/>
                  <a:gd name="T9" fmla="*/ 0 h 107"/>
                  <a:gd name="T10" fmla="*/ 0 w 306"/>
                  <a:gd name="T11" fmla="*/ 101 h 107"/>
                  <a:gd name="T12" fmla="*/ 0 60000 65536"/>
                  <a:gd name="T13" fmla="*/ 0 60000 65536"/>
                  <a:gd name="T14" fmla="*/ 0 60000 65536"/>
                  <a:gd name="T15" fmla="*/ 0 60000 65536"/>
                  <a:gd name="T16" fmla="*/ 0 60000 65536"/>
                  <a:gd name="T17" fmla="*/ 0 60000 65536"/>
                  <a:gd name="T18" fmla="*/ 0 w 306"/>
                  <a:gd name="T19" fmla="*/ 0 h 107"/>
                  <a:gd name="T20" fmla="*/ 306 w 306"/>
                  <a:gd name="T21" fmla="*/ 107 h 107"/>
                </a:gdLst>
                <a:ahLst/>
                <a:cxnLst>
                  <a:cxn ang="T12">
                    <a:pos x="T0" y="T1"/>
                  </a:cxn>
                  <a:cxn ang="T13">
                    <a:pos x="T2" y="T3"/>
                  </a:cxn>
                  <a:cxn ang="T14">
                    <a:pos x="T4" y="T5"/>
                  </a:cxn>
                  <a:cxn ang="T15">
                    <a:pos x="T6" y="T7"/>
                  </a:cxn>
                  <a:cxn ang="T16">
                    <a:pos x="T8" y="T9"/>
                  </a:cxn>
                  <a:cxn ang="T17">
                    <a:pos x="T10" y="T11"/>
                  </a:cxn>
                </a:cxnLst>
                <a:rect l="T18" t="T19" r="T20" b="T21"/>
                <a:pathLst>
                  <a:path w="306" h="107">
                    <a:moveTo>
                      <a:pt x="0" y="101"/>
                    </a:moveTo>
                    <a:lnTo>
                      <a:pt x="33" y="107"/>
                    </a:lnTo>
                    <a:lnTo>
                      <a:pt x="279" y="86"/>
                    </a:lnTo>
                    <a:lnTo>
                      <a:pt x="306" y="71"/>
                    </a:lnTo>
                    <a:lnTo>
                      <a:pt x="160" y="0"/>
                    </a:lnTo>
                    <a:lnTo>
                      <a:pt x="0" y="101"/>
                    </a:lnTo>
                    <a:close/>
                  </a:path>
                </a:pathLst>
              </a:custGeom>
              <a:solidFill>
                <a:srgbClr val="D5D1C3"/>
              </a:solidFill>
              <a:ln w="9525">
                <a:noFill/>
                <a:round/>
                <a:headEnd/>
                <a:tailEnd type="none" w="sm" len="lg"/>
              </a:ln>
            </p:spPr>
            <p:txBody>
              <a:bodyPr wrap="none" lIns="90000" tIns="46800" rIns="90000" bIns="46800" anchor="ctr"/>
              <a:lstStyle/>
              <a:p>
                <a:pPr defTabSz="912546"/>
                <a:endParaRPr>
                  <a:solidFill>
                    <a:srgbClr val="000000"/>
                  </a:solidFill>
                </a:endParaRPr>
              </a:p>
            </p:txBody>
          </p:sp>
          <p:grpSp>
            <p:nvGrpSpPr>
              <p:cNvPr id="265129" name="Group 549"/>
              <p:cNvGrpSpPr>
                <a:grpSpLocks/>
              </p:cNvGrpSpPr>
              <p:nvPr/>
            </p:nvGrpSpPr>
            <p:grpSpPr bwMode="gray">
              <a:xfrm>
                <a:off x="4084" y="1505"/>
                <a:ext cx="233" cy="65"/>
                <a:chOff x="4024" y="1282"/>
                <a:chExt cx="498" cy="138"/>
              </a:xfrm>
            </p:grpSpPr>
            <p:sp>
              <p:nvSpPr>
                <p:cNvPr id="441888" name="Freeform 550"/>
                <p:cNvSpPr>
                  <a:spLocks/>
                </p:cNvSpPr>
                <p:nvPr/>
              </p:nvSpPr>
              <p:spPr bwMode="gray">
                <a:xfrm>
                  <a:off x="4024" y="1282"/>
                  <a:ext cx="498" cy="138"/>
                </a:xfrm>
                <a:custGeom>
                  <a:avLst/>
                  <a:gdLst>
                    <a:gd name="T0" fmla="*/ 225 w 498"/>
                    <a:gd name="T1" fmla="*/ 3 h 138"/>
                    <a:gd name="T2" fmla="*/ 0 w 498"/>
                    <a:gd name="T3" fmla="*/ 138 h 138"/>
                    <a:gd name="T4" fmla="*/ 498 w 498"/>
                    <a:gd name="T5" fmla="*/ 99 h 138"/>
                    <a:gd name="T6" fmla="*/ 276 w 498"/>
                    <a:gd name="T7" fmla="*/ 0 h 138"/>
                    <a:gd name="T8" fmla="*/ 225 w 498"/>
                    <a:gd name="T9" fmla="*/ 3 h 138"/>
                    <a:gd name="T10" fmla="*/ 0 60000 65536"/>
                    <a:gd name="T11" fmla="*/ 0 60000 65536"/>
                    <a:gd name="T12" fmla="*/ 0 60000 65536"/>
                    <a:gd name="T13" fmla="*/ 0 60000 65536"/>
                    <a:gd name="T14" fmla="*/ 0 60000 65536"/>
                    <a:gd name="T15" fmla="*/ 0 w 498"/>
                    <a:gd name="T16" fmla="*/ 0 h 138"/>
                    <a:gd name="T17" fmla="*/ 498 w 498"/>
                    <a:gd name="T18" fmla="*/ 138 h 138"/>
                  </a:gdLst>
                  <a:ahLst/>
                  <a:cxnLst>
                    <a:cxn ang="T10">
                      <a:pos x="T0" y="T1"/>
                    </a:cxn>
                    <a:cxn ang="T11">
                      <a:pos x="T2" y="T3"/>
                    </a:cxn>
                    <a:cxn ang="T12">
                      <a:pos x="T4" y="T5"/>
                    </a:cxn>
                    <a:cxn ang="T13">
                      <a:pos x="T6" y="T7"/>
                    </a:cxn>
                    <a:cxn ang="T14">
                      <a:pos x="T8" y="T9"/>
                    </a:cxn>
                  </a:cxnLst>
                  <a:rect l="T15" t="T16" r="T17" b="T18"/>
                  <a:pathLst>
                    <a:path w="498" h="138">
                      <a:moveTo>
                        <a:pt x="225" y="3"/>
                      </a:moveTo>
                      <a:lnTo>
                        <a:pt x="0" y="138"/>
                      </a:lnTo>
                      <a:lnTo>
                        <a:pt x="498" y="99"/>
                      </a:lnTo>
                      <a:lnTo>
                        <a:pt x="276" y="0"/>
                      </a:lnTo>
                      <a:lnTo>
                        <a:pt x="225" y="3"/>
                      </a:lnTo>
                      <a:close/>
                    </a:path>
                  </a:pathLst>
                </a:custGeom>
                <a:solidFill>
                  <a:srgbClr val="B39E77"/>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9" name="Freeform 551"/>
                <p:cNvSpPr>
                  <a:spLocks/>
                </p:cNvSpPr>
                <p:nvPr/>
              </p:nvSpPr>
              <p:spPr bwMode="gray">
                <a:xfrm>
                  <a:off x="4086" y="1333"/>
                  <a:ext cx="389" cy="79"/>
                </a:xfrm>
                <a:custGeom>
                  <a:avLst/>
                  <a:gdLst>
                    <a:gd name="T0" fmla="*/ 31 w 389"/>
                    <a:gd name="T1" fmla="*/ 60 h 79"/>
                    <a:gd name="T2" fmla="*/ 13 w 389"/>
                    <a:gd name="T3" fmla="*/ 54 h 79"/>
                    <a:gd name="T4" fmla="*/ 46 w 389"/>
                    <a:gd name="T5" fmla="*/ 69 h 79"/>
                    <a:gd name="T6" fmla="*/ 58 w 389"/>
                    <a:gd name="T7" fmla="*/ 66 h 79"/>
                    <a:gd name="T8" fmla="*/ 361 w 389"/>
                    <a:gd name="T9" fmla="*/ 42 h 79"/>
                    <a:gd name="T10" fmla="*/ 358 w 389"/>
                    <a:gd name="T11" fmla="*/ 21 h 79"/>
                    <a:gd name="T12" fmla="*/ 361 w 389"/>
                    <a:gd name="T13" fmla="*/ 30 h 79"/>
                    <a:gd name="T14" fmla="*/ 352 w 389"/>
                    <a:gd name="T15" fmla="*/ 36 h 79"/>
                    <a:gd name="T16" fmla="*/ 325 w 389"/>
                    <a:gd name="T17" fmla="*/ 30 h 79"/>
                    <a:gd name="T18" fmla="*/ 331 w 389"/>
                    <a:gd name="T19" fmla="*/ 21 h 79"/>
                    <a:gd name="T20" fmla="*/ 316 w 389"/>
                    <a:gd name="T21" fmla="*/ 9 h 79"/>
                    <a:gd name="T22" fmla="*/ 313 w 389"/>
                    <a:gd name="T23" fmla="*/ 39 h 79"/>
                    <a:gd name="T24" fmla="*/ 280 w 389"/>
                    <a:gd name="T25" fmla="*/ 36 h 79"/>
                    <a:gd name="T26" fmla="*/ 304 w 389"/>
                    <a:gd name="T27" fmla="*/ 30 h 79"/>
                    <a:gd name="T28" fmla="*/ 286 w 389"/>
                    <a:gd name="T29" fmla="*/ 0 h 79"/>
                    <a:gd name="T30" fmla="*/ 262 w 389"/>
                    <a:gd name="T31" fmla="*/ 3 h 79"/>
                    <a:gd name="T32" fmla="*/ 277 w 389"/>
                    <a:gd name="T33" fmla="*/ 30 h 79"/>
                    <a:gd name="T34" fmla="*/ 286 w 389"/>
                    <a:gd name="T35" fmla="*/ 24 h 79"/>
                    <a:gd name="T36" fmla="*/ 268 w 389"/>
                    <a:gd name="T37" fmla="*/ 9 h 79"/>
                    <a:gd name="T38" fmla="*/ 283 w 389"/>
                    <a:gd name="T39" fmla="*/ 12 h 79"/>
                    <a:gd name="T40" fmla="*/ 289 w 389"/>
                    <a:gd name="T41" fmla="*/ 27 h 79"/>
                    <a:gd name="T42" fmla="*/ 265 w 389"/>
                    <a:gd name="T43" fmla="*/ 39 h 79"/>
                    <a:gd name="T44" fmla="*/ 112 w 389"/>
                    <a:gd name="T45" fmla="*/ 45 h 79"/>
                    <a:gd name="T46" fmla="*/ 130 w 389"/>
                    <a:gd name="T47" fmla="*/ 24 h 79"/>
                    <a:gd name="T48" fmla="*/ 142 w 389"/>
                    <a:gd name="T49" fmla="*/ 24 h 79"/>
                    <a:gd name="T50" fmla="*/ 109 w 389"/>
                    <a:gd name="T51" fmla="*/ 15 h 79"/>
                    <a:gd name="T52" fmla="*/ 97 w 389"/>
                    <a:gd name="T53" fmla="*/ 54 h 79"/>
                    <a:gd name="T54" fmla="*/ 79 w 389"/>
                    <a:gd name="T55" fmla="*/ 33 h 79"/>
                    <a:gd name="T56" fmla="*/ 91 w 389"/>
                    <a:gd name="T57" fmla="*/ 36 h 79"/>
                    <a:gd name="T58" fmla="*/ 70 w 389"/>
                    <a:gd name="T59" fmla="*/ 24 h 79"/>
                    <a:gd name="T60" fmla="*/ 73 w 389"/>
                    <a:gd name="T61" fmla="*/ 54 h 79"/>
                    <a:gd name="T62" fmla="*/ 25 w 389"/>
                    <a:gd name="T63" fmla="*/ 66 h 79"/>
                    <a:gd name="T64" fmla="*/ 31 w 389"/>
                    <a:gd name="T65" fmla="*/ 60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89"/>
                    <a:gd name="T100" fmla="*/ 0 h 79"/>
                    <a:gd name="T101" fmla="*/ 389 w 389"/>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89" h="79">
                      <a:moveTo>
                        <a:pt x="31" y="60"/>
                      </a:moveTo>
                      <a:cubicBezTo>
                        <a:pt x="37" y="42"/>
                        <a:pt x="24" y="49"/>
                        <a:pt x="13" y="54"/>
                      </a:cubicBezTo>
                      <a:cubicBezTo>
                        <a:pt x="0" y="79"/>
                        <a:pt x="28" y="71"/>
                        <a:pt x="46" y="69"/>
                      </a:cubicBezTo>
                      <a:cubicBezTo>
                        <a:pt x="50" y="68"/>
                        <a:pt x="58" y="66"/>
                        <a:pt x="58" y="66"/>
                      </a:cubicBezTo>
                      <a:cubicBezTo>
                        <a:pt x="159" y="58"/>
                        <a:pt x="260" y="51"/>
                        <a:pt x="361" y="42"/>
                      </a:cubicBezTo>
                      <a:cubicBezTo>
                        <a:pt x="389" y="40"/>
                        <a:pt x="370" y="29"/>
                        <a:pt x="358" y="21"/>
                      </a:cubicBezTo>
                      <a:cubicBezTo>
                        <a:pt x="320" y="34"/>
                        <a:pt x="349" y="21"/>
                        <a:pt x="361" y="30"/>
                      </a:cubicBezTo>
                      <a:cubicBezTo>
                        <a:pt x="364" y="32"/>
                        <a:pt x="355" y="34"/>
                        <a:pt x="352" y="36"/>
                      </a:cubicBezTo>
                      <a:cubicBezTo>
                        <a:pt x="343" y="34"/>
                        <a:pt x="333" y="35"/>
                        <a:pt x="325" y="30"/>
                      </a:cubicBezTo>
                      <a:cubicBezTo>
                        <a:pt x="322" y="28"/>
                        <a:pt x="331" y="25"/>
                        <a:pt x="331" y="21"/>
                      </a:cubicBezTo>
                      <a:cubicBezTo>
                        <a:pt x="331" y="12"/>
                        <a:pt x="322" y="11"/>
                        <a:pt x="316" y="9"/>
                      </a:cubicBezTo>
                      <a:cubicBezTo>
                        <a:pt x="315" y="19"/>
                        <a:pt x="321" y="33"/>
                        <a:pt x="313" y="39"/>
                      </a:cubicBezTo>
                      <a:cubicBezTo>
                        <a:pt x="304" y="46"/>
                        <a:pt x="290" y="39"/>
                        <a:pt x="280" y="36"/>
                      </a:cubicBezTo>
                      <a:cubicBezTo>
                        <a:pt x="272" y="33"/>
                        <a:pt x="296" y="33"/>
                        <a:pt x="304" y="30"/>
                      </a:cubicBezTo>
                      <a:cubicBezTo>
                        <a:pt x="309" y="14"/>
                        <a:pt x="302" y="5"/>
                        <a:pt x="286" y="0"/>
                      </a:cubicBezTo>
                      <a:cubicBezTo>
                        <a:pt x="278" y="1"/>
                        <a:pt x="269" y="0"/>
                        <a:pt x="262" y="3"/>
                      </a:cubicBezTo>
                      <a:cubicBezTo>
                        <a:pt x="246" y="10"/>
                        <a:pt x="273" y="28"/>
                        <a:pt x="277" y="30"/>
                      </a:cubicBezTo>
                      <a:cubicBezTo>
                        <a:pt x="280" y="28"/>
                        <a:pt x="285" y="28"/>
                        <a:pt x="286" y="24"/>
                      </a:cubicBezTo>
                      <a:cubicBezTo>
                        <a:pt x="288" y="16"/>
                        <a:pt x="262" y="15"/>
                        <a:pt x="268" y="9"/>
                      </a:cubicBezTo>
                      <a:cubicBezTo>
                        <a:pt x="272" y="5"/>
                        <a:pt x="278" y="11"/>
                        <a:pt x="283" y="12"/>
                      </a:cubicBezTo>
                      <a:cubicBezTo>
                        <a:pt x="291" y="18"/>
                        <a:pt x="296" y="16"/>
                        <a:pt x="289" y="27"/>
                      </a:cubicBezTo>
                      <a:cubicBezTo>
                        <a:pt x="284" y="34"/>
                        <a:pt x="265" y="39"/>
                        <a:pt x="265" y="39"/>
                      </a:cubicBezTo>
                      <a:cubicBezTo>
                        <a:pt x="256" y="40"/>
                        <a:pt x="149" y="69"/>
                        <a:pt x="112" y="45"/>
                      </a:cubicBezTo>
                      <a:cubicBezTo>
                        <a:pt x="115" y="31"/>
                        <a:pt x="114" y="19"/>
                        <a:pt x="130" y="24"/>
                      </a:cubicBezTo>
                      <a:cubicBezTo>
                        <a:pt x="116" y="52"/>
                        <a:pt x="135" y="44"/>
                        <a:pt x="142" y="24"/>
                      </a:cubicBezTo>
                      <a:cubicBezTo>
                        <a:pt x="129" y="11"/>
                        <a:pt x="126" y="7"/>
                        <a:pt x="109" y="15"/>
                      </a:cubicBezTo>
                      <a:cubicBezTo>
                        <a:pt x="98" y="31"/>
                        <a:pt x="114" y="43"/>
                        <a:pt x="97" y="54"/>
                      </a:cubicBezTo>
                      <a:cubicBezTo>
                        <a:pt x="82" y="51"/>
                        <a:pt x="73" y="50"/>
                        <a:pt x="79" y="33"/>
                      </a:cubicBezTo>
                      <a:cubicBezTo>
                        <a:pt x="83" y="34"/>
                        <a:pt x="91" y="40"/>
                        <a:pt x="91" y="36"/>
                      </a:cubicBezTo>
                      <a:cubicBezTo>
                        <a:pt x="91" y="30"/>
                        <a:pt x="75" y="26"/>
                        <a:pt x="70" y="24"/>
                      </a:cubicBezTo>
                      <a:cubicBezTo>
                        <a:pt x="62" y="40"/>
                        <a:pt x="68" y="39"/>
                        <a:pt x="73" y="54"/>
                      </a:cubicBezTo>
                      <a:cubicBezTo>
                        <a:pt x="57" y="62"/>
                        <a:pt x="42" y="62"/>
                        <a:pt x="25" y="66"/>
                      </a:cubicBezTo>
                      <a:cubicBezTo>
                        <a:pt x="28" y="56"/>
                        <a:pt x="26" y="55"/>
                        <a:pt x="31" y="60"/>
                      </a:cubicBez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90" name="Freeform 552"/>
                <p:cNvSpPr>
                  <a:spLocks/>
                </p:cNvSpPr>
                <p:nvPr/>
              </p:nvSpPr>
              <p:spPr bwMode="gray">
                <a:xfrm>
                  <a:off x="4219" y="1291"/>
                  <a:ext cx="119" cy="87"/>
                </a:xfrm>
                <a:custGeom>
                  <a:avLst/>
                  <a:gdLst>
                    <a:gd name="T0" fmla="*/ 66 w 119"/>
                    <a:gd name="T1" fmla="*/ 33 h 87"/>
                    <a:gd name="T2" fmla="*/ 57 w 119"/>
                    <a:gd name="T3" fmla="*/ 0 h 87"/>
                    <a:gd name="T4" fmla="*/ 48 w 119"/>
                    <a:gd name="T5" fmla="*/ 36 h 87"/>
                    <a:gd name="T6" fmla="*/ 54 w 119"/>
                    <a:gd name="T7" fmla="*/ 57 h 87"/>
                    <a:gd name="T8" fmla="*/ 24 w 119"/>
                    <a:gd name="T9" fmla="*/ 51 h 87"/>
                    <a:gd name="T10" fmla="*/ 30 w 119"/>
                    <a:gd name="T11" fmla="*/ 21 h 87"/>
                    <a:gd name="T12" fmla="*/ 27 w 119"/>
                    <a:gd name="T13" fmla="*/ 72 h 87"/>
                    <a:gd name="T14" fmla="*/ 33 w 119"/>
                    <a:gd name="T15" fmla="*/ 81 h 87"/>
                    <a:gd name="T16" fmla="*/ 15 w 119"/>
                    <a:gd name="T17" fmla="*/ 87 h 87"/>
                    <a:gd name="T18" fmla="*/ 96 w 119"/>
                    <a:gd name="T19" fmla="*/ 84 h 87"/>
                    <a:gd name="T20" fmla="*/ 114 w 119"/>
                    <a:gd name="T21" fmla="*/ 66 h 87"/>
                    <a:gd name="T22" fmla="*/ 114 w 119"/>
                    <a:gd name="T23" fmla="*/ 54 h 87"/>
                    <a:gd name="T24" fmla="*/ 99 w 119"/>
                    <a:gd name="T25" fmla="*/ 15 h 87"/>
                    <a:gd name="T26" fmla="*/ 105 w 119"/>
                    <a:gd name="T27" fmla="*/ 36 h 87"/>
                    <a:gd name="T28" fmla="*/ 96 w 119"/>
                    <a:gd name="T29" fmla="*/ 60 h 87"/>
                    <a:gd name="T30" fmla="*/ 78 w 119"/>
                    <a:gd name="T31" fmla="*/ 66 h 87"/>
                    <a:gd name="T32" fmla="*/ 87 w 119"/>
                    <a:gd name="T33" fmla="*/ 42 h 87"/>
                    <a:gd name="T34" fmla="*/ 66 w 119"/>
                    <a:gd name="T35" fmla="*/ 33 h 8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87"/>
                    <a:gd name="T56" fmla="*/ 119 w 119"/>
                    <a:gd name="T57" fmla="*/ 87 h 8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87">
                      <a:moveTo>
                        <a:pt x="66" y="33"/>
                      </a:moveTo>
                      <a:cubicBezTo>
                        <a:pt x="71" y="17"/>
                        <a:pt x="76" y="6"/>
                        <a:pt x="57" y="0"/>
                      </a:cubicBezTo>
                      <a:cubicBezTo>
                        <a:pt x="30" y="5"/>
                        <a:pt x="38" y="16"/>
                        <a:pt x="48" y="36"/>
                      </a:cubicBezTo>
                      <a:cubicBezTo>
                        <a:pt x="29" y="49"/>
                        <a:pt x="48" y="38"/>
                        <a:pt x="54" y="57"/>
                      </a:cubicBezTo>
                      <a:cubicBezTo>
                        <a:pt x="41" y="66"/>
                        <a:pt x="33" y="64"/>
                        <a:pt x="24" y="51"/>
                      </a:cubicBezTo>
                      <a:cubicBezTo>
                        <a:pt x="27" y="38"/>
                        <a:pt x="34" y="33"/>
                        <a:pt x="30" y="21"/>
                      </a:cubicBezTo>
                      <a:cubicBezTo>
                        <a:pt x="10" y="31"/>
                        <a:pt x="0" y="63"/>
                        <a:pt x="27" y="72"/>
                      </a:cubicBezTo>
                      <a:cubicBezTo>
                        <a:pt x="29" y="75"/>
                        <a:pt x="35" y="78"/>
                        <a:pt x="33" y="81"/>
                      </a:cubicBezTo>
                      <a:cubicBezTo>
                        <a:pt x="29" y="86"/>
                        <a:pt x="9" y="87"/>
                        <a:pt x="15" y="87"/>
                      </a:cubicBezTo>
                      <a:cubicBezTo>
                        <a:pt x="42" y="86"/>
                        <a:pt x="69" y="85"/>
                        <a:pt x="96" y="84"/>
                      </a:cubicBezTo>
                      <a:cubicBezTo>
                        <a:pt x="108" y="78"/>
                        <a:pt x="119" y="80"/>
                        <a:pt x="114" y="66"/>
                      </a:cubicBezTo>
                      <a:cubicBezTo>
                        <a:pt x="84" y="72"/>
                        <a:pt x="108" y="71"/>
                        <a:pt x="114" y="54"/>
                      </a:cubicBezTo>
                      <a:cubicBezTo>
                        <a:pt x="112" y="36"/>
                        <a:pt x="116" y="21"/>
                        <a:pt x="99" y="15"/>
                      </a:cubicBezTo>
                      <a:cubicBezTo>
                        <a:pt x="76" y="21"/>
                        <a:pt x="91" y="30"/>
                        <a:pt x="105" y="36"/>
                      </a:cubicBezTo>
                      <a:cubicBezTo>
                        <a:pt x="104" y="42"/>
                        <a:pt x="103" y="56"/>
                        <a:pt x="96" y="60"/>
                      </a:cubicBezTo>
                      <a:cubicBezTo>
                        <a:pt x="91" y="63"/>
                        <a:pt x="78" y="66"/>
                        <a:pt x="78" y="66"/>
                      </a:cubicBezTo>
                      <a:cubicBezTo>
                        <a:pt x="70" y="43"/>
                        <a:pt x="66" y="50"/>
                        <a:pt x="87" y="42"/>
                      </a:cubicBezTo>
                      <a:cubicBezTo>
                        <a:pt x="74" y="22"/>
                        <a:pt x="78" y="45"/>
                        <a:pt x="66" y="33"/>
                      </a:cubicBez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grpSp>
          <p:sp>
            <p:nvSpPr>
              <p:cNvPr id="441866" name="Freeform 553"/>
              <p:cNvSpPr>
                <a:spLocks/>
              </p:cNvSpPr>
              <p:nvPr/>
            </p:nvSpPr>
            <p:spPr bwMode="gray">
              <a:xfrm>
                <a:off x="4272" y="1557"/>
                <a:ext cx="59" cy="351"/>
              </a:xfrm>
              <a:custGeom>
                <a:avLst/>
                <a:gdLst>
                  <a:gd name="T0" fmla="*/ 0 w 62"/>
                  <a:gd name="T1" fmla="*/ 3 h 372"/>
                  <a:gd name="T2" fmla="*/ 0 w 62"/>
                  <a:gd name="T3" fmla="*/ 16 h 372"/>
                  <a:gd name="T4" fmla="*/ 10 w 62"/>
                  <a:gd name="T5" fmla="*/ 22 h 372"/>
                  <a:gd name="T6" fmla="*/ 10 w 62"/>
                  <a:gd name="T7" fmla="*/ 129 h 372"/>
                  <a:gd name="T8" fmla="*/ 6 w 62"/>
                  <a:gd name="T9" fmla="*/ 134 h 372"/>
                  <a:gd name="T10" fmla="*/ 9 w 62"/>
                  <a:gd name="T11" fmla="*/ 168 h 372"/>
                  <a:gd name="T12" fmla="*/ 31 w 62"/>
                  <a:gd name="T13" fmla="*/ 166 h 372"/>
                  <a:gd name="T14" fmla="*/ 30 w 62"/>
                  <a:gd name="T15" fmla="*/ 133 h 372"/>
                  <a:gd name="T16" fmla="*/ 26 w 62"/>
                  <a:gd name="T17" fmla="*/ 129 h 372"/>
                  <a:gd name="T18" fmla="*/ 23 w 62"/>
                  <a:gd name="T19" fmla="*/ 22 h 372"/>
                  <a:gd name="T20" fmla="*/ 30 w 62"/>
                  <a:gd name="T21" fmla="*/ 16 h 372"/>
                  <a:gd name="T22" fmla="*/ 30 w 62"/>
                  <a:gd name="T23" fmla="*/ 0 h 372"/>
                  <a:gd name="T24" fmla="*/ 0 w 62"/>
                  <a:gd name="T25" fmla="*/ 3 h 3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2"/>
                  <a:gd name="T40" fmla="*/ 0 h 372"/>
                  <a:gd name="T41" fmla="*/ 62 w 62"/>
                  <a:gd name="T42" fmla="*/ 372 h 3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2" h="372">
                    <a:moveTo>
                      <a:pt x="0" y="3"/>
                    </a:moveTo>
                    <a:lnTo>
                      <a:pt x="0" y="33"/>
                    </a:lnTo>
                    <a:lnTo>
                      <a:pt x="15" y="45"/>
                    </a:lnTo>
                    <a:lnTo>
                      <a:pt x="15" y="276"/>
                    </a:lnTo>
                    <a:lnTo>
                      <a:pt x="6" y="285"/>
                    </a:lnTo>
                    <a:cubicBezTo>
                      <a:pt x="6" y="309"/>
                      <a:pt x="3" y="336"/>
                      <a:pt x="9" y="357"/>
                    </a:cubicBezTo>
                    <a:cubicBezTo>
                      <a:pt x="15" y="366"/>
                      <a:pt x="54" y="372"/>
                      <a:pt x="60" y="354"/>
                    </a:cubicBezTo>
                    <a:cubicBezTo>
                      <a:pt x="57" y="332"/>
                      <a:pt x="62" y="304"/>
                      <a:pt x="57" y="282"/>
                    </a:cubicBezTo>
                    <a:cubicBezTo>
                      <a:pt x="56" y="279"/>
                      <a:pt x="48" y="276"/>
                      <a:pt x="48" y="276"/>
                    </a:cubicBezTo>
                    <a:cubicBezTo>
                      <a:pt x="45" y="238"/>
                      <a:pt x="41" y="85"/>
                      <a:pt x="42" y="45"/>
                    </a:cubicBezTo>
                    <a:cubicBezTo>
                      <a:pt x="51" y="39"/>
                      <a:pt x="55" y="40"/>
                      <a:pt x="57" y="33"/>
                    </a:cubicBezTo>
                    <a:cubicBezTo>
                      <a:pt x="57" y="16"/>
                      <a:pt x="57" y="0"/>
                      <a:pt x="57" y="0"/>
                    </a:cubicBezTo>
                    <a:lnTo>
                      <a:pt x="0" y="3"/>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7" name="Freeform 554"/>
              <p:cNvSpPr>
                <a:spLocks/>
              </p:cNvSpPr>
              <p:nvPr/>
            </p:nvSpPr>
            <p:spPr bwMode="gray">
              <a:xfrm>
                <a:off x="3984" y="1557"/>
                <a:ext cx="70" cy="39"/>
              </a:xfrm>
              <a:custGeom>
                <a:avLst/>
                <a:gdLst>
                  <a:gd name="T0" fmla="*/ 0 w 70"/>
                  <a:gd name="T1" fmla="*/ 0 h 39"/>
                  <a:gd name="T2" fmla="*/ 70 w 70"/>
                  <a:gd name="T3" fmla="*/ 22 h 39"/>
                  <a:gd name="T4" fmla="*/ 69 w 70"/>
                  <a:gd name="T5" fmla="*/ 39 h 39"/>
                  <a:gd name="T6" fmla="*/ 0 w 70"/>
                  <a:gd name="T7" fmla="*/ 15 h 39"/>
                  <a:gd name="T8" fmla="*/ 0 w 70"/>
                  <a:gd name="T9" fmla="*/ 0 h 39"/>
                  <a:gd name="T10" fmla="*/ 0 60000 65536"/>
                  <a:gd name="T11" fmla="*/ 0 60000 65536"/>
                  <a:gd name="T12" fmla="*/ 0 60000 65536"/>
                  <a:gd name="T13" fmla="*/ 0 60000 65536"/>
                  <a:gd name="T14" fmla="*/ 0 60000 65536"/>
                  <a:gd name="T15" fmla="*/ 0 w 70"/>
                  <a:gd name="T16" fmla="*/ 0 h 39"/>
                  <a:gd name="T17" fmla="*/ 70 w 70"/>
                  <a:gd name="T18" fmla="*/ 39 h 39"/>
                </a:gdLst>
                <a:ahLst/>
                <a:cxnLst>
                  <a:cxn ang="T10">
                    <a:pos x="T0" y="T1"/>
                  </a:cxn>
                  <a:cxn ang="T11">
                    <a:pos x="T2" y="T3"/>
                  </a:cxn>
                  <a:cxn ang="T12">
                    <a:pos x="T4" y="T5"/>
                  </a:cxn>
                  <a:cxn ang="T13">
                    <a:pos x="T6" y="T7"/>
                  </a:cxn>
                  <a:cxn ang="T14">
                    <a:pos x="T8" y="T9"/>
                  </a:cxn>
                </a:cxnLst>
                <a:rect l="T15" t="T16" r="T17" b="T18"/>
                <a:pathLst>
                  <a:path w="70" h="39">
                    <a:moveTo>
                      <a:pt x="0" y="0"/>
                    </a:moveTo>
                    <a:lnTo>
                      <a:pt x="70" y="22"/>
                    </a:lnTo>
                    <a:lnTo>
                      <a:pt x="69" y="39"/>
                    </a:lnTo>
                    <a:lnTo>
                      <a:pt x="0" y="15"/>
                    </a:lnTo>
                    <a:lnTo>
                      <a:pt x="0" y="0"/>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8" name="Freeform 555"/>
              <p:cNvSpPr>
                <a:spLocks/>
              </p:cNvSpPr>
              <p:nvPr/>
            </p:nvSpPr>
            <p:spPr bwMode="gray">
              <a:xfrm>
                <a:off x="3996" y="1812"/>
                <a:ext cx="315" cy="60"/>
              </a:xfrm>
              <a:custGeom>
                <a:avLst/>
                <a:gdLst>
                  <a:gd name="T0" fmla="*/ 294 w 315"/>
                  <a:gd name="T1" fmla="*/ 9 h 60"/>
                  <a:gd name="T2" fmla="*/ 255 w 315"/>
                  <a:gd name="T3" fmla="*/ 0 h 60"/>
                  <a:gd name="T4" fmla="*/ 0 w 315"/>
                  <a:gd name="T5" fmla="*/ 30 h 60"/>
                  <a:gd name="T6" fmla="*/ 84 w 315"/>
                  <a:gd name="T7" fmla="*/ 60 h 60"/>
                  <a:gd name="T8" fmla="*/ 315 w 315"/>
                  <a:gd name="T9" fmla="*/ 30 h 60"/>
                  <a:gd name="T10" fmla="*/ 294 w 315"/>
                  <a:gd name="T11" fmla="*/ 9 h 60"/>
                  <a:gd name="T12" fmla="*/ 0 60000 65536"/>
                  <a:gd name="T13" fmla="*/ 0 60000 65536"/>
                  <a:gd name="T14" fmla="*/ 0 60000 65536"/>
                  <a:gd name="T15" fmla="*/ 0 60000 65536"/>
                  <a:gd name="T16" fmla="*/ 0 60000 65536"/>
                  <a:gd name="T17" fmla="*/ 0 60000 65536"/>
                  <a:gd name="T18" fmla="*/ 0 w 315"/>
                  <a:gd name="T19" fmla="*/ 0 h 60"/>
                  <a:gd name="T20" fmla="*/ 315 w 315"/>
                  <a:gd name="T21" fmla="*/ 60 h 60"/>
                </a:gdLst>
                <a:ahLst/>
                <a:cxnLst>
                  <a:cxn ang="T12">
                    <a:pos x="T0" y="T1"/>
                  </a:cxn>
                  <a:cxn ang="T13">
                    <a:pos x="T2" y="T3"/>
                  </a:cxn>
                  <a:cxn ang="T14">
                    <a:pos x="T4" y="T5"/>
                  </a:cxn>
                  <a:cxn ang="T15">
                    <a:pos x="T6" y="T7"/>
                  </a:cxn>
                  <a:cxn ang="T16">
                    <a:pos x="T8" y="T9"/>
                  </a:cxn>
                  <a:cxn ang="T17">
                    <a:pos x="T10" y="T11"/>
                  </a:cxn>
                </a:cxnLst>
                <a:rect l="T18" t="T19" r="T20" b="T21"/>
                <a:pathLst>
                  <a:path w="315" h="60">
                    <a:moveTo>
                      <a:pt x="294" y="9"/>
                    </a:moveTo>
                    <a:lnTo>
                      <a:pt x="255" y="0"/>
                    </a:lnTo>
                    <a:lnTo>
                      <a:pt x="0" y="30"/>
                    </a:lnTo>
                    <a:lnTo>
                      <a:pt x="84" y="60"/>
                    </a:lnTo>
                    <a:lnTo>
                      <a:pt x="315" y="30"/>
                    </a:lnTo>
                    <a:lnTo>
                      <a:pt x="294" y="9"/>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69" name="Freeform 556"/>
              <p:cNvSpPr>
                <a:spLocks/>
              </p:cNvSpPr>
              <p:nvPr/>
            </p:nvSpPr>
            <p:spPr bwMode="gray">
              <a:xfrm>
                <a:off x="4032" y="1588"/>
                <a:ext cx="30" cy="28"/>
              </a:xfrm>
              <a:custGeom>
                <a:avLst/>
                <a:gdLst>
                  <a:gd name="T0" fmla="*/ 0 w 30"/>
                  <a:gd name="T1" fmla="*/ 2 h 28"/>
                  <a:gd name="T2" fmla="*/ 30 w 30"/>
                  <a:gd name="T3" fmla="*/ 23 h 28"/>
                  <a:gd name="T4" fmla="*/ 12 w 30"/>
                  <a:gd name="T5" fmla="*/ 17 h 28"/>
                  <a:gd name="T6" fmla="*/ 6 w 30"/>
                  <a:gd name="T7" fmla="*/ 2 h 28"/>
                  <a:gd name="T8" fmla="*/ 0 w 30"/>
                  <a:gd name="T9" fmla="*/ 2 h 28"/>
                  <a:gd name="T10" fmla="*/ 0 60000 65536"/>
                  <a:gd name="T11" fmla="*/ 0 60000 65536"/>
                  <a:gd name="T12" fmla="*/ 0 60000 65536"/>
                  <a:gd name="T13" fmla="*/ 0 60000 65536"/>
                  <a:gd name="T14" fmla="*/ 0 60000 65536"/>
                  <a:gd name="T15" fmla="*/ 0 w 30"/>
                  <a:gd name="T16" fmla="*/ 0 h 28"/>
                  <a:gd name="T17" fmla="*/ 30 w 30"/>
                  <a:gd name="T18" fmla="*/ 28 h 28"/>
                </a:gdLst>
                <a:ahLst/>
                <a:cxnLst>
                  <a:cxn ang="T10">
                    <a:pos x="T0" y="T1"/>
                  </a:cxn>
                  <a:cxn ang="T11">
                    <a:pos x="T2" y="T3"/>
                  </a:cxn>
                  <a:cxn ang="T12">
                    <a:pos x="T4" y="T5"/>
                  </a:cxn>
                  <a:cxn ang="T13">
                    <a:pos x="T6" y="T7"/>
                  </a:cxn>
                  <a:cxn ang="T14">
                    <a:pos x="T8" y="T9"/>
                  </a:cxn>
                </a:cxnLst>
                <a:rect l="T15" t="T16" r="T17" b="T18"/>
                <a:pathLst>
                  <a:path w="30" h="28">
                    <a:moveTo>
                      <a:pt x="0" y="2"/>
                    </a:moveTo>
                    <a:cubicBezTo>
                      <a:pt x="4" y="28"/>
                      <a:pt x="5" y="28"/>
                      <a:pt x="30" y="23"/>
                    </a:cubicBezTo>
                    <a:cubicBezTo>
                      <a:pt x="24" y="21"/>
                      <a:pt x="18" y="19"/>
                      <a:pt x="12" y="17"/>
                    </a:cubicBezTo>
                    <a:cubicBezTo>
                      <a:pt x="7" y="15"/>
                      <a:pt x="9" y="6"/>
                      <a:pt x="6" y="2"/>
                    </a:cubicBezTo>
                    <a:cubicBezTo>
                      <a:pt x="5" y="0"/>
                      <a:pt x="2" y="2"/>
                      <a:pt x="0" y="2"/>
                    </a:cubicBez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0" name="Freeform 557"/>
              <p:cNvSpPr>
                <a:spLocks/>
              </p:cNvSpPr>
              <p:nvPr/>
            </p:nvSpPr>
            <p:spPr bwMode="gray">
              <a:xfrm>
                <a:off x="4047" y="1617"/>
                <a:ext cx="22" cy="246"/>
              </a:xfrm>
              <a:custGeom>
                <a:avLst/>
                <a:gdLst>
                  <a:gd name="T0" fmla="*/ 3 w 22"/>
                  <a:gd name="T1" fmla="*/ 0 h 246"/>
                  <a:gd name="T2" fmla="*/ 3 w 22"/>
                  <a:gd name="T3" fmla="*/ 243 h 246"/>
                  <a:gd name="T4" fmla="*/ 15 w 22"/>
                  <a:gd name="T5" fmla="*/ 246 h 246"/>
                  <a:gd name="T6" fmla="*/ 12 w 22"/>
                  <a:gd name="T7" fmla="*/ 48 h 246"/>
                  <a:gd name="T8" fmla="*/ 3 w 22"/>
                  <a:gd name="T9" fmla="*/ 0 h 246"/>
                  <a:gd name="T10" fmla="*/ 0 60000 65536"/>
                  <a:gd name="T11" fmla="*/ 0 60000 65536"/>
                  <a:gd name="T12" fmla="*/ 0 60000 65536"/>
                  <a:gd name="T13" fmla="*/ 0 60000 65536"/>
                  <a:gd name="T14" fmla="*/ 0 60000 65536"/>
                  <a:gd name="T15" fmla="*/ 0 w 22"/>
                  <a:gd name="T16" fmla="*/ 0 h 246"/>
                  <a:gd name="T17" fmla="*/ 22 w 22"/>
                  <a:gd name="T18" fmla="*/ 246 h 246"/>
                </a:gdLst>
                <a:ahLst/>
                <a:cxnLst>
                  <a:cxn ang="T10">
                    <a:pos x="T0" y="T1"/>
                  </a:cxn>
                  <a:cxn ang="T11">
                    <a:pos x="T2" y="T3"/>
                  </a:cxn>
                  <a:cxn ang="T12">
                    <a:pos x="T4" y="T5"/>
                  </a:cxn>
                  <a:cxn ang="T13">
                    <a:pos x="T6" y="T7"/>
                  </a:cxn>
                  <a:cxn ang="T14">
                    <a:pos x="T8" y="T9"/>
                  </a:cxn>
                </a:cxnLst>
                <a:rect l="T15" t="T16" r="T17" b="T18"/>
                <a:pathLst>
                  <a:path w="22" h="246">
                    <a:moveTo>
                      <a:pt x="3" y="0"/>
                    </a:moveTo>
                    <a:cubicBezTo>
                      <a:pt x="0" y="33"/>
                      <a:pt x="1" y="202"/>
                      <a:pt x="3" y="243"/>
                    </a:cubicBezTo>
                    <a:cubicBezTo>
                      <a:pt x="12" y="246"/>
                      <a:pt x="6" y="246"/>
                      <a:pt x="15" y="246"/>
                    </a:cubicBezTo>
                    <a:cubicBezTo>
                      <a:pt x="13" y="147"/>
                      <a:pt x="12" y="48"/>
                      <a:pt x="12" y="48"/>
                    </a:cubicBezTo>
                    <a:cubicBezTo>
                      <a:pt x="9" y="1"/>
                      <a:pt x="22" y="10"/>
                      <a:pt x="3" y="0"/>
                    </a:cubicBez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1" name="Freeform 558"/>
              <p:cNvSpPr>
                <a:spLocks/>
              </p:cNvSpPr>
              <p:nvPr/>
            </p:nvSpPr>
            <p:spPr bwMode="gray">
              <a:xfrm>
                <a:off x="4098" y="1668"/>
                <a:ext cx="108" cy="162"/>
              </a:xfrm>
              <a:custGeom>
                <a:avLst/>
                <a:gdLst>
                  <a:gd name="T0" fmla="*/ 108 w 108"/>
                  <a:gd name="T1" fmla="*/ 150 h 162"/>
                  <a:gd name="T2" fmla="*/ 108 w 108"/>
                  <a:gd name="T3" fmla="*/ 0 h 162"/>
                  <a:gd name="T4" fmla="*/ 0 w 108"/>
                  <a:gd name="T5" fmla="*/ 9 h 162"/>
                  <a:gd name="T6" fmla="*/ 0 w 108"/>
                  <a:gd name="T7" fmla="*/ 162 h 162"/>
                  <a:gd name="T8" fmla="*/ 108 w 108"/>
                  <a:gd name="T9" fmla="*/ 150 h 162"/>
                  <a:gd name="T10" fmla="*/ 0 60000 65536"/>
                  <a:gd name="T11" fmla="*/ 0 60000 65536"/>
                  <a:gd name="T12" fmla="*/ 0 60000 65536"/>
                  <a:gd name="T13" fmla="*/ 0 60000 65536"/>
                  <a:gd name="T14" fmla="*/ 0 60000 65536"/>
                  <a:gd name="T15" fmla="*/ 0 w 108"/>
                  <a:gd name="T16" fmla="*/ 0 h 162"/>
                  <a:gd name="T17" fmla="*/ 108 w 108"/>
                  <a:gd name="T18" fmla="*/ 162 h 162"/>
                </a:gdLst>
                <a:ahLst/>
                <a:cxnLst>
                  <a:cxn ang="T10">
                    <a:pos x="T0" y="T1"/>
                  </a:cxn>
                  <a:cxn ang="T11">
                    <a:pos x="T2" y="T3"/>
                  </a:cxn>
                  <a:cxn ang="T12">
                    <a:pos x="T4" y="T5"/>
                  </a:cxn>
                  <a:cxn ang="T13">
                    <a:pos x="T6" y="T7"/>
                  </a:cxn>
                  <a:cxn ang="T14">
                    <a:pos x="T8" y="T9"/>
                  </a:cxn>
                </a:cxnLst>
                <a:rect l="T15" t="T16" r="T17" b="T18"/>
                <a:pathLst>
                  <a:path w="108" h="162">
                    <a:moveTo>
                      <a:pt x="108" y="150"/>
                    </a:moveTo>
                    <a:lnTo>
                      <a:pt x="108" y="0"/>
                    </a:lnTo>
                    <a:lnTo>
                      <a:pt x="0" y="9"/>
                    </a:lnTo>
                    <a:lnTo>
                      <a:pt x="0" y="162"/>
                    </a:lnTo>
                    <a:lnTo>
                      <a:pt x="108" y="150"/>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2" name="Freeform 559"/>
              <p:cNvSpPr>
                <a:spLocks/>
              </p:cNvSpPr>
              <p:nvPr/>
            </p:nvSpPr>
            <p:spPr bwMode="gray">
              <a:xfrm>
                <a:off x="4110" y="1680"/>
                <a:ext cx="84" cy="150"/>
              </a:xfrm>
              <a:custGeom>
                <a:avLst/>
                <a:gdLst>
                  <a:gd name="T0" fmla="*/ 84 w 84"/>
                  <a:gd name="T1" fmla="*/ 141 h 150"/>
                  <a:gd name="T2" fmla="*/ 84 w 84"/>
                  <a:gd name="T3" fmla="*/ 0 h 150"/>
                  <a:gd name="T4" fmla="*/ 0 w 84"/>
                  <a:gd name="T5" fmla="*/ 6 h 150"/>
                  <a:gd name="T6" fmla="*/ 3 w 84"/>
                  <a:gd name="T7" fmla="*/ 150 h 150"/>
                  <a:gd name="T8" fmla="*/ 84 w 84"/>
                  <a:gd name="T9" fmla="*/ 141 h 150"/>
                  <a:gd name="T10" fmla="*/ 0 60000 65536"/>
                  <a:gd name="T11" fmla="*/ 0 60000 65536"/>
                  <a:gd name="T12" fmla="*/ 0 60000 65536"/>
                  <a:gd name="T13" fmla="*/ 0 60000 65536"/>
                  <a:gd name="T14" fmla="*/ 0 60000 65536"/>
                  <a:gd name="T15" fmla="*/ 0 w 84"/>
                  <a:gd name="T16" fmla="*/ 0 h 150"/>
                  <a:gd name="T17" fmla="*/ 84 w 84"/>
                  <a:gd name="T18" fmla="*/ 150 h 150"/>
                </a:gdLst>
                <a:ahLst/>
                <a:cxnLst>
                  <a:cxn ang="T10">
                    <a:pos x="T0" y="T1"/>
                  </a:cxn>
                  <a:cxn ang="T11">
                    <a:pos x="T2" y="T3"/>
                  </a:cxn>
                  <a:cxn ang="T12">
                    <a:pos x="T4" y="T5"/>
                  </a:cxn>
                  <a:cxn ang="T13">
                    <a:pos x="T6" y="T7"/>
                  </a:cxn>
                  <a:cxn ang="T14">
                    <a:pos x="T8" y="T9"/>
                  </a:cxn>
                </a:cxnLst>
                <a:rect l="T15" t="T16" r="T17" b="T18"/>
                <a:pathLst>
                  <a:path w="84" h="150">
                    <a:moveTo>
                      <a:pt x="84" y="141"/>
                    </a:moveTo>
                    <a:lnTo>
                      <a:pt x="84" y="0"/>
                    </a:lnTo>
                    <a:lnTo>
                      <a:pt x="0" y="6"/>
                    </a:lnTo>
                    <a:lnTo>
                      <a:pt x="3" y="150"/>
                    </a:lnTo>
                    <a:lnTo>
                      <a:pt x="84" y="141"/>
                    </a:lnTo>
                    <a:close/>
                  </a:path>
                </a:pathLst>
              </a:custGeom>
              <a:solidFill>
                <a:srgbClr val="826C56"/>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3" name="Freeform 560"/>
              <p:cNvSpPr>
                <a:spLocks/>
              </p:cNvSpPr>
              <p:nvPr/>
            </p:nvSpPr>
            <p:spPr bwMode="gray">
              <a:xfrm>
                <a:off x="4089" y="1839"/>
                <a:ext cx="270" cy="129"/>
              </a:xfrm>
              <a:custGeom>
                <a:avLst/>
                <a:gdLst>
                  <a:gd name="T0" fmla="*/ 0 w 270"/>
                  <a:gd name="T1" fmla="*/ 21 h 129"/>
                  <a:gd name="T2" fmla="*/ 0 w 270"/>
                  <a:gd name="T3" fmla="*/ 99 h 129"/>
                  <a:gd name="T4" fmla="*/ 60 w 270"/>
                  <a:gd name="T5" fmla="*/ 129 h 129"/>
                  <a:gd name="T6" fmla="*/ 270 w 270"/>
                  <a:gd name="T7" fmla="*/ 105 h 129"/>
                  <a:gd name="T8" fmla="*/ 270 w 270"/>
                  <a:gd name="T9" fmla="*/ 90 h 129"/>
                  <a:gd name="T10" fmla="*/ 252 w 270"/>
                  <a:gd name="T11" fmla="*/ 84 h 129"/>
                  <a:gd name="T12" fmla="*/ 252 w 270"/>
                  <a:gd name="T13" fmla="*/ 69 h 129"/>
                  <a:gd name="T14" fmla="*/ 234 w 270"/>
                  <a:gd name="T15" fmla="*/ 60 h 129"/>
                  <a:gd name="T16" fmla="*/ 234 w 270"/>
                  <a:gd name="T17" fmla="*/ 45 h 129"/>
                  <a:gd name="T18" fmla="*/ 216 w 270"/>
                  <a:gd name="T19" fmla="*/ 39 h 129"/>
                  <a:gd name="T20" fmla="*/ 216 w 270"/>
                  <a:gd name="T21" fmla="*/ 21 h 129"/>
                  <a:gd name="T22" fmla="*/ 195 w 270"/>
                  <a:gd name="T23" fmla="*/ 15 h 129"/>
                  <a:gd name="T24" fmla="*/ 195 w 270"/>
                  <a:gd name="T25" fmla="*/ 0 h 129"/>
                  <a:gd name="T26" fmla="*/ 0 w 270"/>
                  <a:gd name="T27" fmla="*/ 21 h 1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129"/>
                  <a:gd name="T44" fmla="*/ 270 w 270"/>
                  <a:gd name="T45" fmla="*/ 129 h 1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129">
                    <a:moveTo>
                      <a:pt x="0" y="21"/>
                    </a:moveTo>
                    <a:lnTo>
                      <a:pt x="0" y="99"/>
                    </a:lnTo>
                    <a:lnTo>
                      <a:pt x="60" y="129"/>
                    </a:lnTo>
                    <a:lnTo>
                      <a:pt x="270" y="105"/>
                    </a:lnTo>
                    <a:lnTo>
                      <a:pt x="270" y="90"/>
                    </a:lnTo>
                    <a:lnTo>
                      <a:pt x="252" y="84"/>
                    </a:lnTo>
                    <a:lnTo>
                      <a:pt x="252" y="69"/>
                    </a:lnTo>
                    <a:lnTo>
                      <a:pt x="234" y="60"/>
                    </a:lnTo>
                    <a:lnTo>
                      <a:pt x="234" y="45"/>
                    </a:lnTo>
                    <a:lnTo>
                      <a:pt x="216" y="39"/>
                    </a:lnTo>
                    <a:lnTo>
                      <a:pt x="216" y="21"/>
                    </a:lnTo>
                    <a:lnTo>
                      <a:pt x="195" y="15"/>
                    </a:lnTo>
                    <a:lnTo>
                      <a:pt x="195" y="0"/>
                    </a:lnTo>
                    <a:lnTo>
                      <a:pt x="0" y="21"/>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4" name="Freeform 561"/>
              <p:cNvSpPr>
                <a:spLocks/>
              </p:cNvSpPr>
              <p:nvPr/>
            </p:nvSpPr>
            <p:spPr bwMode="gray">
              <a:xfrm>
                <a:off x="4083" y="1839"/>
                <a:ext cx="201" cy="36"/>
              </a:xfrm>
              <a:custGeom>
                <a:avLst/>
                <a:gdLst>
                  <a:gd name="T0" fmla="*/ 201 w 201"/>
                  <a:gd name="T1" fmla="*/ 15 h 36"/>
                  <a:gd name="T2" fmla="*/ 0 w 201"/>
                  <a:gd name="T3" fmla="*/ 36 h 36"/>
                  <a:gd name="T4" fmla="*/ 0 w 201"/>
                  <a:gd name="T5" fmla="*/ 21 h 36"/>
                  <a:gd name="T6" fmla="*/ 201 w 201"/>
                  <a:gd name="T7" fmla="*/ 0 h 36"/>
                  <a:gd name="T8" fmla="*/ 201 w 201"/>
                  <a:gd name="T9" fmla="*/ 15 h 36"/>
                  <a:gd name="T10" fmla="*/ 0 60000 65536"/>
                  <a:gd name="T11" fmla="*/ 0 60000 65536"/>
                  <a:gd name="T12" fmla="*/ 0 60000 65536"/>
                  <a:gd name="T13" fmla="*/ 0 60000 65536"/>
                  <a:gd name="T14" fmla="*/ 0 60000 65536"/>
                  <a:gd name="T15" fmla="*/ 0 w 201"/>
                  <a:gd name="T16" fmla="*/ 0 h 36"/>
                  <a:gd name="T17" fmla="*/ 201 w 201"/>
                  <a:gd name="T18" fmla="*/ 36 h 36"/>
                </a:gdLst>
                <a:ahLst/>
                <a:cxnLst>
                  <a:cxn ang="T10">
                    <a:pos x="T0" y="T1"/>
                  </a:cxn>
                  <a:cxn ang="T11">
                    <a:pos x="T2" y="T3"/>
                  </a:cxn>
                  <a:cxn ang="T12">
                    <a:pos x="T4" y="T5"/>
                  </a:cxn>
                  <a:cxn ang="T13">
                    <a:pos x="T6" y="T7"/>
                  </a:cxn>
                  <a:cxn ang="T14">
                    <a:pos x="T8" y="T9"/>
                  </a:cxn>
                </a:cxnLst>
                <a:rect l="T15" t="T16" r="T17" b="T18"/>
                <a:pathLst>
                  <a:path w="201" h="36">
                    <a:moveTo>
                      <a:pt x="201" y="15"/>
                    </a:moveTo>
                    <a:lnTo>
                      <a:pt x="0" y="36"/>
                    </a:lnTo>
                    <a:lnTo>
                      <a:pt x="0" y="21"/>
                    </a:lnTo>
                    <a:lnTo>
                      <a:pt x="201" y="0"/>
                    </a:lnTo>
                    <a:lnTo>
                      <a:pt x="201" y="15"/>
                    </a:lnTo>
                    <a:close/>
                  </a:path>
                </a:pathLst>
              </a:custGeom>
              <a:solidFill>
                <a:srgbClr val="C4BAB0"/>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5" name="Freeform 562"/>
              <p:cNvSpPr>
                <a:spLocks/>
              </p:cNvSpPr>
              <p:nvPr/>
            </p:nvSpPr>
            <p:spPr bwMode="gray">
              <a:xfrm>
                <a:off x="4102" y="1861"/>
                <a:ext cx="201" cy="36"/>
              </a:xfrm>
              <a:custGeom>
                <a:avLst/>
                <a:gdLst>
                  <a:gd name="T0" fmla="*/ 201 w 201"/>
                  <a:gd name="T1" fmla="*/ 15 h 36"/>
                  <a:gd name="T2" fmla="*/ 0 w 201"/>
                  <a:gd name="T3" fmla="*/ 36 h 36"/>
                  <a:gd name="T4" fmla="*/ 0 w 201"/>
                  <a:gd name="T5" fmla="*/ 21 h 36"/>
                  <a:gd name="T6" fmla="*/ 201 w 201"/>
                  <a:gd name="T7" fmla="*/ 0 h 36"/>
                  <a:gd name="T8" fmla="*/ 201 w 201"/>
                  <a:gd name="T9" fmla="*/ 15 h 36"/>
                  <a:gd name="T10" fmla="*/ 0 60000 65536"/>
                  <a:gd name="T11" fmla="*/ 0 60000 65536"/>
                  <a:gd name="T12" fmla="*/ 0 60000 65536"/>
                  <a:gd name="T13" fmla="*/ 0 60000 65536"/>
                  <a:gd name="T14" fmla="*/ 0 60000 65536"/>
                  <a:gd name="T15" fmla="*/ 0 w 201"/>
                  <a:gd name="T16" fmla="*/ 0 h 36"/>
                  <a:gd name="T17" fmla="*/ 201 w 201"/>
                  <a:gd name="T18" fmla="*/ 36 h 36"/>
                </a:gdLst>
                <a:ahLst/>
                <a:cxnLst>
                  <a:cxn ang="T10">
                    <a:pos x="T0" y="T1"/>
                  </a:cxn>
                  <a:cxn ang="T11">
                    <a:pos x="T2" y="T3"/>
                  </a:cxn>
                  <a:cxn ang="T12">
                    <a:pos x="T4" y="T5"/>
                  </a:cxn>
                  <a:cxn ang="T13">
                    <a:pos x="T6" y="T7"/>
                  </a:cxn>
                  <a:cxn ang="T14">
                    <a:pos x="T8" y="T9"/>
                  </a:cxn>
                </a:cxnLst>
                <a:rect l="T15" t="T16" r="T17" b="T18"/>
                <a:pathLst>
                  <a:path w="201" h="36">
                    <a:moveTo>
                      <a:pt x="201" y="15"/>
                    </a:moveTo>
                    <a:lnTo>
                      <a:pt x="0" y="36"/>
                    </a:lnTo>
                    <a:lnTo>
                      <a:pt x="0" y="21"/>
                    </a:lnTo>
                    <a:lnTo>
                      <a:pt x="201" y="0"/>
                    </a:lnTo>
                    <a:lnTo>
                      <a:pt x="201" y="15"/>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6" name="Freeform 563"/>
              <p:cNvSpPr>
                <a:spLocks/>
              </p:cNvSpPr>
              <p:nvPr/>
            </p:nvSpPr>
            <p:spPr bwMode="gray">
              <a:xfrm>
                <a:off x="4121" y="1886"/>
                <a:ext cx="201" cy="36"/>
              </a:xfrm>
              <a:custGeom>
                <a:avLst/>
                <a:gdLst>
                  <a:gd name="T0" fmla="*/ 201 w 201"/>
                  <a:gd name="T1" fmla="*/ 15 h 36"/>
                  <a:gd name="T2" fmla="*/ 0 w 201"/>
                  <a:gd name="T3" fmla="*/ 36 h 36"/>
                  <a:gd name="T4" fmla="*/ 0 w 201"/>
                  <a:gd name="T5" fmla="*/ 21 h 36"/>
                  <a:gd name="T6" fmla="*/ 201 w 201"/>
                  <a:gd name="T7" fmla="*/ 0 h 36"/>
                  <a:gd name="T8" fmla="*/ 201 w 201"/>
                  <a:gd name="T9" fmla="*/ 15 h 36"/>
                  <a:gd name="T10" fmla="*/ 0 60000 65536"/>
                  <a:gd name="T11" fmla="*/ 0 60000 65536"/>
                  <a:gd name="T12" fmla="*/ 0 60000 65536"/>
                  <a:gd name="T13" fmla="*/ 0 60000 65536"/>
                  <a:gd name="T14" fmla="*/ 0 60000 65536"/>
                  <a:gd name="T15" fmla="*/ 0 w 201"/>
                  <a:gd name="T16" fmla="*/ 0 h 36"/>
                  <a:gd name="T17" fmla="*/ 201 w 201"/>
                  <a:gd name="T18" fmla="*/ 36 h 36"/>
                </a:gdLst>
                <a:ahLst/>
                <a:cxnLst>
                  <a:cxn ang="T10">
                    <a:pos x="T0" y="T1"/>
                  </a:cxn>
                  <a:cxn ang="T11">
                    <a:pos x="T2" y="T3"/>
                  </a:cxn>
                  <a:cxn ang="T12">
                    <a:pos x="T4" y="T5"/>
                  </a:cxn>
                  <a:cxn ang="T13">
                    <a:pos x="T6" y="T7"/>
                  </a:cxn>
                  <a:cxn ang="T14">
                    <a:pos x="T8" y="T9"/>
                  </a:cxn>
                </a:cxnLst>
                <a:rect l="T15" t="T16" r="T17" b="T18"/>
                <a:pathLst>
                  <a:path w="201" h="36">
                    <a:moveTo>
                      <a:pt x="201" y="15"/>
                    </a:moveTo>
                    <a:lnTo>
                      <a:pt x="0" y="36"/>
                    </a:lnTo>
                    <a:lnTo>
                      <a:pt x="0" y="21"/>
                    </a:lnTo>
                    <a:lnTo>
                      <a:pt x="201" y="0"/>
                    </a:lnTo>
                    <a:lnTo>
                      <a:pt x="201" y="15"/>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7" name="Freeform 564"/>
              <p:cNvSpPr>
                <a:spLocks/>
              </p:cNvSpPr>
              <p:nvPr/>
            </p:nvSpPr>
            <p:spPr bwMode="gray">
              <a:xfrm>
                <a:off x="4143" y="1911"/>
                <a:ext cx="201" cy="36"/>
              </a:xfrm>
              <a:custGeom>
                <a:avLst/>
                <a:gdLst>
                  <a:gd name="T0" fmla="*/ 201 w 201"/>
                  <a:gd name="T1" fmla="*/ 15 h 36"/>
                  <a:gd name="T2" fmla="*/ 0 w 201"/>
                  <a:gd name="T3" fmla="*/ 36 h 36"/>
                  <a:gd name="T4" fmla="*/ 0 w 201"/>
                  <a:gd name="T5" fmla="*/ 21 h 36"/>
                  <a:gd name="T6" fmla="*/ 201 w 201"/>
                  <a:gd name="T7" fmla="*/ 0 h 36"/>
                  <a:gd name="T8" fmla="*/ 201 w 201"/>
                  <a:gd name="T9" fmla="*/ 15 h 36"/>
                  <a:gd name="T10" fmla="*/ 0 60000 65536"/>
                  <a:gd name="T11" fmla="*/ 0 60000 65536"/>
                  <a:gd name="T12" fmla="*/ 0 60000 65536"/>
                  <a:gd name="T13" fmla="*/ 0 60000 65536"/>
                  <a:gd name="T14" fmla="*/ 0 60000 65536"/>
                  <a:gd name="T15" fmla="*/ 0 w 201"/>
                  <a:gd name="T16" fmla="*/ 0 h 36"/>
                  <a:gd name="T17" fmla="*/ 201 w 201"/>
                  <a:gd name="T18" fmla="*/ 36 h 36"/>
                </a:gdLst>
                <a:ahLst/>
                <a:cxnLst>
                  <a:cxn ang="T10">
                    <a:pos x="T0" y="T1"/>
                  </a:cxn>
                  <a:cxn ang="T11">
                    <a:pos x="T2" y="T3"/>
                  </a:cxn>
                  <a:cxn ang="T12">
                    <a:pos x="T4" y="T5"/>
                  </a:cxn>
                  <a:cxn ang="T13">
                    <a:pos x="T6" y="T7"/>
                  </a:cxn>
                  <a:cxn ang="T14">
                    <a:pos x="T8" y="T9"/>
                  </a:cxn>
                </a:cxnLst>
                <a:rect l="T15" t="T16" r="T17" b="T18"/>
                <a:pathLst>
                  <a:path w="201" h="36">
                    <a:moveTo>
                      <a:pt x="201" y="15"/>
                    </a:moveTo>
                    <a:lnTo>
                      <a:pt x="0" y="36"/>
                    </a:lnTo>
                    <a:lnTo>
                      <a:pt x="0" y="21"/>
                    </a:lnTo>
                    <a:lnTo>
                      <a:pt x="201" y="0"/>
                    </a:lnTo>
                    <a:lnTo>
                      <a:pt x="201" y="15"/>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8" name="Freeform 565"/>
              <p:cNvSpPr>
                <a:spLocks/>
              </p:cNvSpPr>
              <p:nvPr/>
            </p:nvSpPr>
            <p:spPr bwMode="gray">
              <a:xfrm>
                <a:off x="3483" y="1578"/>
                <a:ext cx="186" cy="180"/>
              </a:xfrm>
              <a:custGeom>
                <a:avLst/>
                <a:gdLst>
                  <a:gd name="T0" fmla="*/ 186 w 186"/>
                  <a:gd name="T1" fmla="*/ 180 h 180"/>
                  <a:gd name="T2" fmla="*/ 186 w 186"/>
                  <a:gd name="T3" fmla="*/ 81 h 180"/>
                  <a:gd name="T4" fmla="*/ 0 w 186"/>
                  <a:gd name="T5" fmla="*/ 0 h 180"/>
                  <a:gd name="T6" fmla="*/ 0 w 186"/>
                  <a:gd name="T7" fmla="*/ 93 h 180"/>
                  <a:gd name="T8" fmla="*/ 186 w 186"/>
                  <a:gd name="T9" fmla="*/ 180 h 180"/>
                  <a:gd name="T10" fmla="*/ 0 60000 65536"/>
                  <a:gd name="T11" fmla="*/ 0 60000 65536"/>
                  <a:gd name="T12" fmla="*/ 0 60000 65536"/>
                  <a:gd name="T13" fmla="*/ 0 60000 65536"/>
                  <a:gd name="T14" fmla="*/ 0 60000 65536"/>
                  <a:gd name="T15" fmla="*/ 0 w 186"/>
                  <a:gd name="T16" fmla="*/ 0 h 180"/>
                  <a:gd name="T17" fmla="*/ 186 w 186"/>
                  <a:gd name="T18" fmla="*/ 180 h 180"/>
                </a:gdLst>
                <a:ahLst/>
                <a:cxnLst>
                  <a:cxn ang="T10">
                    <a:pos x="T0" y="T1"/>
                  </a:cxn>
                  <a:cxn ang="T11">
                    <a:pos x="T2" y="T3"/>
                  </a:cxn>
                  <a:cxn ang="T12">
                    <a:pos x="T4" y="T5"/>
                  </a:cxn>
                  <a:cxn ang="T13">
                    <a:pos x="T6" y="T7"/>
                  </a:cxn>
                  <a:cxn ang="T14">
                    <a:pos x="T8" y="T9"/>
                  </a:cxn>
                </a:cxnLst>
                <a:rect l="T15" t="T16" r="T17" b="T18"/>
                <a:pathLst>
                  <a:path w="186" h="180">
                    <a:moveTo>
                      <a:pt x="186" y="180"/>
                    </a:moveTo>
                    <a:lnTo>
                      <a:pt x="186" y="81"/>
                    </a:lnTo>
                    <a:lnTo>
                      <a:pt x="0" y="0"/>
                    </a:lnTo>
                    <a:lnTo>
                      <a:pt x="0" y="93"/>
                    </a:lnTo>
                    <a:lnTo>
                      <a:pt x="186" y="180"/>
                    </a:lnTo>
                    <a:close/>
                  </a:path>
                </a:pathLst>
              </a:custGeom>
              <a:solidFill>
                <a:schemeClr val="accent2"/>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79" name="Freeform 566"/>
              <p:cNvSpPr>
                <a:spLocks/>
              </p:cNvSpPr>
              <p:nvPr/>
            </p:nvSpPr>
            <p:spPr bwMode="gray">
              <a:xfrm>
                <a:off x="4159" y="1936"/>
                <a:ext cx="201" cy="36"/>
              </a:xfrm>
              <a:custGeom>
                <a:avLst/>
                <a:gdLst>
                  <a:gd name="T0" fmla="*/ 201 w 201"/>
                  <a:gd name="T1" fmla="*/ 15 h 36"/>
                  <a:gd name="T2" fmla="*/ 0 w 201"/>
                  <a:gd name="T3" fmla="*/ 36 h 36"/>
                  <a:gd name="T4" fmla="*/ 0 w 201"/>
                  <a:gd name="T5" fmla="*/ 21 h 36"/>
                  <a:gd name="T6" fmla="*/ 201 w 201"/>
                  <a:gd name="T7" fmla="*/ 0 h 36"/>
                  <a:gd name="T8" fmla="*/ 201 w 201"/>
                  <a:gd name="T9" fmla="*/ 15 h 36"/>
                  <a:gd name="T10" fmla="*/ 0 60000 65536"/>
                  <a:gd name="T11" fmla="*/ 0 60000 65536"/>
                  <a:gd name="T12" fmla="*/ 0 60000 65536"/>
                  <a:gd name="T13" fmla="*/ 0 60000 65536"/>
                  <a:gd name="T14" fmla="*/ 0 60000 65536"/>
                  <a:gd name="T15" fmla="*/ 0 w 201"/>
                  <a:gd name="T16" fmla="*/ 0 h 36"/>
                  <a:gd name="T17" fmla="*/ 201 w 201"/>
                  <a:gd name="T18" fmla="*/ 36 h 36"/>
                </a:gdLst>
                <a:ahLst/>
                <a:cxnLst>
                  <a:cxn ang="T10">
                    <a:pos x="T0" y="T1"/>
                  </a:cxn>
                  <a:cxn ang="T11">
                    <a:pos x="T2" y="T3"/>
                  </a:cxn>
                  <a:cxn ang="T12">
                    <a:pos x="T4" y="T5"/>
                  </a:cxn>
                  <a:cxn ang="T13">
                    <a:pos x="T6" y="T7"/>
                  </a:cxn>
                  <a:cxn ang="T14">
                    <a:pos x="T8" y="T9"/>
                  </a:cxn>
                </a:cxnLst>
                <a:rect l="T15" t="T16" r="T17" b="T18"/>
                <a:pathLst>
                  <a:path w="201" h="36">
                    <a:moveTo>
                      <a:pt x="201" y="15"/>
                    </a:moveTo>
                    <a:lnTo>
                      <a:pt x="0" y="36"/>
                    </a:lnTo>
                    <a:lnTo>
                      <a:pt x="0" y="21"/>
                    </a:lnTo>
                    <a:lnTo>
                      <a:pt x="201" y="0"/>
                    </a:lnTo>
                    <a:lnTo>
                      <a:pt x="201" y="15"/>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0" name="Freeform 567"/>
              <p:cNvSpPr>
                <a:spLocks/>
              </p:cNvSpPr>
              <p:nvPr/>
            </p:nvSpPr>
            <p:spPr bwMode="gray">
              <a:xfrm>
                <a:off x="3216" y="1497"/>
                <a:ext cx="522" cy="228"/>
              </a:xfrm>
              <a:custGeom>
                <a:avLst/>
                <a:gdLst>
                  <a:gd name="T0" fmla="*/ 522 w 522"/>
                  <a:gd name="T1" fmla="*/ 102 h 228"/>
                  <a:gd name="T2" fmla="*/ 270 w 522"/>
                  <a:gd name="T3" fmla="*/ 228 h 228"/>
                  <a:gd name="T4" fmla="*/ 0 w 522"/>
                  <a:gd name="T5" fmla="*/ 105 h 228"/>
                  <a:gd name="T6" fmla="*/ 255 w 522"/>
                  <a:gd name="T7" fmla="*/ 0 h 228"/>
                  <a:gd name="T8" fmla="*/ 522 w 522"/>
                  <a:gd name="T9" fmla="*/ 102 h 228"/>
                  <a:gd name="T10" fmla="*/ 0 60000 65536"/>
                  <a:gd name="T11" fmla="*/ 0 60000 65536"/>
                  <a:gd name="T12" fmla="*/ 0 60000 65536"/>
                  <a:gd name="T13" fmla="*/ 0 60000 65536"/>
                  <a:gd name="T14" fmla="*/ 0 60000 65536"/>
                  <a:gd name="T15" fmla="*/ 0 w 522"/>
                  <a:gd name="T16" fmla="*/ 0 h 228"/>
                  <a:gd name="T17" fmla="*/ 522 w 522"/>
                  <a:gd name="T18" fmla="*/ 228 h 228"/>
                </a:gdLst>
                <a:ahLst/>
                <a:cxnLst>
                  <a:cxn ang="T10">
                    <a:pos x="T0" y="T1"/>
                  </a:cxn>
                  <a:cxn ang="T11">
                    <a:pos x="T2" y="T3"/>
                  </a:cxn>
                  <a:cxn ang="T12">
                    <a:pos x="T4" y="T5"/>
                  </a:cxn>
                  <a:cxn ang="T13">
                    <a:pos x="T6" y="T7"/>
                  </a:cxn>
                  <a:cxn ang="T14">
                    <a:pos x="T8" y="T9"/>
                  </a:cxn>
                </a:cxnLst>
                <a:rect l="T15" t="T16" r="T17" b="T18"/>
                <a:pathLst>
                  <a:path w="522" h="228">
                    <a:moveTo>
                      <a:pt x="522" y="102"/>
                    </a:moveTo>
                    <a:lnTo>
                      <a:pt x="270" y="228"/>
                    </a:lnTo>
                    <a:lnTo>
                      <a:pt x="0" y="105"/>
                    </a:lnTo>
                    <a:lnTo>
                      <a:pt x="255" y="0"/>
                    </a:lnTo>
                    <a:lnTo>
                      <a:pt x="522" y="102"/>
                    </a:lnTo>
                    <a:close/>
                  </a:path>
                </a:pathLst>
              </a:custGeom>
              <a:solidFill>
                <a:srgbClr val="977D6B"/>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1" name="Freeform 568"/>
              <p:cNvSpPr>
                <a:spLocks/>
              </p:cNvSpPr>
              <p:nvPr/>
            </p:nvSpPr>
            <p:spPr bwMode="gray">
              <a:xfrm>
                <a:off x="3186" y="1773"/>
                <a:ext cx="348" cy="174"/>
              </a:xfrm>
              <a:custGeom>
                <a:avLst/>
                <a:gdLst>
                  <a:gd name="T0" fmla="*/ 51 w 348"/>
                  <a:gd name="T1" fmla="*/ 0 h 174"/>
                  <a:gd name="T2" fmla="*/ 348 w 348"/>
                  <a:gd name="T3" fmla="*/ 165 h 174"/>
                  <a:gd name="T4" fmla="*/ 291 w 348"/>
                  <a:gd name="T5" fmla="*/ 174 h 174"/>
                  <a:gd name="T6" fmla="*/ 0 w 348"/>
                  <a:gd name="T7" fmla="*/ 6 h 174"/>
                  <a:gd name="T8" fmla="*/ 51 w 348"/>
                  <a:gd name="T9" fmla="*/ 0 h 174"/>
                  <a:gd name="T10" fmla="*/ 0 60000 65536"/>
                  <a:gd name="T11" fmla="*/ 0 60000 65536"/>
                  <a:gd name="T12" fmla="*/ 0 60000 65536"/>
                  <a:gd name="T13" fmla="*/ 0 60000 65536"/>
                  <a:gd name="T14" fmla="*/ 0 60000 65536"/>
                  <a:gd name="T15" fmla="*/ 0 w 348"/>
                  <a:gd name="T16" fmla="*/ 0 h 174"/>
                  <a:gd name="T17" fmla="*/ 348 w 348"/>
                  <a:gd name="T18" fmla="*/ 174 h 174"/>
                </a:gdLst>
                <a:ahLst/>
                <a:cxnLst>
                  <a:cxn ang="T10">
                    <a:pos x="T0" y="T1"/>
                  </a:cxn>
                  <a:cxn ang="T11">
                    <a:pos x="T2" y="T3"/>
                  </a:cxn>
                  <a:cxn ang="T12">
                    <a:pos x="T4" y="T5"/>
                  </a:cxn>
                  <a:cxn ang="T13">
                    <a:pos x="T6" y="T7"/>
                  </a:cxn>
                  <a:cxn ang="T14">
                    <a:pos x="T8" y="T9"/>
                  </a:cxn>
                </a:cxnLst>
                <a:rect l="T15" t="T16" r="T17" b="T18"/>
                <a:pathLst>
                  <a:path w="348" h="174">
                    <a:moveTo>
                      <a:pt x="51" y="0"/>
                    </a:moveTo>
                    <a:lnTo>
                      <a:pt x="348" y="165"/>
                    </a:lnTo>
                    <a:lnTo>
                      <a:pt x="291" y="174"/>
                    </a:lnTo>
                    <a:lnTo>
                      <a:pt x="0" y="6"/>
                    </a:lnTo>
                    <a:lnTo>
                      <a:pt x="51" y="0"/>
                    </a:lnTo>
                    <a:close/>
                  </a:path>
                </a:pathLst>
              </a:custGeom>
              <a:solidFill>
                <a:schemeClr val="bg2"/>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2" name="Freeform 569"/>
              <p:cNvSpPr>
                <a:spLocks/>
              </p:cNvSpPr>
              <p:nvPr/>
            </p:nvSpPr>
            <p:spPr bwMode="gray">
              <a:xfrm>
                <a:off x="3224" y="1620"/>
                <a:ext cx="31" cy="177"/>
              </a:xfrm>
              <a:custGeom>
                <a:avLst/>
                <a:gdLst>
                  <a:gd name="T0" fmla="*/ 4 w 31"/>
                  <a:gd name="T1" fmla="*/ 0 h 177"/>
                  <a:gd name="T2" fmla="*/ 4 w 31"/>
                  <a:gd name="T3" fmla="*/ 129 h 177"/>
                  <a:gd name="T4" fmla="*/ 1 w 31"/>
                  <a:gd name="T5" fmla="*/ 147 h 177"/>
                  <a:gd name="T6" fmla="*/ 10 w 31"/>
                  <a:gd name="T7" fmla="*/ 177 h 177"/>
                  <a:gd name="T8" fmla="*/ 25 w 31"/>
                  <a:gd name="T9" fmla="*/ 177 h 177"/>
                  <a:gd name="T10" fmla="*/ 25 w 31"/>
                  <a:gd name="T11" fmla="*/ 132 h 177"/>
                  <a:gd name="T12" fmla="*/ 16 w 31"/>
                  <a:gd name="T13" fmla="*/ 126 h 177"/>
                  <a:gd name="T14" fmla="*/ 16 w 31"/>
                  <a:gd name="T15" fmla="*/ 9 h 177"/>
                  <a:gd name="T16" fmla="*/ 4 w 31"/>
                  <a:gd name="T17" fmla="*/ 0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77"/>
                  <a:gd name="T29" fmla="*/ 31 w 31"/>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77">
                    <a:moveTo>
                      <a:pt x="4" y="0"/>
                    </a:moveTo>
                    <a:lnTo>
                      <a:pt x="4" y="129"/>
                    </a:lnTo>
                    <a:cubicBezTo>
                      <a:pt x="14" y="143"/>
                      <a:pt x="0" y="139"/>
                      <a:pt x="1" y="147"/>
                    </a:cubicBezTo>
                    <a:lnTo>
                      <a:pt x="10" y="177"/>
                    </a:lnTo>
                    <a:cubicBezTo>
                      <a:pt x="18" y="175"/>
                      <a:pt x="10" y="177"/>
                      <a:pt x="25" y="177"/>
                    </a:cubicBezTo>
                    <a:cubicBezTo>
                      <a:pt x="29" y="171"/>
                      <a:pt x="31" y="140"/>
                      <a:pt x="25" y="132"/>
                    </a:cubicBezTo>
                    <a:cubicBezTo>
                      <a:pt x="23" y="129"/>
                      <a:pt x="16" y="126"/>
                      <a:pt x="16" y="126"/>
                    </a:cubicBezTo>
                    <a:lnTo>
                      <a:pt x="16" y="9"/>
                    </a:lnTo>
                    <a:lnTo>
                      <a:pt x="4" y="0"/>
                    </a:lnTo>
                    <a:close/>
                  </a:path>
                </a:pathLst>
              </a:custGeom>
              <a:solidFill>
                <a:srgbClr val="C4BAB0"/>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3" name="Freeform 570"/>
              <p:cNvSpPr>
                <a:spLocks/>
              </p:cNvSpPr>
              <p:nvPr/>
            </p:nvSpPr>
            <p:spPr bwMode="gray">
              <a:xfrm>
                <a:off x="3183" y="1776"/>
                <a:ext cx="298" cy="201"/>
              </a:xfrm>
              <a:custGeom>
                <a:avLst/>
                <a:gdLst>
                  <a:gd name="T0" fmla="*/ 0 w 298"/>
                  <a:gd name="T1" fmla="*/ 0 h 201"/>
                  <a:gd name="T2" fmla="*/ 298 w 298"/>
                  <a:gd name="T3" fmla="*/ 169 h 201"/>
                  <a:gd name="T4" fmla="*/ 297 w 298"/>
                  <a:gd name="T5" fmla="*/ 201 h 201"/>
                  <a:gd name="T6" fmla="*/ 0 w 298"/>
                  <a:gd name="T7" fmla="*/ 27 h 201"/>
                  <a:gd name="T8" fmla="*/ 0 w 298"/>
                  <a:gd name="T9" fmla="*/ 0 h 201"/>
                  <a:gd name="T10" fmla="*/ 0 60000 65536"/>
                  <a:gd name="T11" fmla="*/ 0 60000 65536"/>
                  <a:gd name="T12" fmla="*/ 0 60000 65536"/>
                  <a:gd name="T13" fmla="*/ 0 60000 65536"/>
                  <a:gd name="T14" fmla="*/ 0 60000 65536"/>
                  <a:gd name="T15" fmla="*/ 0 w 298"/>
                  <a:gd name="T16" fmla="*/ 0 h 201"/>
                  <a:gd name="T17" fmla="*/ 298 w 298"/>
                  <a:gd name="T18" fmla="*/ 201 h 201"/>
                </a:gdLst>
                <a:ahLst/>
                <a:cxnLst>
                  <a:cxn ang="T10">
                    <a:pos x="T0" y="T1"/>
                  </a:cxn>
                  <a:cxn ang="T11">
                    <a:pos x="T2" y="T3"/>
                  </a:cxn>
                  <a:cxn ang="T12">
                    <a:pos x="T4" y="T5"/>
                  </a:cxn>
                  <a:cxn ang="T13">
                    <a:pos x="T6" y="T7"/>
                  </a:cxn>
                  <a:cxn ang="T14">
                    <a:pos x="T8" y="T9"/>
                  </a:cxn>
                </a:cxnLst>
                <a:rect l="T15" t="T16" r="T17" b="T18"/>
                <a:pathLst>
                  <a:path w="298" h="201">
                    <a:moveTo>
                      <a:pt x="0" y="0"/>
                    </a:moveTo>
                    <a:lnTo>
                      <a:pt x="298" y="169"/>
                    </a:lnTo>
                    <a:lnTo>
                      <a:pt x="297" y="201"/>
                    </a:lnTo>
                    <a:lnTo>
                      <a:pt x="0" y="27"/>
                    </a:lnTo>
                    <a:lnTo>
                      <a:pt x="0" y="0"/>
                    </a:ln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4" name="Freeform 571"/>
              <p:cNvSpPr>
                <a:spLocks/>
              </p:cNvSpPr>
              <p:nvPr/>
            </p:nvSpPr>
            <p:spPr bwMode="gray">
              <a:xfrm>
                <a:off x="3477" y="1935"/>
                <a:ext cx="60" cy="39"/>
              </a:xfrm>
              <a:custGeom>
                <a:avLst/>
                <a:gdLst>
                  <a:gd name="T0" fmla="*/ 0 w 60"/>
                  <a:gd name="T1" fmla="*/ 12 h 39"/>
                  <a:gd name="T2" fmla="*/ 60 w 60"/>
                  <a:gd name="T3" fmla="*/ 0 h 39"/>
                  <a:gd name="T4" fmla="*/ 60 w 60"/>
                  <a:gd name="T5" fmla="*/ 27 h 39"/>
                  <a:gd name="T6" fmla="*/ 3 w 60"/>
                  <a:gd name="T7" fmla="*/ 39 h 39"/>
                  <a:gd name="T8" fmla="*/ 0 w 60"/>
                  <a:gd name="T9" fmla="*/ 12 h 39"/>
                  <a:gd name="T10" fmla="*/ 0 60000 65536"/>
                  <a:gd name="T11" fmla="*/ 0 60000 65536"/>
                  <a:gd name="T12" fmla="*/ 0 60000 65536"/>
                  <a:gd name="T13" fmla="*/ 0 60000 65536"/>
                  <a:gd name="T14" fmla="*/ 0 60000 65536"/>
                  <a:gd name="T15" fmla="*/ 0 w 60"/>
                  <a:gd name="T16" fmla="*/ 0 h 39"/>
                  <a:gd name="T17" fmla="*/ 60 w 60"/>
                  <a:gd name="T18" fmla="*/ 39 h 39"/>
                </a:gdLst>
                <a:ahLst/>
                <a:cxnLst>
                  <a:cxn ang="T10">
                    <a:pos x="T0" y="T1"/>
                  </a:cxn>
                  <a:cxn ang="T11">
                    <a:pos x="T2" y="T3"/>
                  </a:cxn>
                  <a:cxn ang="T12">
                    <a:pos x="T4" y="T5"/>
                  </a:cxn>
                  <a:cxn ang="T13">
                    <a:pos x="T6" y="T7"/>
                  </a:cxn>
                  <a:cxn ang="T14">
                    <a:pos x="T8" y="T9"/>
                  </a:cxn>
                </a:cxnLst>
                <a:rect l="T15" t="T16" r="T17" b="T18"/>
                <a:pathLst>
                  <a:path w="60" h="39">
                    <a:moveTo>
                      <a:pt x="0" y="12"/>
                    </a:moveTo>
                    <a:lnTo>
                      <a:pt x="60" y="0"/>
                    </a:lnTo>
                    <a:lnTo>
                      <a:pt x="60" y="27"/>
                    </a:lnTo>
                    <a:lnTo>
                      <a:pt x="3" y="39"/>
                    </a:lnTo>
                    <a:lnTo>
                      <a:pt x="0" y="12"/>
                    </a:lnTo>
                    <a:close/>
                  </a:path>
                </a:pathLst>
              </a:custGeom>
              <a:solidFill>
                <a:srgbClr val="C0C0C0"/>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5" name="Freeform 572"/>
              <p:cNvSpPr>
                <a:spLocks/>
              </p:cNvSpPr>
              <p:nvPr/>
            </p:nvSpPr>
            <p:spPr bwMode="gray">
              <a:xfrm>
                <a:off x="3476" y="1599"/>
                <a:ext cx="259" cy="357"/>
              </a:xfrm>
              <a:custGeom>
                <a:avLst/>
                <a:gdLst>
                  <a:gd name="T0" fmla="*/ 259 w 259"/>
                  <a:gd name="T1" fmla="*/ 93 h 357"/>
                  <a:gd name="T2" fmla="*/ 256 w 259"/>
                  <a:gd name="T3" fmla="*/ 0 h 357"/>
                  <a:gd name="T4" fmla="*/ 4 w 259"/>
                  <a:gd name="T5" fmla="*/ 123 h 357"/>
                  <a:gd name="T6" fmla="*/ 1 w 259"/>
                  <a:gd name="T7" fmla="*/ 276 h 357"/>
                  <a:gd name="T8" fmla="*/ 10 w 259"/>
                  <a:gd name="T9" fmla="*/ 288 h 357"/>
                  <a:gd name="T10" fmla="*/ 10 w 259"/>
                  <a:gd name="T11" fmla="*/ 345 h 357"/>
                  <a:gd name="T12" fmla="*/ 37 w 259"/>
                  <a:gd name="T13" fmla="*/ 336 h 357"/>
                  <a:gd name="T14" fmla="*/ 37 w 259"/>
                  <a:gd name="T15" fmla="*/ 282 h 357"/>
                  <a:gd name="T16" fmla="*/ 22 w 259"/>
                  <a:gd name="T17" fmla="*/ 276 h 357"/>
                  <a:gd name="T18" fmla="*/ 22 w 259"/>
                  <a:gd name="T19" fmla="*/ 135 h 357"/>
                  <a:gd name="T20" fmla="*/ 259 w 259"/>
                  <a:gd name="T21" fmla="*/ 93 h 3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357"/>
                  <a:gd name="T35" fmla="*/ 259 w 259"/>
                  <a:gd name="T36" fmla="*/ 357 h 3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357">
                    <a:moveTo>
                      <a:pt x="259" y="93"/>
                    </a:moveTo>
                    <a:lnTo>
                      <a:pt x="256" y="0"/>
                    </a:lnTo>
                    <a:lnTo>
                      <a:pt x="4" y="123"/>
                    </a:lnTo>
                    <a:cubicBezTo>
                      <a:pt x="0" y="357"/>
                      <a:pt x="1" y="258"/>
                      <a:pt x="1" y="276"/>
                    </a:cubicBezTo>
                    <a:cubicBezTo>
                      <a:pt x="1" y="306"/>
                      <a:pt x="9" y="277"/>
                      <a:pt x="10" y="288"/>
                    </a:cubicBezTo>
                    <a:cubicBezTo>
                      <a:pt x="11" y="299"/>
                      <a:pt x="6" y="337"/>
                      <a:pt x="10" y="345"/>
                    </a:cubicBezTo>
                    <a:lnTo>
                      <a:pt x="37" y="336"/>
                    </a:lnTo>
                    <a:cubicBezTo>
                      <a:pt x="36" y="317"/>
                      <a:pt x="40" y="292"/>
                      <a:pt x="37" y="282"/>
                    </a:cubicBezTo>
                    <a:lnTo>
                      <a:pt x="22" y="276"/>
                    </a:lnTo>
                    <a:lnTo>
                      <a:pt x="22" y="135"/>
                    </a:lnTo>
                    <a:lnTo>
                      <a:pt x="259" y="93"/>
                    </a:lnTo>
                    <a:close/>
                  </a:path>
                </a:pathLst>
              </a:custGeom>
              <a:solidFill>
                <a:srgbClr val="D3C8BD"/>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6" name="Freeform 573"/>
              <p:cNvSpPr>
                <a:spLocks/>
              </p:cNvSpPr>
              <p:nvPr/>
            </p:nvSpPr>
            <p:spPr bwMode="gray">
              <a:xfrm>
                <a:off x="3210" y="1599"/>
                <a:ext cx="281" cy="348"/>
              </a:xfrm>
              <a:custGeom>
                <a:avLst/>
                <a:gdLst>
                  <a:gd name="T0" fmla="*/ 276 w 281"/>
                  <a:gd name="T1" fmla="*/ 339 h 348"/>
                  <a:gd name="T2" fmla="*/ 279 w 281"/>
                  <a:gd name="T3" fmla="*/ 291 h 348"/>
                  <a:gd name="T4" fmla="*/ 270 w 281"/>
                  <a:gd name="T5" fmla="*/ 276 h 348"/>
                  <a:gd name="T6" fmla="*/ 270 w 281"/>
                  <a:gd name="T7" fmla="*/ 120 h 348"/>
                  <a:gd name="T8" fmla="*/ 3 w 281"/>
                  <a:gd name="T9" fmla="*/ 0 h 348"/>
                  <a:gd name="T10" fmla="*/ 6 w 281"/>
                  <a:gd name="T11" fmla="*/ 147 h 348"/>
                  <a:gd name="T12" fmla="*/ 3 w 281"/>
                  <a:gd name="T13" fmla="*/ 156 h 348"/>
                  <a:gd name="T14" fmla="*/ 3 w 281"/>
                  <a:gd name="T15" fmla="*/ 186 h 348"/>
                  <a:gd name="T16" fmla="*/ 21 w 281"/>
                  <a:gd name="T17" fmla="*/ 192 h 348"/>
                  <a:gd name="T18" fmla="*/ 21 w 281"/>
                  <a:gd name="T19" fmla="*/ 159 h 348"/>
                  <a:gd name="T20" fmla="*/ 21 w 281"/>
                  <a:gd name="T21" fmla="*/ 150 h 348"/>
                  <a:gd name="T22" fmla="*/ 18 w 281"/>
                  <a:gd name="T23" fmla="*/ 21 h 348"/>
                  <a:gd name="T24" fmla="*/ 261 w 281"/>
                  <a:gd name="T25" fmla="*/ 129 h 348"/>
                  <a:gd name="T26" fmla="*/ 255 w 281"/>
                  <a:gd name="T27" fmla="*/ 291 h 348"/>
                  <a:gd name="T28" fmla="*/ 258 w 281"/>
                  <a:gd name="T29" fmla="*/ 333 h 348"/>
                  <a:gd name="T30" fmla="*/ 276 w 281"/>
                  <a:gd name="T31" fmla="*/ 339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348"/>
                  <a:gd name="T50" fmla="*/ 281 w 281"/>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348">
                    <a:moveTo>
                      <a:pt x="276" y="339"/>
                    </a:moveTo>
                    <a:cubicBezTo>
                      <a:pt x="278" y="334"/>
                      <a:pt x="280" y="301"/>
                      <a:pt x="279" y="291"/>
                    </a:cubicBezTo>
                    <a:cubicBezTo>
                      <a:pt x="278" y="281"/>
                      <a:pt x="276" y="285"/>
                      <a:pt x="270" y="276"/>
                    </a:cubicBezTo>
                    <a:cubicBezTo>
                      <a:pt x="270" y="198"/>
                      <a:pt x="270" y="120"/>
                      <a:pt x="270" y="120"/>
                    </a:cubicBezTo>
                    <a:lnTo>
                      <a:pt x="3" y="0"/>
                    </a:lnTo>
                    <a:cubicBezTo>
                      <a:pt x="3" y="111"/>
                      <a:pt x="6" y="102"/>
                      <a:pt x="6" y="147"/>
                    </a:cubicBezTo>
                    <a:cubicBezTo>
                      <a:pt x="7" y="176"/>
                      <a:pt x="3" y="150"/>
                      <a:pt x="3" y="156"/>
                    </a:cubicBezTo>
                    <a:cubicBezTo>
                      <a:pt x="3" y="162"/>
                      <a:pt x="0" y="180"/>
                      <a:pt x="3" y="186"/>
                    </a:cubicBezTo>
                    <a:cubicBezTo>
                      <a:pt x="6" y="192"/>
                      <a:pt x="18" y="196"/>
                      <a:pt x="21" y="192"/>
                    </a:cubicBezTo>
                    <a:cubicBezTo>
                      <a:pt x="22" y="180"/>
                      <a:pt x="23" y="171"/>
                      <a:pt x="21" y="159"/>
                    </a:cubicBezTo>
                    <a:cubicBezTo>
                      <a:pt x="20" y="155"/>
                      <a:pt x="21" y="150"/>
                      <a:pt x="21" y="150"/>
                    </a:cubicBezTo>
                    <a:lnTo>
                      <a:pt x="18" y="21"/>
                    </a:lnTo>
                    <a:lnTo>
                      <a:pt x="261" y="129"/>
                    </a:lnTo>
                    <a:cubicBezTo>
                      <a:pt x="258" y="287"/>
                      <a:pt x="267" y="282"/>
                      <a:pt x="255" y="291"/>
                    </a:cubicBezTo>
                    <a:cubicBezTo>
                      <a:pt x="256" y="305"/>
                      <a:pt x="255" y="319"/>
                      <a:pt x="258" y="333"/>
                    </a:cubicBezTo>
                    <a:cubicBezTo>
                      <a:pt x="261" y="348"/>
                      <a:pt x="281" y="339"/>
                      <a:pt x="276" y="339"/>
                    </a:cubicBezTo>
                    <a:close/>
                  </a:path>
                </a:pathLst>
              </a:custGeom>
              <a:solidFill>
                <a:srgbClr val="EDEBE5"/>
              </a:solidFill>
              <a:ln w="9525">
                <a:noFill/>
                <a:round/>
                <a:headEnd/>
                <a:tailEnd type="none" w="sm" len="lg"/>
              </a:ln>
            </p:spPr>
            <p:txBody>
              <a:bodyPr wrap="none" lIns="90000" tIns="46800" rIns="90000" bIns="46800" anchor="ctr"/>
              <a:lstStyle/>
              <a:p>
                <a:pPr defTabSz="912546"/>
                <a:endParaRPr>
                  <a:solidFill>
                    <a:srgbClr val="000000"/>
                  </a:solidFill>
                </a:endParaRPr>
              </a:p>
            </p:txBody>
          </p:sp>
          <p:sp>
            <p:nvSpPr>
              <p:cNvPr id="441887" name="Freeform 574"/>
              <p:cNvSpPr>
                <a:spLocks/>
              </p:cNvSpPr>
              <p:nvPr/>
            </p:nvSpPr>
            <p:spPr bwMode="gray">
              <a:xfrm>
                <a:off x="3564" y="1875"/>
                <a:ext cx="255" cy="153"/>
              </a:xfrm>
              <a:custGeom>
                <a:avLst/>
                <a:gdLst>
                  <a:gd name="T0" fmla="*/ 63 w 255"/>
                  <a:gd name="T1" fmla="*/ 0 h 153"/>
                  <a:gd name="T2" fmla="*/ 210 w 255"/>
                  <a:gd name="T3" fmla="*/ 90 h 153"/>
                  <a:gd name="T4" fmla="*/ 255 w 255"/>
                  <a:gd name="T5" fmla="*/ 81 h 153"/>
                  <a:gd name="T6" fmla="*/ 237 w 255"/>
                  <a:gd name="T7" fmla="*/ 153 h 153"/>
                  <a:gd name="T8" fmla="*/ 78 w 255"/>
                  <a:gd name="T9" fmla="*/ 117 h 153"/>
                  <a:gd name="T10" fmla="*/ 144 w 255"/>
                  <a:gd name="T11" fmla="*/ 102 h 153"/>
                  <a:gd name="T12" fmla="*/ 0 w 255"/>
                  <a:gd name="T13" fmla="*/ 9 h 153"/>
                  <a:gd name="T14" fmla="*/ 63 w 255"/>
                  <a:gd name="T15" fmla="*/ 0 h 153"/>
                  <a:gd name="T16" fmla="*/ 0 60000 65536"/>
                  <a:gd name="T17" fmla="*/ 0 60000 65536"/>
                  <a:gd name="T18" fmla="*/ 0 60000 65536"/>
                  <a:gd name="T19" fmla="*/ 0 60000 65536"/>
                  <a:gd name="T20" fmla="*/ 0 60000 65536"/>
                  <a:gd name="T21" fmla="*/ 0 60000 65536"/>
                  <a:gd name="T22" fmla="*/ 0 60000 65536"/>
                  <a:gd name="T23" fmla="*/ 0 60000 65536"/>
                  <a:gd name="T24" fmla="*/ 0 w 255"/>
                  <a:gd name="T25" fmla="*/ 0 h 153"/>
                  <a:gd name="T26" fmla="*/ 255 w 255"/>
                  <a:gd name="T27" fmla="*/ 153 h 1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5" h="153">
                    <a:moveTo>
                      <a:pt x="63" y="0"/>
                    </a:moveTo>
                    <a:cubicBezTo>
                      <a:pt x="98" y="13"/>
                      <a:pt x="176" y="75"/>
                      <a:pt x="210" y="90"/>
                    </a:cubicBezTo>
                    <a:lnTo>
                      <a:pt x="255" y="81"/>
                    </a:lnTo>
                    <a:lnTo>
                      <a:pt x="237" y="153"/>
                    </a:lnTo>
                    <a:lnTo>
                      <a:pt x="78" y="117"/>
                    </a:lnTo>
                    <a:lnTo>
                      <a:pt x="144" y="102"/>
                    </a:lnTo>
                    <a:lnTo>
                      <a:pt x="0" y="9"/>
                    </a:lnTo>
                    <a:lnTo>
                      <a:pt x="63" y="0"/>
                    </a:lnTo>
                    <a:close/>
                  </a:path>
                </a:pathLst>
              </a:custGeom>
              <a:solidFill>
                <a:srgbClr val="E1C48F"/>
              </a:solidFill>
              <a:ln w="9525">
                <a:noFill/>
                <a:round/>
                <a:headEnd/>
                <a:tailEnd type="none" w="sm" len="lg"/>
              </a:ln>
            </p:spPr>
            <p:txBody>
              <a:bodyPr wrap="none" lIns="90000" tIns="46800" rIns="90000" bIns="46800" anchor="ctr"/>
              <a:lstStyle/>
              <a:p>
                <a:pPr defTabSz="912546"/>
                <a:endParaRPr>
                  <a:solidFill>
                    <a:srgbClr val="000000"/>
                  </a:solidFill>
                </a:endParaRPr>
              </a:p>
            </p:txBody>
          </p:sp>
        </p:grpSp>
        <p:sp>
          <p:nvSpPr>
            <p:cNvPr id="441833" name="WordArt 575"/>
            <p:cNvSpPr>
              <a:spLocks noChangeArrowheads="1" noChangeShapeType="1" noTextEdit="1"/>
            </p:cNvSpPr>
            <p:nvPr/>
          </p:nvSpPr>
          <p:spPr bwMode="gray">
            <a:xfrm rot="1081559">
              <a:off x="2415" y="1036"/>
              <a:ext cx="546" cy="144"/>
            </a:xfrm>
            <a:prstGeom prst="rect">
              <a:avLst/>
            </a:prstGeom>
          </p:spPr>
          <p:txBody>
            <a:bodyPr wrap="none" fromWordArt="1">
              <a:prstTxWarp prst="textPlain">
                <a:avLst>
                  <a:gd name="adj" fmla="val 39968"/>
                </a:avLst>
              </a:prstTxWarp>
            </a:bodyPr>
            <a:lstStyle/>
            <a:p>
              <a:pPr algn="ctr" defTabSz="912546"/>
              <a:r>
                <a:rPr lang="en-US" sz="2400" b="1" i="1" kern="10" dirty="0">
                  <a:ln w="9525">
                    <a:noFill/>
                    <a:round/>
                    <a:headEnd/>
                    <a:tailEnd type="none" w="sm" len="lg"/>
                  </a:ln>
                  <a:noFill/>
                  <a:cs typeface="Arial"/>
                </a:rPr>
                <a:t>BANK</a:t>
              </a:r>
            </a:p>
          </p:txBody>
        </p:sp>
      </p:grpSp>
      <p:sp>
        <p:nvSpPr>
          <p:cNvPr id="441364" name="Text Box 576"/>
          <p:cNvSpPr txBox="1">
            <a:spLocks noChangeArrowheads="1"/>
          </p:cNvSpPr>
          <p:nvPr/>
        </p:nvSpPr>
        <p:spPr bwMode="gray">
          <a:xfrm>
            <a:off x="3494088" y="1825233"/>
            <a:ext cx="838200" cy="212047"/>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Bank</a:t>
            </a:r>
          </a:p>
        </p:txBody>
      </p:sp>
      <p:sp>
        <p:nvSpPr>
          <p:cNvPr id="441365" name="Text Box 577"/>
          <p:cNvSpPr txBox="1">
            <a:spLocks noChangeArrowheads="1"/>
          </p:cNvSpPr>
          <p:nvPr/>
        </p:nvSpPr>
        <p:spPr bwMode="gray">
          <a:xfrm>
            <a:off x="371475" y="2433238"/>
            <a:ext cx="990600" cy="212047"/>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Supplier</a:t>
            </a:r>
          </a:p>
        </p:txBody>
      </p:sp>
      <p:sp>
        <p:nvSpPr>
          <p:cNvPr id="441366" name="Text Box 578"/>
          <p:cNvSpPr txBox="1">
            <a:spLocks noChangeArrowheads="1"/>
          </p:cNvSpPr>
          <p:nvPr/>
        </p:nvSpPr>
        <p:spPr bwMode="gray">
          <a:xfrm>
            <a:off x="133350" y="4042975"/>
            <a:ext cx="1219200" cy="329771"/>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3</a:t>
            </a:r>
            <a:r>
              <a:rPr lang="en-US" sz="900" b="1" baseline="30000" dirty="0">
                <a:solidFill>
                  <a:srgbClr val="000000"/>
                </a:solidFill>
              </a:rPr>
              <a:t>rd</a:t>
            </a:r>
            <a:r>
              <a:rPr lang="en-US" sz="900" b="1" dirty="0">
                <a:solidFill>
                  <a:srgbClr val="000000"/>
                </a:solidFill>
              </a:rPr>
              <a:t> Party</a:t>
            </a:r>
          </a:p>
          <a:p>
            <a:pPr algn="ctr" defTabSz="912546">
              <a:lnSpc>
                <a:spcPct val="85000"/>
              </a:lnSpc>
              <a:buClr>
                <a:srgbClr val="F0AB00"/>
              </a:buClr>
              <a:buSzPct val="80000"/>
            </a:pPr>
            <a:r>
              <a:rPr lang="en-US" sz="900" b="1" dirty="0">
                <a:solidFill>
                  <a:srgbClr val="000000"/>
                </a:solidFill>
              </a:rPr>
              <a:t>Service Provider</a:t>
            </a:r>
          </a:p>
        </p:txBody>
      </p:sp>
      <p:grpSp>
        <p:nvGrpSpPr>
          <p:cNvPr id="265130" name="Group 579"/>
          <p:cNvGrpSpPr>
            <a:grpSpLocks/>
          </p:cNvGrpSpPr>
          <p:nvPr/>
        </p:nvGrpSpPr>
        <p:grpSpPr bwMode="gray">
          <a:xfrm>
            <a:off x="371475" y="3385740"/>
            <a:ext cx="990600" cy="460375"/>
            <a:chOff x="4704" y="2784"/>
            <a:chExt cx="861" cy="400"/>
          </a:xfrm>
        </p:grpSpPr>
        <p:sp>
          <p:nvSpPr>
            <p:cNvPr id="264772" name="Freeform 580"/>
            <p:cNvSpPr>
              <a:spLocks/>
            </p:cNvSpPr>
            <p:nvPr/>
          </p:nvSpPr>
          <p:spPr bwMode="gray">
            <a:xfrm>
              <a:off x="4952" y="3006"/>
              <a:ext cx="613" cy="178"/>
            </a:xfrm>
            <a:custGeom>
              <a:avLst/>
              <a:gdLst/>
              <a:ahLst/>
              <a:cxnLst>
                <a:cxn ang="0">
                  <a:pos x="6" y="254"/>
                </a:cxn>
                <a:cxn ang="0">
                  <a:pos x="68" y="214"/>
                </a:cxn>
                <a:cxn ang="0">
                  <a:pos x="876" y="54"/>
                </a:cxn>
                <a:cxn ang="0">
                  <a:pos x="884" y="0"/>
                </a:cxn>
                <a:cxn ang="0">
                  <a:pos x="1064" y="102"/>
                </a:cxn>
                <a:cxn ang="0">
                  <a:pos x="60" y="310"/>
                </a:cxn>
                <a:cxn ang="0">
                  <a:pos x="6" y="254"/>
                </a:cxn>
              </a:cxnLst>
              <a:rect l="0" t="0" r="r" b="b"/>
              <a:pathLst>
                <a:path w="1064" h="310">
                  <a:moveTo>
                    <a:pt x="6" y="254"/>
                  </a:moveTo>
                  <a:cubicBezTo>
                    <a:pt x="0" y="214"/>
                    <a:pt x="36" y="214"/>
                    <a:pt x="68" y="214"/>
                  </a:cubicBezTo>
                  <a:lnTo>
                    <a:pt x="876" y="54"/>
                  </a:lnTo>
                  <a:lnTo>
                    <a:pt x="884" y="0"/>
                  </a:lnTo>
                  <a:lnTo>
                    <a:pt x="1064" y="102"/>
                  </a:lnTo>
                  <a:lnTo>
                    <a:pt x="60" y="310"/>
                  </a:lnTo>
                  <a:lnTo>
                    <a:pt x="6" y="254"/>
                  </a:lnTo>
                  <a:close/>
                </a:path>
              </a:pathLst>
            </a:custGeom>
            <a:gradFill rotWithShape="1">
              <a:gsLst>
                <a:gs pos="0">
                  <a:schemeClr val="bg2">
                    <a:gamma/>
                    <a:shade val="76078"/>
                    <a:invGamma/>
                  </a:schemeClr>
                </a:gs>
                <a:gs pos="100000">
                  <a:schemeClr val="bg2"/>
                </a:gs>
              </a:gsLst>
              <a:lin ang="2700000" scaled="1"/>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1803" name="Freeform 581"/>
            <p:cNvSpPr>
              <a:spLocks/>
            </p:cNvSpPr>
            <p:nvPr/>
          </p:nvSpPr>
          <p:spPr bwMode="gray">
            <a:xfrm>
              <a:off x="4801" y="2971"/>
              <a:ext cx="201" cy="175"/>
            </a:xfrm>
            <a:custGeom>
              <a:avLst/>
              <a:gdLst>
                <a:gd name="T0" fmla="*/ 1 w 350"/>
                <a:gd name="T1" fmla="*/ 0 h 304"/>
                <a:gd name="T2" fmla="*/ 1 w 350"/>
                <a:gd name="T3" fmla="*/ 1 h 304"/>
                <a:gd name="T4" fmla="*/ 1 w 350"/>
                <a:gd name="T5" fmla="*/ 1 h 304"/>
                <a:gd name="T6" fmla="*/ 1 w 350"/>
                <a:gd name="T7" fmla="*/ 1 h 304"/>
                <a:gd name="T8" fmla="*/ 0 w 350"/>
                <a:gd name="T9" fmla="*/ 1 h 304"/>
                <a:gd name="T10" fmla="*/ 1 w 350"/>
                <a:gd name="T11" fmla="*/ 1 h 304"/>
                <a:gd name="T12" fmla="*/ 1 w 350"/>
                <a:gd name="T13" fmla="*/ 1 h 304"/>
                <a:gd name="T14" fmla="*/ 1 w 350"/>
                <a:gd name="T15" fmla="*/ 1 h 304"/>
                <a:gd name="T16" fmla="*/ 1 w 350"/>
                <a:gd name="T17" fmla="*/ 0 h 3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0"/>
                <a:gd name="T28" fmla="*/ 0 h 304"/>
                <a:gd name="T29" fmla="*/ 350 w 350"/>
                <a:gd name="T30" fmla="*/ 304 h 3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0" h="304">
                  <a:moveTo>
                    <a:pt x="198" y="0"/>
                  </a:moveTo>
                  <a:cubicBezTo>
                    <a:pt x="188" y="1"/>
                    <a:pt x="178" y="1"/>
                    <a:pt x="168" y="2"/>
                  </a:cubicBezTo>
                  <a:cubicBezTo>
                    <a:pt x="165" y="2"/>
                    <a:pt x="160" y="4"/>
                    <a:pt x="160" y="4"/>
                  </a:cubicBezTo>
                  <a:lnTo>
                    <a:pt x="68" y="28"/>
                  </a:lnTo>
                  <a:lnTo>
                    <a:pt x="0" y="42"/>
                  </a:lnTo>
                  <a:lnTo>
                    <a:pt x="276" y="304"/>
                  </a:lnTo>
                  <a:lnTo>
                    <a:pt x="350" y="284"/>
                  </a:lnTo>
                  <a:lnTo>
                    <a:pt x="322" y="262"/>
                  </a:lnTo>
                  <a:lnTo>
                    <a:pt x="198"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264774" name="Freeform 582"/>
            <p:cNvSpPr>
              <a:spLocks/>
            </p:cNvSpPr>
            <p:nvPr/>
          </p:nvSpPr>
          <p:spPr bwMode="gray">
            <a:xfrm>
              <a:off x="4704" y="2871"/>
              <a:ext cx="497" cy="257"/>
            </a:xfrm>
            <a:custGeom>
              <a:avLst/>
              <a:gdLst/>
              <a:ahLst/>
              <a:cxnLst>
                <a:cxn ang="0">
                  <a:pos x="722" y="220"/>
                </a:cxn>
                <a:cxn ang="0">
                  <a:pos x="680" y="247"/>
                </a:cxn>
                <a:cxn ang="0">
                  <a:pos x="482" y="444"/>
                </a:cxn>
                <a:cxn ang="0">
                  <a:pos x="0" y="222"/>
                </a:cxn>
                <a:cxn ang="0">
                  <a:pos x="174" y="114"/>
                </a:cxn>
                <a:cxn ang="0">
                  <a:pos x="864" y="0"/>
                </a:cxn>
                <a:cxn ang="0">
                  <a:pos x="722" y="220"/>
                </a:cxn>
              </a:cxnLst>
              <a:rect l="0" t="0" r="r" b="b"/>
              <a:pathLst>
                <a:path w="864" h="444">
                  <a:moveTo>
                    <a:pt x="722" y="220"/>
                  </a:moveTo>
                  <a:cubicBezTo>
                    <a:pt x="701" y="224"/>
                    <a:pt x="699" y="231"/>
                    <a:pt x="680" y="247"/>
                  </a:cubicBezTo>
                  <a:cubicBezTo>
                    <a:pt x="640" y="284"/>
                    <a:pt x="598" y="439"/>
                    <a:pt x="482" y="444"/>
                  </a:cubicBezTo>
                  <a:cubicBezTo>
                    <a:pt x="228" y="324"/>
                    <a:pt x="78" y="252"/>
                    <a:pt x="0" y="222"/>
                  </a:cubicBezTo>
                  <a:cubicBezTo>
                    <a:pt x="54" y="174"/>
                    <a:pt x="33" y="154"/>
                    <a:pt x="174" y="114"/>
                  </a:cubicBezTo>
                  <a:lnTo>
                    <a:pt x="864" y="0"/>
                  </a:lnTo>
                  <a:lnTo>
                    <a:pt x="722" y="220"/>
                  </a:lnTo>
                  <a:close/>
                </a:path>
              </a:pathLst>
            </a:custGeom>
            <a:gradFill rotWithShape="1">
              <a:gsLst>
                <a:gs pos="0">
                  <a:schemeClr val="folHlink">
                    <a:alpha val="0"/>
                  </a:schemeClr>
                </a:gs>
                <a:gs pos="100000">
                  <a:schemeClr val="folHlink">
                    <a:gamma/>
                    <a:tint val="73725"/>
                    <a:invGamma/>
                    <a:alpha val="35001"/>
                  </a:schemeClr>
                </a:gs>
              </a:gsLst>
              <a:lin ang="5400000" scaled="1"/>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grpSp>
          <p:nvGrpSpPr>
            <p:cNvPr id="265131" name="Group 583"/>
            <p:cNvGrpSpPr>
              <a:grpSpLocks/>
            </p:cNvGrpSpPr>
            <p:nvPr/>
          </p:nvGrpSpPr>
          <p:grpSpPr bwMode="gray">
            <a:xfrm>
              <a:off x="4811" y="2784"/>
              <a:ext cx="692" cy="347"/>
              <a:chOff x="762" y="1732"/>
              <a:chExt cx="1204" cy="604"/>
            </a:xfrm>
          </p:grpSpPr>
          <p:sp>
            <p:nvSpPr>
              <p:cNvPr id="441818" name="Freeform 584"/>
              <p:cNvSpPr>
                <a:spLocks/>
              </p:cNvSpPr>
              <p:nvPr/>
            </p:nvSpPr>
            <p:spPr bwMode="gray">
              <a:xfrm>
                <a:off x="796" y="1834"/>
                <a:ext cx="286" cy="502"/>
              </a:xfrm>
              <a:custGeom>
                <a:avLst/>
                <a:gdLst>
                  <a:gd name="T0" fmla="*/ 12 w 286"/>
                  <a:gd name="T1" fmla="*/ 254 h 502"/>
                  <a:gd name="T2" fmla="*/ 286 w 286"/>
                  <a:gd name="T3" fmla="*/ 502 h 502"/>
                  <a:gd name="T4" fmla="*/ 272 w 286"/>
                  <a:gd name="T5" fmla="*/ 176 h 502"/>
                  <a:gd name="T6" fmla="*/ 0 w 286"/>
                  <a:gd name="T7" fmla="*/ 0 h 502"/>
                  <a:gd name="T8" fmla="*/ 12 w 286"/>
                  <a:gd name="T9" fmla="*/ 254 h 502"/>
                  <a:gd name="T10" fmla="*/ 0 60000 65536"/>
                  <a:gd name="T11" fmla="*/ 0 60000 65536"/>
                  <a:gd name="T12" fmla="*/ 0 60000 65536"/>
                  <a:gd name="T13" fmla="*/ 0 60000 65536"/>
                  <a:gd name="T14" fmla="*/ 0 60000 65536"/>
                  <a:gd name="T15" fmla="*/ 0 w 286"/>
                  <a:gd name="T16" fmla="*/ 0 h 502"/>
                  <a:gd name="T17" fmla="*/ 286 w 286"/>
                  <a:gd name="T18" fmla="*/ 502 h 502"/>
                </a:gdLst>
                <a:ahLst/>
                <a:cxnLst>
                  <a:cxn ang="T10">
                    <a:pos x="T0" y="T1"/>
                  </a:cxn>
                  <a:cxn ang="T11">
                    <a:pos x="T2" y="T3"/>
                  </a:cxn>
                  <a:cxn ang="T12">
                    <a:pos x="T4" y="T5"/>
                  </a:cxn>
                  <a:cxn ang="T13">
                    <a:pos x="T6" y="T7"/>
                  </a:cxn>
                  <a:cxn ang="T14">
                    <a:pos x="T8" y="T9"/>
                  </a:cxn>
                </a:cxnLst>
                <a:rect l="T15" t="T16" r="T17" b="T18"/>
                <a:pathLst>
                  <a:path w="286" h="502">
                    <a:moveTo>
                      <a:pt x="12" y="254"/>
                    </a:moveTo>
                    <a:lnTo>
                      <a:pt x="286" y="502"/>
                    </a:lnTo>
                    <a:lnTo>
                      <a:pt x="272" y="176"/>
                    </a:lnTo>
                    <a:lnTo>
                      <a:pt x="0" y="0"/>
                    </a:lnTo>
                    <a:lnTo>
                      <a:pt x="12" y="254"/>
                    </a:lnTo>
                    <a:close/>
                  </a:path>
                </a:pathLst>
              </a:custGeom>
              <a:solidFill>
                <a:srgbClr val="6B8AB3"/>
              </a:solidFill>
              <a:ln w="9525">
                <a:noFill/>
                <a:round/>
                <a:headEnd/>
                <a:tailEnd/>
              </a:ln>
            </p:spPr>
            <p:txBody>
              <a:bodyPr wrap="none" anchor="ctr"/>
              <a:lstStyle/>
              <a:p>
                <a:pPr defTabSz="912546"/>
                <a:endParaRPr>
                  <a:solidFill>
                    <a:srgbClr val="000000"/>
                  </a:solidFill>
                </a:endParaRPr>
              </a:p>
            </p:txBody>
          </p:sp>
          <p:sp>
            <p:nvSpPr>
              <p:cNvPr id="441819" name="Freeform 585"/>
              <p:cNvSpPr>
                <a:spLocks/>
              </p:cNvSpPr>
              <p:nvPr/>
            </p:nvSpPr>
            <p:spPr bwMode="gray">
              <a:xfrm>
                <a:off x="1068" y="1890"/>
                <a:ext cx="846" cy="446"/>
              </a:xfrm>
              <a:custGeom>
                <a:avLst/>
                <a:gdLst>
                  <a:gd name="T0" fmla="*/ 846 w 846"/>
                  <a:gd name="T1" fmla="*/ 0 h 446"/>
                  <a:gd name="T2" fmla="*/ 826 w 846"/>
                  <a:gd name="T3" fmla="*/ 284 h 446"/>
                  <a:gd name="T4" fmla="*/ 12 w 846"/>
                  <a:gd name="T5" fmla="*/ 446 h 446"/>
                  <a:gd name="T6" fmla="*/ 0 w 846"/>
                  <a:gd name="T7" fmla="*/ 120 h 446"/>
                  <a:gd name="T8" fmla="*/ 846 w 846"/>
                  <a:gd name="T9" fmla="*/ 0 h 446"/>
                  <a:gd name="T10" fmla="*/ 0 60000 65536"/>
                  <a:gd name="T11" fmla="*/ 0 60000 65536"/>
                  <a:gd name="T12" fmla="*/ 0 60000 65536"/>
                  <a:gd name="T13" fmla="*/ 0 60000 65536"/>
                  <a:gd name="T14" fmla="*/ 0 60000 65536"/>
                  <a:gd name="T15" fmla="*/ 0 w 846"/>
                  <a:gd name="T16" fmla="*/ 0 h 446"/>
                  <a:gd name="T17" fmla="*/ 846 w 846"/>
                  <a:gd name="T18" fmla="*/ 446 h 446"/>
                </a:gdLst>
                <a:ahLst/>
                <a:cxnLst>
                  <a:cxn ang="T10">
                    <a:pos x="T0" y="T1"/>
                  </a:cxn>
                  <a:cxn ang="T11">
                    <a:pos x="T2" y="T3"/>
                  </a:cxn>
                  <a:cxn ang="T12">
                    <a:pos x="T4" y="T5"/>
                  </a:cxn>
                  <a:cxn ang="T13">
                    <a:pos x="T6" y="T7"/>
                  </a:cxn>
                  <a:cxn ang="T14">
                    <a:pos x="T8" y="T9"/>
                  </a:cxn>
                </a:cxnLst>
                <a:rect l="T15" t="T16" r="T17" b="T18"/>
                <a:pathLst>
                  <a:path w="846" h="446">
                    <a:moveTo>
                      <a:pt x="846" y="0"/>
                    </a:moveTo>
                    <a:lnTo>
                      <a:pt x="826" y="284"/>
                    </a:lnTo>
                    <a:lnTo>
                      <a:pt x="12" y="446"/>
                    </a:lnTo>
                    <a:lnTo>
                      <a:pt x="0" y="120"/>
                    </a:lnTo>
                    <a:lnTo>
                      <a:pt x="846" y="0"/>
                    </a:lnTo>
                    <a:close/>
                  </a:path>
                </a:pathLst>
              </a:custGeom>
              <a:solidFill>
                <a:srgbClr val="9FB3CD"/>
              </a:solidFill>
              <a:ln w="9525">
                <a:noFill/>
                <a:round/>
                <a:headEnd/>
                <a:tailEnd/>
              </a:ln>
            </p:spPr>
            <p:txBody>
              <a:bodyPr wrap="none" anchor="ctr"/>
              <a:lstStyle/>
              <a:p>
                <a:pPr defTabSz="912546"/>
                <a:endParaRPr>
                  <a:solidFill>
                    <a:srgbClr val="000000"/>
                  </a:solidFill>
                </a:endParaRPr>
              </a:p>
            </p:txBody>
          </p:sp>
          <p:sp>
            <p:nvSpPr>
              <p:cNvPr id="441820" name="Freeform 586"/>
              <p:cNvSpPr>
                <a:spLocks/>
              </p:cNvSpPr>
              <p:nvPr/>
            </p:nvSpPr>
            <p:spPr bwMode="gray">
              <a:xfrm>
                <a:off x="1146" y="1922"/>
                <a:ext cx="710" cy="222"/>
              </a:xfrm>
              <a:custGeom>
                <a:avLst/>
                <a:gdLst>
                  <a:gd name="T0" fmla="*/ 2 w 710"/>
                  <a:gd name="T1" fmla="*/ 222 h 222"/>
                  <a:gd name="T2" fmla="*/ 702 w 710"/>
                  <a:gd name="T3" fmla="*/ 102 h 222"/>
                  <a:gd name="T4" fmla="*/ 710 w 710"/>
                  <a:gd name="T5" fmla="*/ 0 h 222"/>
                  <a:gd name="T6" fmla="*/ 0 w 710"/>
                  <a:gd name="T7" fmla="*/ 106 h 222"/>
                  <a:gd name="T8" fmla="*/ 2 w 710"/>
                  <a:gd name="T9" fmla="*/ 222 h 222"/>
                  <a:gd name="T10" fmla="*/ 0 60000 65536"/>
                  <a:gd name="T11" fmla="*/ 0 60000 65536"/>
                  <a:gd name="T12" fmla="*/ 0 60000 65536"/>
                  <a:gd name="T13" fmla="*/ 0 60000 65536"/>
                  <a:gd name="T14" fmla="*/ 0 60000 65536"/>
                  <a:gd name="T15" fmla="*/ 0 w 710"/>
                  <a:gd name="T16" fmla="*/ 0 h 222"/>
                  <a:gd name="T17" fmla="*/ 710 w 710"/>
                  <a:gd name="T18" fmla="*/ 222 h 222"/>
                </a:gdLst>
                <a:ahLst/>
                <a:cxnLst>
                  <a:cxn ang="T10">
                    <a:pos x="T0" y="T1"/>
                  </a:cxn>
                  <a:cxn ang="T11">
                    <a:pos x="T2" y="T3"/>
                  </a:cxn>
                  <a:cxn ang="T12">
                    <a:pos x="T4" y="T5"/>
                  </a:cxn>
                  <a:cxn ang="T13">
                    <a:pos x="T6" y="T7"/>
                  </a:cxn>
                  <a:cxn ang="T14">
                    <a:pos x="T8" y="T9"/>
                  </a:cxn>
                </a:cxnLst>
                <a:rect l="T15" t="T16" r="T17" b="T18"/>
                <a:pathLst>
                  <a:path w="710" h="222">
                    <a:moveTo>
                      <a:pt x="2" y="222"/>
                    </a:moveTo>
                    <a:lnTo>
                      <a:pt x="702" y="102"/>
                    </a:lnTo>
                    <a:lnTo>
                      <a:pt x="710" y="0"/>
                    </a:lnTo>
                    <a:lnTo>
                      <a:pt x="0" y="106"/>
                    </a:lnTo>
                    <a:lnTo>
                      <a:pt x="2" y="222"/>
                    </a:lnTo>
                    <a:close/>
                  </a:path>
                </a:pathLst>
              </a:custGeom>
              <a:gradFill rotWithShape="1">
                <a:gsLst>
                  <a:gs pos="0">
                    <a:srgbClr val="526D7A"/>
                  </a:gs>
                  <a:gs pos="100000">
                    <a:srgbClr val="7E929C"/>
                  </a:gs>
                </a:gsLst>
                <a:lin ang="18900000" scaled="1"/>
              </a:gradFill>
              <a:ln w="9525">
                <a:noFill/>
                <a:round/>
                <a:headEnd/>
                <a:tailEnd/>
              </a:ln>
            </p:spPr>
            <p:txBody>
              <a:bodyPr wrap="none" anchor="ctr"/>
              <a:lstStyle/>
              <a:p>
                <a:pPr defTabSz="912546"/>
                <a:endParaRPr>
                  <a:solidFill>
                    <a:srgbClr val="000000"/>
                  </a:solidFill>
                </a:endParaRPr>
              </a:p>
            </p:txBody>
          </p:sp>
          <p:sp>
            <p:nvSpPr>
              <p:cNvPr id="441821" name="Freeform 587"/>
              <p:cNvSpPr>
                <a:spLocks/>
              </p:cNvSpPr>
              <p:nvPr/>
            </p:nvSpPr>
            <p:spPr bwMode="gray">
              <a:xfrm>
                <a:off x="1210" y="1930"/>
                <a:ext cx="590" cy="232"/>
              </a:xfrm>
              <a:custGeom>
                <a:avLst/>
                <a:gdLst>
                  <a:gd name="T0" fmla="*/ 0 w 590"/>
                  <a:gd name="T1" fmla="*/ 96 h 232"/>
                  <a:gd name="T2" fmla="*/ 2 w 590"/>
                  <a:gd name="T3" fmla="*/ 222 h 232"/>
                  <a:gd name="T4" fmla="*/ 12 w 590"/>
                  <a:gd name="T5" fmla="*/ 232 h 232"/>
                  <a:gd name="T6" fmla="*/ 10 w 590"/>
                  <a:gd name="T7" fmla="*/ 90 h 232"/>
                  <a:gd name="T8" fmla="*/ 74 w 590"/>
                  <a:gd name="T9" fmla="*/ 84 h 232"/>
                  <a:gd name="T10" fmla="*/ 72 w 590"/>
                  <a:gd name="T11" fmla="*/ 208 h 232"/>
                  <a:gd name="T12" fmla="*/ 82 w 590"/>
                  <a:gd name="T13" fmla="*/ 218 h 232"/>
                  <a:gd name="T14" fmla="*/ 84 w 590"/>
                  <a:gd name="T15" fmla="*/ 78 h 232"/>
                  <a:gd name="T16" fmla="*/ 152 w 590"/>
                  <a:gd name="T17" fmla="*/ 70 h 232"/>
                  <a:gd name="T18" fmla="*/ 148 w 590"/>
                  <a:gd name="T19" fmla="*/ 198 h 232"/>
                  <a:gd name="T20" fmla="*/ 158 w 590"/>
                  <a:gd name="T21" fmla="*/ 206 h 232"/>
                  <a:gd name="T22" fmla="*/ 162 w 590"/>
                  <a:gd name="T23" fmla="*/ 68 h 232"/>
                  <a:gd name="T24" fmla="*/ 224 w 590"/>
                  <a:gd name="T25" fmla="*/ 56 h 232"/>
                  <a:gd name="T26" fmla="*/ 222 w 590"/>
                  <a:gd name="T27" fmla="*/ 184 h 232"/>
                  <a:gd name="T28" fmla="*/ 230 w 590"/>
                  <a:gd name="T29" fmla="*/ 190 h 232"/>
                  <a:gd name="T30" fmla="*/ 236 w 590"/>
                  <a:gd name="T31" fmla="*/ 54 h 232"/>
                  <a:gd name="T32" fmla="*/ 300 w 590"/>
                  <a:gd name="T33" fmla="*/ 44 h 232"/>
                  <a:gd name="T34" fmla="*/ 296 w 590"/>
                  <a:gd name="T35" fmla="*/ 170 h 232"/>
                  <a:gd name="T36" fmla="*/ 310 w 590"/>
                  <a:gd name="T37" fmla="*/ 180 h 232"/>
                  <a:gd name="T38" fmla="*/ 304 w 590"/>
                  <a:gd name="T39" fmla="*/ 168 h 232"/>
                  <a:gd name="T40" fmla="*/ 310 w 590"/>
                  <a:gd name="T41" fmla="*/ 44 h 232"/>
                  <a:gd name="T42" fmla="*/ 370 w 590"/>
                  <a:gd name="T43" fmla="*/ 34 h 232"/>
                  <a:gd name="T44" fmla="*/ 366 w 590"/>
                  <a:gd name="T45" fmla="*/ 154 h 232"/>
                  <a:gd name="T46" fmla="*/ 376 w 590"/>
                  <a:gd name="T47" fmla="*/ 160 h 232"/>
                  <a:gd name="T48" fmla="*/ 382 w 590"/>
                  <a:gd name="T49" fmla="*/ 34 h 232"/>
                  <a:gd name="T50" fmla="*/ 448 w 590"/>
                  <a:gd name="T51" fmla="*/ 22 h 232"/>
                  <a:gd name="T52" fmla="*/ 440 w 590"/>
                  <a:gd name="T53" fmla="*/ 154 h 232"/>
                  <a:gd name="T54" fmla="*/ 450 w 590"/>
                  <a:gd name="T55" fmla="*/ 162 h 232"/>
                  <a:gd name="T56" fmla="*/ 458 w 590"/>
                  <a:gd name="T57" fmla="*/ 22 h 232"/>
                  <a:gd name="T58" fmla="*/ 514 w 590"/>
                  <a:gd name="T59" fmla="*/ 16 h 232"/>
                  <a:gd name="T60" fmla="*/ 508 w 590"/>
                  <a:gd name="T61" fmla="*/ 138 h 232"/>
                  <a:gd name="T62" fmla="*/ 518 w 590"/>
                  <a:gd name="T63" fmla="*/ 152 h 232"/>
                  <a:gd name="T64" fmla="*/ 526 w 590"/>
                  <a:gd name="T65" fmla="*/ 10 h 232"/>
                  <a:gd name="T66" fmla="*/ 580 w 590"/>
                  <a:gd name="T67" fmla="*/ 4 h 232"/>
                  <a:gd name="T68" fmla="*/ 572 w 590"/>
                  <a:gd name="T69" fmla="*/ 140 h 232"/>
                  <a:gd name="T70" fmla="*/ 582 w 590"/>
                  <a:gd name="T71" fmla="*/ 142 h 232"/>
                  <a:gd name="T72" fmla="*/ 590 w 590"/>
                  <a:gd name="T73" fmla="*/ 0 h 232"/>
                  <a:gd name="T74" fmla="*/ 6 w 590"/>
                  <a:gd name="T75" fmla="*/ 94 h 232"/>
                  <a:gd name="T76" fmla="*/ 0 w 590"/>
                  <a:gd name="T77" fmla="*/ 96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0"/>
                  <a:gd name="T118" fmla="*/ 0 h 232"/>
                  <a:gd name="T119" fmla="*/ 590 w 590"/>
                  <a:gd name="T120" fmla="*/ 232 h 2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0" h="232">
                    <a:moveTo>
                      <a:pt x="0" y="96"/>
                    </a:moveTo>
                    <a:lnTo>
                      <a:pt x="2" y="222"/>
                    </a:lnTo>
                    <a:lnTo>
                      <a:pt x="12" y="232"/>
                    </a:lnTo>
                    <a:lnTo>
                      <a:pt x="10" y="90"/>
                    </a:lnTo>
                    <a:lnTo>
                      <a:pt x="74" y="84"/>
                    </a:lnTo>
                    <a:lnTo>
                      <a:pt x="72" y="208"/>
                    </a:lnTo>
                    <a:lnTo>
                      <a:pt x="82" y="218"/>
                    </a:lnTo>
                    <a:lnTo>
                      <a:pt x="84" y="78"/>
                    </a:lnTo>
                    <a:lnTo>
                      <a:pt x="152" y="70"/>
                    </a:lnTo>
                    <a:lnTo>
                      <a:pt x="148" y="198"/>
                    </a:lnTo>
                    <a:lnTo>
                      <a:pt x="158" y="206"/>
                    </a:lnTo>
                    <a:lnTo>
                      <a:pt x="162" y="68"/>
                    </a:lnTo>
                    <a:lnTo>
                      <a:pt x="224" y="56"/>
                    </a:lnTo>
                    <a:lnTo>
                      <a:pt x="222" y="184"/>
                    </a:lnTo>
                    <a:lnTo>
                      <a:pt x="230" y="190"/>
                    </a:lnTo>
                    <a:lnTo>
                      <a:pt x="236" y="54"/>
                    </a:lnTo>
                    <a:lnTo>
                      <a:pt x="300" y="44"/>
                    </a:lnTo>
                    <a:lnTo>
                      <a:pt x="296" y="170"/>
                    </a:lnTo>
                    <a:lnTo>
                      <a:pt x="310" y="180"/>
                    </a:lnTo>
                    <a:lnTo>
                      <a:pt x="304" y="168"/>
                    </a:lnTo>
                    <a:lnTo>
                      <a:pt x="310" y="44"/>
                    </a:lnTo>
                    <a:lnTo>
                      <a:pt x="370" y="34"/>
                    </a:lnTo>
                    <a:lnTo>
                      <a:pt x="366" y="154"/>
                    </a:lnTo>
                    <a:lnTo>
                      <a:pt x="376" y="160"/>
                    </a:lnTo>
                    <a:lnTo>
                      <a:pt x="382" y="34"/>
                    </a:lnTo>
                    <a:lnTo>
                      <a:pt x="448" y="22"/>
                    </a:lnTo>
                    <a:lnTo>
                      <a:pt x="440" y="154"/>
                    </a:lnTo>
                    <a:lnTo>
                      <a:pt x="450" y="162"/>
                    </a:lnTo>
                    <a:lnTo>
                      <a:pt x="458" y="22"/>
                    </a:lnTo>
                    <a:lnTo>
                      <a:pt x="514" y="16"/>
                    </a:lnTo>
                    <a:lnTo>
                      <a:pt x="508" y="138"/>
                    </a:lnTo>
                    <a:lnTo>
                      <a:pt x="518" y="152"/>
                    </a:lnTo>
                    <a:lnTo>
                      <a:pt x="526" y="10"/>
                    </a:lnTo>
                    <a:lnTo>
                      <a:pt x="580" y="4"/>
                    </a:lnTo>
                    <a:lnTo>
                      <a:pt x="572" y="140"/>
                    </a:lnTo>
                    <a:lnTo>
                      <a:pt x="582" y="142"/>
                    </a:lnTo>
                    <a:lnTo>
                      <a:pt x="590" y="0"/>
                    </a:lnTo>
                    <a:lnTo>
                      <a:pt x="6" y="94"/>
                    </a:lnTo>
                    <a:lnTo>
                      <a:pt x="0" y="96"/>
                    </a:lnTo>
                    <a:close/>
                  </a:path>
                </a:pathLst>
              </a:custGeom>
              <a:solidFill>
                <a:srgbClr val="9FB3CD"/>
              </a:solidFill>
              <a:ln w="9525">
                <a:noFill/>
                <a:round/>
                <a:headEnd/>
                <a:tailEnd/>
              </a:ln>
            </p:spPr>
            <p:txBody>
              <a:bodyPr wrap="none" anchor="ctr"/>
              <a:lstStyle/>
              <a:p>
                <a:pPr defTabSz="912546"/>
                <a:endParaRPr>
                  <a:solidFill>
                    <a:srgbClr val="000000"/>
                  </a:solidFill>
                </a:endParaRPr>
              </a:p>
            </p:txBody>
          </p:sp>
          <p:sp>
            <p:nvSpPr>
              <p:cNvPr id="441822" name="Freeform 588"/>
              <p:cNvSpPr>
                <a:spLocks/>
              </p:cNvSpPr>
              <p:nvPr/>
            </p:nvSpPr>
            <p:spPr bwMode="gray">
              <a:xfrm>
                <a:off x="762" y="1732"/>
                <a:ext cx="1204" cy="322"/>
              </a:xfrm>
              <a:custGeom>
                <a:avLst/>
                <a:gdLst>
                  <a:gd name="T0" fmla="*/ 0 w 1204"/>
                  <a:gd name="T1" fmla="*/ 98 h 322"/>
                  <a:gd name="T2" fmla="*/ 2 w 1204"/>
                  <a:gd name="T3" fmla="*/ 116 h 322"/>
                  <a:gd name="T4" fmla="*/ 302 w 1204"/>
                  <a:gd name="T5" fmla="*/ 322 h 322"/>
                  <a:gd name="T6" fmla="*/ 1204 w 1204"/>
                  <a:gd name="T7" fmla="*/ 182 h 322"/>
                  <a:gd name="T8" fmla="*/ 1204 w 1204"/>
                  <a:gd name="T9" fmla="*/ 164 h 322"/>
                  <a:gd name="T10" fmla="*/ 852 w 1204"/>
                  <a:gd name="T11" fmla="*/ 0 h 322"/>
                  <a:gd name="T12" fmla="*/ 0 w 1204"/>
                  <a:gd name="T13" fmla="*/ 98 h 322"/>
                  <a:gd name="T14" fmla="*/ 0 60000 65536"/>
                  <a:gd name="T15" fmla="*/ 0 60000 65536"/>
                  <a:gd name="T16" fmla="*/ 0 60000 65536"/>
                  <a:gd name="T17" fmla="*/ 0 60000 65536"/>
                  <a:gd name="T18" fmla="*/ 0 60000 65536"/>
                  <a:gd name="T19" fmla="*/ 0 60000 65536"/>
                  <a:gd name="T20" fmla="*/ 0 60000 65536"/>
                  <a:gd name="T21" fmla="*/ 0 w 1204"/>
                  <a:gd name="T22" fmla="*/ 0 h 322"/>
                  <a:gd name="T23" fmla="*/ 1204 w 1204"/>
                  <a:gd name="T24" fmla="*/ 322 h 3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4" h="322">
                    <a:moveTo>
                      <a:pt x="0" y="98"/>
                    </a:moveTo>
                    <a:lnTo>
                      <a:pt x="2" y="116"/>
                    </a:lnTo>
                    <a:lnTo>
                      <a:pt x="302" y="322"/>
                    </a:lnTo>
                    <a:lnTo>
                      <a:pt x="1204" y="182"/>
                    </a:lnTo>
                    <a:lnTo>
                      <a:pt x="1204" y="164"/>
                    </a:lnTo>
                    <a:lnTo>
                      <a:pt x="852" y="0"/>
                    </a:lnTo>
                    <a:lnTo>
                      <a:pt x="0" y="98"/>
                    </a:lnTo>
                    <a:close/>
                  </a:path>
                </a:pathLst>
              </a:custGeom>
              <a:gradFill rotWithShape="1">
                <a:gsLst>
                  <a:gs pos="0">
                    <a:srgbClr val="A37852"/>
                  </a:gs>
                  <a:gs pos="100000">
                    <a:srgbClr val="D69E6C"/>
                  </a:gs>
                </a:gsLst>
                <a:lin ang="2700000" scaled="1"/>
              </a:gradFill>
              <a:ln w="9525">
                <a:noFill/>
                <a:round/>
                <a:headEnd/>
                <a:tailEnd/>
              </a:ln>
            </p:spPr>
            <p:txBody>
              <a:bodyPr wrap="none" anchor="ctr"/>
              <a:lstStyle/>
              <a:p>
                <a:pPr defTabSz="912546"/>
                <a:endParaRPr>
                  <a:solidFill>
                    <a:srgbClr val="000000"/>
                  </a:solidFill>
                </a:endParaRPr>
              </a:p>
            </p:txBody>
          </p:sp>
          <p:sp>
            <p:nvSpPr>
              <p:cNvPr id="441823" name="Freeform 589"/>
              <p:cNvSpPr>
                <a:spLocks/>
              </p:cNvSpPr>
              <p:nvPr/>
            </p:nvSpPr>
            <p:spPr bwMode="gray">
              <a:xfrm>
                <a:off x="762" y="1732"/>
                <a:ext cx="1204" cy="304"/>
              </a:xfrm>
              <a:custGeom>
                <a:avLst/>
                <a:gdLst>
                  <a:gd name="T0" fmla="*/ 0 w 1204"/>
                  <a:gd name="T1" fmla="*/ 98 h 304"/>
                  <a:gd name="T2" fmla="*/ 302 w 1204"/>
                  <a:gd name="T3" fmla="*/ 304 h 304"/>
                  <a:gd name="T4" fmla="*/ 1204 w 1204"/>
                  <a:gd name="T5" fmla="*/ 164 h 304"/>
                  <a:gd name="T6" fmla="*/ 852 w 1204"/>
                  <a:gd name="T7" fmla="*/ 0 h 304"/>
                  <a:gd name="T8" fmla="*/ 0 w 1204"/>
                  <a:gd name="T9" fmla="*/ 98 h 304"/>
                  <a:gd name="T10" fmla="*/ 0 60000 65536"/>
                  <a:gd name="T11" fmla="*/ 0 60000 65536"/>
                  <a:gd name="T12" fmla="*/ 0 60000 65536"/>
                  <a:gd name="T13" fmla="*/ 0 60000 65536"/>
                  <a:gd name="T14" fmla="*/ 0 60000 65536"/>
                  <a:gd name="T15" fmla="*/ 0 w 1204"/>
                  <a:gd name="T16" fmla="*/ 0 h 304"/>
                  <a:gd name="T17" fmla="*/ 1204 w 1204"/>
                  <a:gd name="T18" fmla="*/ 304 h 304"/>
                </a:gdLst>
                <a:ahLst/>
                <a:cxnLst>
                  <a:cxn ang="T10">
                    <a:pos x="T0" y="T1"/>
                  </a:cxn>
                  <a:cxn ang="T11">
                    <a:pos x="T2" y="T3"/>
                  </a:cxn>
                  <a:cxn ang="T12">
                    <a:pos x="T4" y="T5"/>
                  </a:cxn>
                  <a:cxn ang="T13">
                    <a:pos x="T6" y="T7"/>
                  </a:cxn>
                  <a:cxn ang="T14">
                    <a:pos x="T8" y="T9"/>
                  </a:cxn>
                </a:cxnLst>
                <a:rect l="T15" t="T16" r="T17" b="T18"/>
                <a:pathLst>
                  <a:path w="1204" h="304">
                    <a:moveTo>
                      <a:pt x="0" y="98"/>
                    </a:moveTo>
                    <a:lnTo>
                      <a:pt x="302" y="304"/>
                    </a:lnTo>
                    <a:lnTo>
                      <a:pt x="1204" y="164"/>
                    </a:lnTo>
                    <a:lnTo>
                      <a:pt x="852" y="0"/>
                    </a:lnTo>
                    <a:lnTo>
                      <a:pt x="0" y="98"/>
                    </a:lnTo>
                    <a:close/>
                  </a:path>
                </a:pathLst>
              </a:custGeom>
              <a:gradFill rotWithShape="1">
                <a:gsLst>
                  <a:gs pos="0">
                    <a:srgbClr val="D69E6C"/>
                  </a:gs>
                  <a:gs pos="100000">
                    <a:srgbClr val="E1B793"/>
                  </a:gs>
                </a:gsLst>
                <a:lin ang="2700000" scaled="1"/>
              </a:gradFill>
              <a:ln w="9525">
                <a:noFill/>
                <a:round/>
                <a:headEnd/>
                <a:tailEnd/>
              </a:ln>
            </p:spPr>
            <p:txBody>
              <a:bodyPr wrap="none" anchor="ctr"/>
              <a:lstStyle/>
              <a:p>
                <a:pPr defTabSz="912546"/>
                <a:endParaRPr>
                  <a:solidFill>
                    <a:srgbClr val="000000"/>
                  </a:solidFill>
                </a:endParaRPr>
              </a:p>
            </p:txBody>
          </p:sp>
          <p:sp>
            <p:nvSpPr>
              <p:cNvPr id="441824" name="Freeform 590"/>
              <p:cNvSpPr>
                <a:spLocks/>
              </p:cNvSpPr>
              <p:nvPr/>
            </p:nvSpPr>
            <p:spPr bwMode="gray">
              <a:xfrm>
                <a:off x="998" y="1826"/>
                <a:ext cx="230" cy="64"/>
              </a:xfrm>
              <a:custGeom>
                <a:avLst/>
                <a:gdLst>
                  <a:gd name="T0" fmla="*/ 2 w 230"/>
                  <a:gd name="T1" fmla="*/ 40 h 64"/>
                  <a:gd name="T2" fmla="*/ 38 w 230"/>
                  <a:gd name="T3" fmla="*/ 64 h 64"/>
                  <a:gd name="T4" fmla="*/ 230 w 230"/>
                  <a:gd name="T5" fmla="*/ 36 h 64"/>
                  <a:gd name="T6" fmla="*/ 230 w 230"/>
                  <a:gd name="T7" fmla="*/ 26 h 64"/>
                  <a:gd name="T8" fmla="*/ 182 w 230"/>
                  <a:gd name="T9" fmla="*/ 0 h 64"/>
                  <a:gd name="T10" fmla="*/ 0 w 230"/>
                  <a:gd name="T11" fmla="*/ 24 h 64"/>
                  <a:gd name="T12" fmla="*/ 2 w 230"/>
                  <a:gd name="T13" fmla="*/ 40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25" name="Freeform 591"/>
              <p:cNvSpPr>
                <a:spLocks/>
              </p:cNvSpPr>
              <p:nvPr/>
            </p:nvSpPr>
            <p:spPr bwMode="gray">
              <a:xfrm>
                <a:off x="994" y="1824"/>
                <a:ext cx="230" cy="52"/>
              </a:xfrm>
              <a:custGeom>
                <a:avLst/>
                <a:gdLst>
                  <a:gd name="T0" fmla="*/ 42 w 230"/>
                  <a:gd name="T1" fmla="*/ 52 h 52"/>
                  <a:gd name="T2" fmla="*/ 230 w 230"/>
                  <a:gd name="T3" fmla="*/ 26 h 52"/>
                  <a:gd name="T4" fmla="*/ 182 w 230"/>
                  <a:gd name="T5" fmla="*/ 0 h 52"/>
                  <a:gd name="T6" fmla="*/ 0 w 230"/>
                  <a:gd name="T7" fmla="*/ 26 h 52"/>
                  <a:gd name="T8" fmla="*/ 42 w 230"/>
                  <a:gd name="T9" fmla="*/ 52 h 52"/>
                  <a:gd name="T10" fmla="*/ 0 60000 65536"/>
                  <a:gd name="T11" fmla="*/ 0 60000 65536"/>
                  <a:gd name="T12" fmla="*/ 0 60000 65536"/>
                  <a:gd name="T13" fmla="*/ 0 60000 65536"/>
                  <a:gd name="T14" fmla="*/ 0 60000 65536"/>
                  <a:gd name="T15" fmla="*/ 0 w 230"/>
                  <a:gd name="T16" fmla="*/ 0 h 52"/>
                  <a:gd name="T17" fmla="*/ 230 w 230"/>
                  <a:gd name="T18" fmla="*/ 52 h 52"/>
                </a:gdLst>
                <a:ahLst/>
                <a:cxnLst>
                  <a:cxn ang="T10">
                    <a:pos x="T0" y="T1"/>
                  </a:cxn>
                  <a:cxn ang="T11">
                    <a:pos x="T2" y="T3"/>
                  </a:cxn>
                  <a:cxn ang="T12">
                    <a:pos x="T4" y="T5"/>
                  </a:cxn>
                  <a:cxn ang="T13">
                    <a:pos x="T6" y="T7"/>
                  </a:cxn>
                  <a:cxn ang="T14">
                    <a:pos x="T8" y="T9"/>
                  </a:cxn>
                </a:cxnLst>
                <a:rect l="T15" t="T16" r="T17" b="T18"/>
                <a:pathLst>
                  <a:path w="230" h="52">
                    <a:moveTo>
                      <a:pt x="42" y="52"/>
                    </a:moveTo>
                    <a:lnTo>
                      <a:pt x="230" y="26"/>
                    </a:lnTo>
                    <a:lnTo>
                      <a:pt x="182" y="0"/>
                    </a:lnTo>
                    <a:lnTo>
                      <a:pt x="0" y="26"/>
                    </a:lnTo>
                    <a:lnTo>
                      <a:pt x="42" y="52"/>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826" name="Freeform 592"/>
              <p:cNvSpPr>
                <a:spLocks/>
              </p:cNvSpPr>
              <p:nvPr/>
            </p:nvSpPr>
            <p:spPr bwMode="gray">
              <a:xfrm>
                <a:off x="1220" y="1800"/>
                <a:ext cx="210" cy="58"/>
              </a:xfrm>
              <a:custGeom>
                <a:avLst/>
                <a:gdLst>
                  <a:gd name="T0" fmla="*/ 2 w 230"/>
                  <a:gd name="T1" fmla="*/ 12 h 64"/>
                  <a:gd name="T2" fmla="*/ 12 w 230"/>
                  <a:gd name="T3" fmla="*/ 18 h 64"/>
                  <a:gd name="T4" fmla="*/ 69 w 230"/>
                  <a:gd name="T5" fmla="*/ 11 h 64"/>
                  <a:gd name="T6" fmla="*/ 69 w 230"/>
                  <a:gd name="T7" fmla="*/ 8 h 64"/>
                  <a:gd name="T8" fmla="*/ 57 w 230"/>
                  <a:gd name="T9" fmla="*/ 0 h 64"/>
                  <a:gd name="T10" fmla="*/ 0 w 230"/>
                  <a:gd name="T11" fmla="*/ 7 h 64"/>
                  <a:gd name="T12" fmla="*/ 2 w 230"/>
                  <a:gd name="T13" fmla="*/ 12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27" name="Freeform 593"/>
              <p:cNvSpPr>
                <a:spLocks/>
              </p:cNvSpPr>
              <p:nvPr/>
            </p:nvSpPr>
            <p:spPr bwMode="gray">
              <a:xfrm>
                <a:off x="1216" y="1796"/>
                <a:ext cx="210" cy="48"/>
              </a:xfrm>
              <a:custGeom>
                <a:avLst/>
                <a:gdLst>
                  <a:gd name="T0" fmla="*/ 38 w 210"/>
                  <a:gd name="T1" fmla="*/ 48 h 48"/>
                  <a:gd name="T2" fmla="*/ 210 w 210"/>
                  <a:gd name="T3" fmla="*/ 24 h 48"/>
                  <a:gd name="T4" fmla="*/ 168 w 210"/>
                  <a:gd name="T5" fmla="*/ 0 h 48"/>
                  <a:gd name="T6" fmla="*/ 0 w 210"/>
                  <a:gd name="T7" fmla="*/ 24 h 48"/>
                  <a:gd name="T8" fmla="*/ 38 w 210"/>
                  <a:gd name="T9" fmla="*/ 48 h 48"/>
                  <a:gd name="T10" fmla="*/ 0 60000 65536"/>
                  <a:gd name="T11" fmla="*/ 0 60000 65536"/>
                  <a:gd name="T12" fmla="*/ 0 60000 65536"/>
                  <a:gd name="T13" fmla="*/ 0 60000 65536"/>
                  <a:gd name="T14" fmla="*/ 0 60000 65536"/>
                  <a:gd name="T15" fmla="*/ 0 w 210"/>
                  <a:gd name="T16" fmla="*/ 0 h 48"/>
                  <a:gd name="T17" fmla="*/ 210 w 210"/>
                  <a:gd name="T18" fmla="*/ 48 h 48"/>
                </a:gdLst>
                <a:ahLst/>
                <a:cxnLst>
                  <a:cxn ang="T10">
                    <a:pos x="T0" y="T1"/>
                  </a:cxn>
                  <a:cxn ang="T11">
                    <a:pos x="T2" y="T3"/>
                  </a:cxn>
                  <a:cxn ang="T12">
                    <a:pos x="T4" y="T5"/>
                  </a:cxn>
                  <a:cxn ang="T13">
                    <a:pos x="T6" y="T7"/>
                  </a:cxn>
                  <a:cxn ang="T14">
                    <a:pos x="T8" y="T9"/>
                  </a:cxn>
                </a:cxnLst>
                <a:rect l="T15" t="T16" r="T17" b="T18"/>
                <a:pathLst>
                  <a:path w="210" h="48">
                    <a:moveTo>
                      <a:pt x="38" y="48"/>
                    </a:moveTo>
                    <a:lnTo>
                      <a:pt x="210" y="24"/>
                    </a:lnTo>
                    <a:lnTo>
                      <a:pt x="168" y="0"/>
                    </a:lnTo>
                    <a:lnTo>
                      <a:pt x="0" y="24"/>
                    </a:lnTo>
                    <a:lnTo>
                      <a:pt x="38" y="48"/>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828" name="Freeform 594"/>
              <p:cNvSpPr>
                <a:spLocks/>
              </p:cNvSpPr>
              <p:nvPr/>
            </p:nvSpPr>
            <p:spPr bwMode="gray">
              <a:xfrm>
                <a:off x="1422" y="1777"/>
                <a:ext cx="198" cy="55"/>
              </a:xfrm>
              <a:custGeom>
                <a:avLst/>
                <a:gdLst>
                  <a:gd name="T0" fmla="*/ 2 w 230"/>
                  <a:gd name="T1" fmla="*/ 5 h 64"/>
                  <a:gd name="T2" fmla="*/ 5 w 230"/>
                  <a:gd name="T3" fmla="*/ 8 h 64"/>
                  <a:gd name="T4" fmla="*/ 33 w 230"/>
                  <a:gd name="T5" fmla="*/ 5 h 64"/>
                  <a:gd name="T6" fmla="*/ 33 w 230"/>
                  <a:gd name="T7" fmla="*/ 3 h 64"/>
                  <a:gd name="T8" fmla="*/ 25 w 230"/>
                  <a:gd name="T9" fmla="*/ 0 h 64"/>
                  <a:gd name="T10" fmla="*/ 0 w 230"/>
                  <a:gd name="T11" fmla="*/ 3 h 64"/>
                  <a:gd name="T12" fmla="*/ 2 w 230"/>
                  <a:gd name="T13" fmla="*/ 5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29" name="Freeform 595"/>
              <p:cNvSpPr>
                <a:spLocks/>
              </p:cNvSpPr>
              <p:nvPr/>
            </p:nvSpPr>
            <p:spPr bwMode="gray">
              <a:xfrm>
                <a:off x="1418" y="1774"/>
                <a:ext cx="198" cy="44"/>
              </a:xfrm>
              <a:custGeom>
                <a:avLst/>
                <a:gdLst>
                  <a:gd name="T0" fmla="*/ 36 w 198"/>
                  <a:gd name="T1" fmla="*/ 44 h 44"/>
                  <a:gd name="T2" fmla="*/ 198 w 198"/>
                  <a:gd name="T3" fmla="*/ 22 h 44"/>
                  <a:gd name="T4" fmla="*/ 156 w 198"/>
                  <a:gd name="T5" fmla="*/ 0 h 44"/>
                  <a:gd name="T6" fmla="*/ 0 w 198"/>
                  <a:gd name="T7" fmla="*/ 22 h 44"/>
                  <a:gd name="T8" fmla="*/ 36 w 198"/>
                  <a:gd name="T9" fmla="*/ 44 h 44"/>
                  <a:gd name="T10" fmla="*/ 0 60000 65536"/>
                  <a:gd name="T11" fmla="*/ 0 60000 65536"/>
                  <a:gd name="T12" fmla="*/ 0 60000 65536"/>
                  <a:gd name="T13" fmla="*/ 0 60000 65536"/>
                  <a:gd name="T14" fmla="*/ 0 60000 65536"/>
                  <a:gd name="T15" fmla="*/ 0 w 198"/>
                  <a:gd name="T16" fmla="*/ 0 h 44"/>
                  <a:gd name="T17" fmla="*/ 198 w 198"/>
                  <a:gd name="T18" fmla="*/ 44 h 44"/>
                </a:gdLst>
                <a:ahLst/>
                <a:cxnLst>
                  <a:cxn ang="T10">
                    <a:pos x="T0" y="T1"/>
                  </a:cxn>
                  <a:cxn ang="T11">
                    <a:pos x="T2" y="T3"/>
                  </a:cxn>
                  <a:cxn ang="T12">
                    <a:pos x="T4" y="T5"/>
                  </a:cxn>
                  <a:cxn ang="T13">
                    <a:pos x="T6" y="T7"/>
                  </a:cxn>
                  <a:cxn ang="T14">
                    <a:pos x="T8" y="T9"/>
                  </a:cxn>
                </a:cxnLst>
                <a:rect l="T15" t="T16" r="T17" b="T18"/>
                <a:pathLst>
                  <a:path w="198" h="44">
                    <a:moveTo>
                      <a:pt x="36" y="44"/>
                    </a:moveTo>
                    <a:lnTo>
                      <a:pt x="198" y="22"/>
                    </a:lnTo>
                    <a:lnTo>
                      <a:pt x="156" y="0"/>
                    </a:lnTo>
                    <a:lnTo>
                      <a:pt x="0" y="22"/>
                    </a:lnTo>
                    <a:lnTo>
                      <a:pt x="36" y="44"/>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830" name="Freeform 596"/>
              <p:cNvSpPr>
                <a:spLocks/>
              </p:cNvSpPr>
              <p:nvPr/>
            </p:nvSpPr>
            <p:spPr bwMode="gray">
              <a:xfrm>
                <a:off x="1122" y="1968"/>
                <a:ext cx="752" cy="124"/>
              </a:xfrm>
              <a:custGeom>
                <a:avLst/>
                <a:gdLst>
                  <a:gd name="T0" fmla="*/ 0 w 752"/>
                  <a:gd name="T1" fmla="*/ 116 h 124"/>
                  <a:gd name="T2" fmla="*/ 736 w 752"/>
                  <a:gd name="T3" fmla="*/ 0 h 124"/>
                  <a:gd name="T4" fmla="*/ 752 w 752"/>
                  <a:gd name="T5" fmla="*/ 6 h 124"/>
                  <a:gd name="T6" fmla="*/ 0 w 752"/>
                  <a:gd name="T7" fmla="*/ 124 h 124"/>
                  <a:gd name="T8" fmla="*/ 0 w 752"/>
                  <a:gd name="T9" fmla="*/ 116 h 124"/>
                  <a:gd name="T10" fmla="*/ 0 60000 65536"/>
                  <a:gd name="T11" fmla="*/ 0 60000 65536"/>
                  <a:gd name="T12" fmla="*/ 0 60000 65536"/>
                  <a:gd name="T13" fmla="*/ 0 60000 65536"/>
                  <a:gd name="T14" fmla="*/ 0 60000 65536"/>
                  <a:gd name="T15" fmla="*/ 0 w 752"/>
                  <a:gd name="T16" fmla="*/ 0 h 124"/>
                  <a:gd name="T17" fmla="*/ 752 w 752"/>
                  <a:gd name="T18" fmla="*/ 124 h 124"/>
                </a:gdLst>
                <a:ahLst/>
                <a:cxnLst>
                  <a:cxn ang="T10">
                    <a:pos x="T0" y="T1"/>
                  </a:cxn>
                  <a:cxn ang="T11">
                    <a:pos x="T2" y="T3"/>
                  </a:cxn>
                  <a:cxn ang="T12">
                    <a:pos x="T4" y="T5"/>
                  </a:cxn>
                  <a:cxn ang="T13">
                    <a:pos x="T6" y="T7"/>
                  </a:cxn>
                  <a:cxn ang="T14">
                    <a:pos x="T8" y="T9"/>
                  </a:cxn>
                </a:cxnLst>
                <a:rect l="T15" t="T16" r="T17" b="T18"/>
                <a:pathLst>
                  <a:path w="752" h="124">
                    <a:moveTo>
                      <a:pt x="0" y="116"/>
                    </a:moveTo>
                    <a:lnTo>
                      <a:pt x="736" y="0"/>
                    </a:lnTo>
                    <a:lnTo>
                      <a:pt x="752" y="6"/>
                    </a:lnTo>
                    <a:lnTo>
                      <a:pt x="0" y="124"/>
                    </a:lnTo>
                    <a:lnTo>
                      <a:pt x="0" y="116"/>
                    </a:lnTo>
                    <a:close/>
                  </a:path>
                </a:pathLst>
              </a:custGeom>
              <a:solidFill>
                <a:srgbClr val="9FB3CD"/>
              </a:solidFill>
              <a:ln w="9525">
                <a:noFill/>
                <a:round/>
                <a:headEnd/>
                <a:tailEnd/>
              </a:ln>
            </p:spPr>
            <p:txBody>
              <a:bodyPr wrap="none" anchor="ctr"/>
              <a:lstStyle/>
              <a:p>
                <a:pPr defTabSz="912546"/>
                <a:endParaRPr>
                  <a:solidFill>
                    <a:srgbClr val="000000"/>
                  </a:solidFill>
                </a:endParaRPr>
              </a:p>
            </p:txBody>
          </p:sp>
          <p:sp>
            <p:nvSpPr>
              <p:cNvPr id="441831" name="Freeform 597"/>
              <p:cNvSpPr>
                <a:spLocks/>
              </p:cNvSpPr>
              <p:nvPr/>
            </p:nvSpPr>
            <p:spPr bwMode="gray">
              <a:xfrm>
                <a:off x="1146" y="1930"/>
                <a:ext cx="710" cy="214"/>
              </a:xfrm>
              <a:custGeom>
                <a:avLst/>
                <a:gdLst>
                  <a:gd name="T0" fmla="*/ 702 w 710"/>
                  <a:gd name="T1" fmla="*/ 2 h 214"/>
                  <a:gd name="T2" fmla="*/ 710 w 710"/>
                  <a:gd name="T3" fmla="*/ 0 h 214"/>
                  <a:gd name="T4" fmla="*/ 706 w 710"/>
                  <a:gd name="T5" fmla="*/ 96 h 214"/>
                  <a:gd name="T6" fmla="*/ 2 w 710"/>
                  <a:gd name="T7" fmla="*/ 214 h 214"/>
                  <a:gd name="T8" fmla="*/ 0 w 710"/>
                  <a:gd name="T9" fmla="*/ 204 h 214"/>
                  <a:gd name="T10" fmla="*/ 698 w 710"/>
                  <a:gd name="T11" fmla="*/ 90 h 214"/>
                  <a:gd name="T12" fmla="*/ 702 w 710"/>
                  <a:gd name="T13" fmla="*/ 2 h 214"/>
                  <a:gd name="T14" fmla="*/ 0 60000 65536"/>
                  <a:gd name="T15" fmla="*/ 0 60000 65536"/>
                  <a:gd name="T16" fmla="*/ 0 60000 65536"/>
                  <a:gd name="T17" fmla="*/ 0 60000 65536"/>
                  <a:gd name="T18" fmla="*/ 0 60000 65536"/>
                  <a:gd name="T19" fmla="*/ 0 60000 65536"/>
                  <a:gd name="T20" fmla="*/ 0 60000 65536"/>
                  <a:gd name="T21" fmla="*/ 0 w 710"/>
                  <a:gd name="T22" fmla="*/ 0 h 214"/>
                  <a:gd name="T23" fmla="*/ 710 w 710"/>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0" h="214">
                    <a:moveTo>
                      <a:pt x="702" y="2"/>
                    </a:moveTo>
                    <a:cubicBezTo>
                      <a:pt x="702" y="4"/>
                      <a:pt x="710" y="0"/>
                      <a:pt x="710" y="0"/>
                    </a:cubicBezTo>
                    <a:lnTo>
                      <a:pt x="706" y="96"/>
                    </a:lnTo>
                    <a:lnTo>
                      <a:pt x="2" y="214"/>
                    </a:lnTo>
                    <a:lnTo>
                      <a:pt x="0" y="204"/>
                    </a:lnTo>
                    <a:lnTo>
                      <a:pt x="698" y="90"/>
                    </a:lnTo>
                    <a:lnTo>
                      <a:pt x="702" y="2"/>
                    </a:lnTo>
                    <a:close/>
                  </a:path>
                </a:pathLst>
              </a:custGeom>
              <a:solidFill>
                <a:srgbClr val="C1CEDF"/>
              </a:solidFill>
              <a:ln w="9525">
                <a:noFill/>
                <a:round/>
                <a:headEnd/>
                <a:tailEnd/>
              </a:ln>
            </p:spPr>
            <p:txBody>
              <a:bodyPr wrap="none" anchor="ctr"/>
              <a:lstStyle/>
              <a:p>
                <a:pPr defTabSz="912546"/>
                <a:endParaRPr>
                  <a:solidFill>
                    <a:srgbClr val="000000"/>
                  </a:solidFill>
                </a:endParaRPr>
              </a:p>
            </p:txBody>
          </p:sp>
        </p:grpSp>
        <p:sp>
          <p:nvSpPr>
            <p:cNvPr id="441806" name="Freeform 598"/>
            <p:cNvSpPr>
              <a:spLocks/>
            </p:cNvSpPr>
            <p:nvPr/>
          </p:nvSpPr>
          <p:spPr bwMode="gray">
            <a:xfrm>
              <a:off x="5078" y="2994"/>
              <a:ext cx="355" cy="108"/>
            </a:xfrm>
            <a:custGeom>
              <a:avLst/>
              <a:gdLst>
                <a:gd name="T0" fmla="*/ 1 w 618"/>
                <a:gd name="T1" fmla="*/ 1 h 188"/>
                <a:gd name="T2" fmla="*/ 1 w 618"/>
                <a:gd name="T3" fmla="*/ 0 h 188"/>
                <a:gd name="T4" fmla="*/ 1 w 618"/>
                <a:gd name="T5" fmla="*/ 1 h 188"/>
                <a:gd name="T6" fmla="*/ 0 w 618"/>
                <a:gd name="T7" fmla="*/ 1 h 188"/>
                <a:gd name="T8" fmla="*/ 1 w 618"/>
                <a:gd name="T9" fmla="*/ 1 h 188"/>
                <a:gd name="T10" fmla="*/ 0 60000 65536"/>
                <a:gd name="T11" fmla="*/ 0 60000 65536"/>
                <a:gd name="T12" fmla="*/ 0 60000 65536"/>
                <a:gd name="T13" fmla="*/ 0 60000 65536"/>
                <a:gd name="T14" fmla="*/ 0 60000 65536"/>
                <a:gd name="T15" fmla="*/ 0 w 618"/>
                <a:gd name="T16" fmla="*/ 0 h 188"/>
                <a:gd name="T17" fmla="*/ 618 w 618"/>
                <a:gd name="T18" fmla="*/ 188 h 188"/>
              </a:gdLst>
              <a:ahLst/>
              <a:cxnLst>
                <a:cxn ang="T10">
                  <a:pos x="T0" y="T1"/>
                </a:cxn>
                <a:cxn ang="T11">
                  <a:pos x="T2" y="T3"/>
                </a:cxn>
                <a:cxn ang="T12">
                  <a:pos x="T4" y="T5"/>
                </a:cxn>
                <a:cxn ang="T13">
                  <a:pos x="T6" y="T7"/>
                </a:cxn>
                <a:cxn ang="T14">
                  <a:pos x="T8" y="T9"/>
                </a:cxn>
              </a:cxnLst>
              <a:rect l="T15" t="T16" r="T17" b="T18"/>
              <a:pathLst>
                <a:path w="618" h="188">
                  <a:moveTo>
                    <a:pt x="2" y="118"/>
                  </a:moveTo>
                  <a:cubicBezTo>
                    <a:pt x="122" y="94"/>
                    <a:pt x="517" y="9"/>
                    <a:pt x="618" y="0"/>
                  </a:cubicBezTo>
                  <a:lnTo>
                    <a:pt x="614" y="64"/>
                  </a:lnTo>
                  <a:lnTo>
                    <a:pt x="0" y="188"/>
                  </a:lnTo>
                  <a:lnTo>
                    <a:pt x="2" y="118"/>
                  </a:lnTo>
                  <a:close/>
                </a:path>
              </a:pathLst>
            </a:custGeom>
            <a:gradFill rotWithShape="1">
              <a:gsLst>
                <a:gs pos="0">
                  <a:srgbClr val="A7B2C0"/>
                </a:gs>
                <a:gs pos="100000">
                  <a:srgbClr val="C1CEDF"/>
                </a:gs>
              </a:gsLst>
              <a:lin ang="2700000" scaled="1"/>
            </a:gradFill>
            <a:ln w="9525">
              <a:noFill/>
              <a:round/>
              <a:headEnd/>
              <a:tailEnd/>
            </a:ln>
          </p:spPr>
          <p:txBody>
            <a:bodyPr wrap="none" anchor="ctr"/>
            <a:lstStyle/>
            <a:p>
              <a:pPr defTabSz="912546"/>
              <a:endParaRPr>
                <a:solidFill>
                  <a:srgbClr val="000000"/>
                </a:solidFill>
              </a:endParaRPr>
            </a:p>
          </p:txBody>
        </p:sp>
        <p:sp>
          <p:nvSpPr>
            <p:cNvPr id="264791" name="Freeform 599"/>
            <p:cNvSpPr>
              <a:spLocks/>
            </p:cNvSpPr>
            <p:nvPr/>
          </p:nvSpPr>
          <p:spPr bwMode="gray">
            <a:xfrm>
              <a:off x="5078" y="2994"/>
              <a:ext cx="350" cy="101"/>
            </a:xfrm>
            <a:custGeom>
              <a:avLst/>
              <a:gdLst/>
              <a:ahLst/>
              <a:cxnLst>
                <a:cxn ang="0">
                  <a:pos x="0" y="112"/>
                </a:cxn>
                <a:cxn ang="0">
                  <a:pos x="610" y="0"/>
                </a:cxn>
                <a:cxn ang="0">
                  <a:pos x="606" y="56"/>
                </a:cxn>
                <a:cxn ang="0">
                  <a:pos x="0" y="176"/>
                </a:cxn>
                <a:cxn ang="0">
                  <a:pos x="0" y="112"/>
                </a:cxn>
              </a:cxnLst>
              <a:rect l="0" t="0" r="r" b="b"/>
              <a:pathLst>
                <a:path w="610" h="176">
                  <a:moveTo>
                    <a:pt x="0" y="112"/>
                  </a:moveTo>
                  <a:cubicBezTo>
                    <a:pt x="120" y="88"/>
                    <a:pt x="509" y="17"/>
                    <a:pt x="610" y="0"/>
                  </a:cubicBezTo>
                  <a:lnTo>
                    <a:pt x="606" y="56"/>
                  </a:lnTo>
                  <a:lnTo>
                    <a:pt x="0" y="176"/>
                  </a:lnTo>
                  <a:lnTo>
                    <a:pt x="0" y="112"/>
                  </a:lnTo>
                  <a:close/>
                </a:path>
              </a:pathLst>
            </a:custGeom>
            <a:gradFill rotWithShape="1">
              <a:gsLst>
                <a:gs pos="0">
                  <a:schemeClr val="folHlink">
                    <a:gamma/>
                    <a:shade val="66275"/>
                    <a:invGamma/>
                  </a:schemeClr>
                </a:gs>
                <a:gs pos="100000">
                  <a:schemeClr val="folHlink"/>
                </a:gs>
              </a:gsLst>
              <a:lin ang="2700000" scaled="1"/>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1808" name="Freeform 600"/>
            <p:cNvSpPr>
              <a:spLocks/>
            </p:cNvSpPr>
            <p:nvPr/>
          </p:nvSpPr>
          <p:spPr bwMode="gray">
            <a:xfrm>
              <a:off x="5110" y="2991"/>
              <a:ext cx="289" cy="107"/>
            </a:xfrm>
            <a:custGeom>
              <a:avLst/>
              <a:gdLst>
                <a:gd name="T0" fmla="*/ 0 w 504"/>
                <a:gd name="T1" fmla="*/ 1 h 186"/>
                <a:gd name="T2" fmla="*/ 1 w 504"/>
                <a:gd name="T3" fmla="*/ 1 h 186"/>
                <a:gd name="T4" fmla="*/ 1 w 504"/>
                <a:gd name="T5" fmla="*/ 1 h 186"/>
                <a:gd name="T6" fmla="*/ 1 w 504"/>
                <a:gd name="T7" fmla="*/ 1 h 186"/>
                <a:gd name="T8" fmla="*/ 1 w 504"/>
                <a:gd name="T9" fmla="*/ 1 h 186"/>
                <a:gd name="T10" fmla="*/ 1 w 504"/>
                <a:gd name="T11" fmla="*/ 1 h 186"/>
                <a:gd name="T12" fmla="*/ 1 w 504"/>
                <a:gd name="T13" fmla="*/ 1 h 186"/>
                <a:gd name="T14" fmla="*/ 1 w 504"/>
                <a:gd name="T15" fmla="*/ 1 h 186"/>
                <a:gd name="T16" fmla="*/ 1 w 504"/>
                <a:gd name="T17" fmla="*/ 1 h 186"/>
                <a:gd name="T18" fmla="*/ 1 w 504"/>
                <a:gd name="T19" fmla="*/ 1 h 186"/>
                <a:gd name="T20" fmla="*/ 1 w 504"/>
                <a:gd name="T21" fmla="*/ 1 h 186"/>
                <a:gd name="T22" fmla="*/ 1 w 504"/>
                <a:gd name="T23" fmla="*/ 1 h 186"/>
                <a:gd name="T24" fmla="*/ 1 w 504"/>
                <a:gd name="T25" fmla="*/ 1 h 186"/>
                <a:gd name="T26" fmla="*/ 1 w 504"/>
                <a:gd name="T27" fmla="*/ 1 h 186"/>
                <a:gd name="T28" fmla="*/ 1 w 504"/>
                <a:gd name="T29" fmla="*/ 1 h 186"/>
                <a:gd name="T30" fmla="*/ 1 w 504"/>
                <a:gd name="T31" fmla="*/ 1 h 186"/>
                <a:gd name="T32" fmla="*/ 1 w 504"/>
                <a:gd name="T33" fmla="*/ 1 h 186"/>
                <a:gd name="T34" fmla="*/ 1 w 504"/>
                <a:gd name="T35" fmla="*/ 1 h 186"/>
                <a:gd name="T36" fmla="*/ 1 w 504"/>
                <a:gd name="T37" fmla="*/ 1 h 186"/>
                <a:gd name="T38" fmla="*/ 1 w 504"/>
                <a:gd name="T39" fmla="*/ 1 h 186"/>
                <a:gd name="T40" fmla="*/ 1 w 504"/>
                <a:gd name="T41" fmla="*/ 1 h 186"/>
                <a:gd name="T42" fmla="*/ 1 w 504"/>
                <a:gd name="T43" fmla="*/ 1 h 186"/>
                <a:gd name="T44" fmla="*/ 1 w 504"/>
                <a:gd name="T45" fmla="*/ 0 h 186"/>
                <a:gd name="T46" fmla="*/ 0 w 504"/>
                <a:gd name="T47" fmla="*/ 1 h 18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4"/>
                <a:gd name="T73" fmla="*/ 0 h 186"/>
                <a:gd name="T74" fmla="*/ 504 w 504"/>
                <a:gd name="T75" fmla="*/ 186 h 18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4" h="186">
                  <a:moveTo>
                    <a:pt x="0" y="54"/>
                  </a:moveTo>
                  <a:cubicBezTo>
                    <a:pt x="2" y="63"/>
                    <a:pt x="3" y="68"/>
                    <a:pt x="8" y="76"/>
                  </a:cubicBezTo>
                  <a:cubicBezTo>
                    <a:pt x="7" y="85"/>
                    <a:pt x="4" y="95"/>
                    <a:pt x="4" y="104"/>
                  </a:cubicBezTo>
                  <a:lnTo>
                    <a:pt x="4" y="186"/>
                  </a:lnTo>
                  <a:lnTo>
                    <a:pt x="36" y="180"/>
                  </a:lnTo>
                  <a:lnTo>
                    <a:pt x="36" y="90"/>
                  </a:lnTo>
                  <a:lnTo>
                    <a:pt x="100" y="78"/>
                  </a:lnTo>
                  <a:lnTo>
                    <a:pt x="100" y="170"/>
                  </a:lnTo>
                  <a:lnTo>
                    <a:pt x="128" y="160"/>
                  </a:lnTo>
                  <a:lnTo>
                    <a:pt x="130" y="72"/>
                  </a:lnTo>
                  <a:lnTo>
                    <a:pt x="192" y="52"/>
                  </a:lnTo>
                  <a:lnTo>
                    <a:pt x="190" y="154"/>
                  </a:lnTo>
                  <a:lnTo>
                    <a:pt x="228" y="146"/>
                  </a:lnTo>
                  <a:lnTo>
                    <a:pt x="336" y="132"/>
                  </a:lnTo>
                  <a:lnTo>
                    <a:pt x="338" y="34"/>
                  </a:lnTo>
                  <a:lnTo>
                    <a:pt x="396" y="22"/>
                  </a:lnTo>
                  <a:lnTo>
                    <a:pt x="396" y="118"/>
                  </a:lnTo>
                  <a:lnTo>
                    <a:pt x="424" y="108"/>
                  </a:lnTo>
                  <a:lnTo>
                    <a:pt x="426" y="20"/>
                  </a:lnTo>
                  <a:lnTo>
                    <a:pt x="480" y="10"/>
                  </a:lnTo>
                  <a:lnTo>
                    <a:pt x="478" y="98"/>
                  </a:lnTo>
                  <a:lnTo>
                    <a:pt x="504" y="88"/>
                  </a:lnTo>
                  <a:lnTo>
                    <a:pt x="504" y="0"/>
                  </a:lnTo>
                  <a:lnTo>
                    <a:pt x="0" y="54"/>
                  </a:lnTo>
                  <a:close/>
                </a:path>
              </a:pathLst>
            </a:custGeom>
            <a:solidFill>
              <a:srgbClr val="9FB3CD"/>
            </a:solidFill>
            <a:ln w="9525">
              <a:noFill/>
              <a:round/>
              <a:headEnd/>
              <a:tailEnd/>
            </a:ln>
          </p:spPr>
          <p:txBody>
            <a:bodyPr wrap="none" anchor="ctr"/>
            <a:lstStyle/>
            <a:p>
              <a:pPr defTabSz="912546"/>
              <a:endParaRPr>
                <a:solidFill>
                  <a:srgbClr val="000000"/>
                </a:solidFill>
              </a:endParaRPr>
            </a:p>
          </p:txBody>
        </p:sp>
        <p:sp>
          <p:nvSpPr>
            <p:cNvPr id="441809" name="Freeform 601"/>
            <p:cNvSpPr>
              <a:spLocks/>
            </p:cNvSpPr>
            <p:nvPr/>
          </p:nvSpPr>
          <p:spPr bwMode="gray">
            <a:xfrm>
              <a:off x="5075" y="3071"/>
              <a:ext cx="149" cy="36"/>
            </a:xfrm>
            <a:custGeom>
              <a:avLst/>
              <a:gdLst>
                <a:gd name="T0" fmla="*/ 1 w 258"/>
                <a:gd name="T1" fmla="*/ 0 h 62"/>
                <a:gd name="T2" fmla="*/ 1 w 258"/>
                <a:gd name="T3" fmla="*/ 1 h 62"/>
                <a:gd name="T4" fmla="*/ 0 w 258"/>
                <a:gd name="T5" fmla="*/ 1 h 62"/>
                <a:gd name="T6" fmla="*/ 1 w 258"/>
                <a:gd name="T7" fmla="*/ 1 h 62"/>
                <a:gd name="T8" fmla="*/ 1 w 258"/>
                <a:gd name="T9" fmla="*/ 0 h 62"/>
                <a:gd name="T10" fmla="*/ 0 60000 65536"/>
                <a:gd name="T11" fmla="*/ 0 60000 65536"/>
                <a:gd name="T12" fmla="*/ 0 60000 65536"/>
                <a:gd name="T13" fmla="*/ 0 60000 65536"/>
                <a:gd name="T14" fmla="*/ 0 60000 65536"/>
                <a:gd name="T15" fmla="*/ 0 w 258"/>
                <a:gd name="T16" fmla="*/ 0 h 62"/>
                <a:gd name="T17" fmla="*/ 258 w 258"/>
                <a:gd name="T18" fmla="*/ 62 h 62"/>
              </a:gdLst>
              <a:ahLst/>
              <a:cxnLst>
                <a:cxn ang="T10">
                  <a:pos x="T0" y="T1"/>
                </a:cxn>
                <a:cxn ang="T11">
                  <a:pos x="T2" y="T3"/>
                </a:cxn>
                <a:cxn ang="T12">
                  <a:pos x="T4" y="T5"/>
                </a:cxn>
                <a:cxn ang="T13">
                  <a:pos x="T6" y="T7"/>
                </a:cxn>
                <a:cxn ang="T14">
                  <a:pos x="T8" y="T9"/>
                </a:cxn>
              </a:cxnLst>
              <a:rect l="T15" t="T16" r="T17" b="T18"/>
              <a:pathLst>
                <a:path w="258" h="62">
                  <a:moveTo>
                    <a:pt x="256" y="0"/>
                  </a:moveTo>
                  <a:lnTo>
                    <a:pt x="258" y="12"/>
                  </a:lnTo>
                  <a:lnTo>
                    <a:pt x="0" y="62"/>
                  </a:lnTo>
                  <a:lnTo>
                    <a:pt x="4" y="48"/>
                  </a:lnTo>
                  <a:lnTo>
                    <a:pt x="256"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10" name="Freeform 602"/>
            <p:cNvSpPr>
              <a:spLocks/>
            </p:cNvSpPr>
            <p:nvPr/>
          </p:nvSpPr>
          <p:spPr bwMode="gray">
            <a:xfrm>
              <a:off x="5299" y="3030"/>
              <a:ext cx="130" cy="32"/>
            </a:xfrm>
            <a:custGeom>
              <a:avLst/>
              <a:gdLst>
                <a:gd name="T0" fmla="*/ 1 w 226"/>
                <a:gd name="T1" fmla="*/ 0 h 56"/>
                <a:gd name="T2" fmla="*/ 1 w 226"/>
                <a:gd name="T3" fmla="*/ 1 h 56"/>
                <a:gd name="T4" fmla="*/ 0 w 226"/>
                <a:gd name="T5" fmla="*/ 1 h 56"/>
                <a:gd name="T6" fmla="*/ 1 w 226"/>
                <a:gd name="T7" fmla="*/ 1 h 56"/>
                <a:gd name="T8" fmla="*/ 1 w 226"/>
                <a:gd name="T9" fmla="*/ 0 h 56"/>
                <a:gd name="T10" fmla="*/ 0 60000 65536"/>
                <a:gd name="T11" fmla="*/ 0 60000 65536"/>
                <a:gd name="T12" fmla="*/ 0 60000 65536"/>
                <a:gd name="T13" fmla="*/ 0 60000 65536"/>
                <a:gd name="T14" fmla="*/ 0 60000 65536"/>
                <a:gd name="T15" fmla="*/ 0 w 226"/>
                <a:gd name="T16" fmla="*/ 0 h 56"/>
                <a:gd name="T17" fmla="*/ 226 w 226"/>
                <a:gd name="T18" fmla="*/ 56 h 56"/>
              </a:gdLst>
              <a:ahLst/>
              <a:cxnLst>
                <a:cxn ang="T10">
                  <a:pos x="T0" y="T1"/>
                </a:cxn>
                <a:cxn ang="T11">
                  <a:pos x="T2" y="T3"/>
                </a:cxn>
                <a:cxn ang="T12">
                  <a:pos x="T4" y="T5"/>
                </a:cxn>
                <a:cxn ang="T13">
                  <a:pos x="T6" y="T7"/>
                </a:cxn>
                <a:cxn ang="T14">
                  <a:pos x="T8" y="T9"/>
                </a:cxn>
              </a:cxnLst>
              <a:rect l="T15" t="T16" r="T17" b="T18"/>
              <a:pathLst>
                <a:path w="226" h="56">
                  <a:moveTo>
                    <a:pt x="226" y="0"/>
                  </a:moveTo>
                  <a:lnTo>
                    <a:pt x="224" y="12"/>
                  </a:lnTo>
                  <a:lnTo>
                    <a:pt x="0" y="56"/>
                  </a:lnTo>
                  <a:lnTo>
                    <a:pt x="2" y="44"/>
                  </a:lnTo>
                  <a:lnTo>
                    <a:pt x="226"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11" name="Freeform 603"/>
            <p:cNvSpPr>
              <a:spLocks/>
            </p:cNvSpPr>
            <p:nvPr/>
          </p:nvSpPr>
          <p:spPr bwMode="gray">
            <a:xfrm>
              <a:off x="4844" y="2973"/>
              <a:ext cx="9" cy="31"/>
            </a:xfrm>
            <a:custGeom>
              <a:avLst/>
              <a:gdLst>
                <a:gd name="T0" fmla="*/ 0 w 16"/>
                <a:gd name="T1" fmla="*/ 0 h 54"/>
                <a:gd name="T2" fmla="*/ 1 w 16"/>
                <a:gd name="T3" fmla="*/ 1 h 54"/>
                <a:gd name="T4" fmla="*/ 1 w 16"/>
                <a:gd name="T5" fmla="*/ 1 h 54"/>
                <a:gd name="T6" fmla="*/ 1 w 16"/>
                <a:gd name="T7" fmla="*/ 1 h 54"/>
                <a:gd name="T8" fmla="*/ 0 w 16"/>
                <a:gd name="T9" fmla="*/ 0 h 54"/>
                <a:gd name="T10" fmla="*/ 0 60000 65536"/>
                <a:gd name="T11" fmla="*/ 0 60000 65536"/>
                <a:gd name="T12" fmla="*/ 0 60000 65536"/>
                <a:gd name="T13" fmla="*/ 0 60000 65536"/>
                <a:gd name="T14" fmla="*/ 0 60000 65536"/>
                <a:gd name="T15" fmla="*/ 0 w 16"/>
                <a:gd name="T16" fmla="*/ 0 h 54"/>
                <a:gd name="T17" fmla="*/ 16 w 16"/>
                <a:gd name="T18" fmla="*/ 54 h 54"/>
              </a:gdLst>
              <a:ahLst/>
              <a:cxnLst>
                <a:cxn ang="T10">
                  <a:pos x="T0" y="T1"/>
                </a:cxn>
                <a:cxn ang="T11">
                  <a:pos x="T2" y="T3"/>
                </a:cxn>
                <a:cxn ang="T12">
                  <a:pos x="T4" y="T5"/>
                </a:cxn>
                <a:cxn ang="T13">
                  <a:pos x="T6" y="T7"/>
                </a:cxn>
                <a:cxn ang="T14">
                  <a:pos x="T8" y="T9"/>
                </a:cxn>
              </a:cxnLst>
              <a:rect l="T15" t="T16" r="T17" b="T18"/>
              <a:pathLst>
                <a:path w="16" h="54">
                  <a:moveTo>
                    <a:pt x="0" y="0"/>
                  </a:moveTo>
                  <a:lnTo>
                    <a:pt x="12" y="16"/>
                  </a:lnTo>
                  <a:lnTo>
                    <a:pt x="16" y="54"/>
                  </a:lnTo>
                  <a:lnTo>
                    <a:pt x="2" y="42"/>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812" name="Freeform 604"/>
            <p:cNvSpPr>
              <a:spLocks/>
            </p:cNvSpPr>
            <p:nvPr/>
          </p:nvSpPr>
          <p:spPr bwMode="gray">
            <a:xfrm>
              <a:off x="4898" y="3022"/>
              <a:ext cx="12" cy="32"/>
            </a:xfrm>
            <a:custGeom>
              <a:avLst/>
              <a:gdLst>
                <a:gd name="T0" fmla="*/ 0 w 20"/>
                <a:gd name="T1" fmla="*/ 0 h 56"/>
                <a:gd name="T2" fmla="*/ 1 w 20"/>
                <a:gd name="T3" fmla="*/ 1 h 56"/>
                <a:gd name="T4" fmla="*/ 1 w 20"/>
                <a:gd name="T5" fmla="*/ 1 h 56"/>
                <a:gd name="T6" fmla="*/ 1 w 20"/>
                <a:gd name="T7" fmla="*/ 1 h 56"/>
                <a:gd name="T8" fmla="*/ 0 w 20"/>
                <a:gd name="T9" fmla="*/ 0 h 56"/>
                <a:gd name="T10" fmla="*/ 0 60000 65536"/>
                <a:gd name="T11" fmla="*/ 0 60000 65536"/>
                <a:gd name="T12" fmla="*/ 0 60000 65536"/>
                <a:gd name="T13" fmla="*/ 0 60000 65536"/>
                <a:gd name="T14" fmla="*/ 0 60000 65536"/>
                <a:gd name="T15" fmla="*/ 0 w 20"/>
                <a:gd name="T16" fmla="*/ 0 h 56"/>
                <a:gd name="T17" fmla="*/ 20 w 20"/>
                <a:gd name="T18" fmla="*/ 56 h 56"/>
              </a:gdLst>
              <a:ahLst/>
              <a:cxnLst>
                <a:cxn ang="T10">
                  <a:pos x="T0" y="T1"/>
                </a:cxn>
                <a:cxn ang="T11">
                  <a:pos x="T2" y="T3"/>
                </a:cxn>
                <a:cxn ang="T12">
                  <a:pos x="T4" y="T5"/>
                </a:cxn>
                <a:cxn ang="T13">
                  <a:pos x="T6" y="T7"/>
                </a:cxn>
                <a:cxn ang="T14">
                  <a:pos x="T8" y="T9"/>
                </a:cxn>
              </a:cxnLst>
              <a:rect l="T15" t="T16" r="T17" b="T18"/>
              <a:pathLst>
                <a:path w="20" h="56">
                  <a:moveTo>
                    <a:pt x="0" y="0"/>
                  </a:moveTo>
                  <a:lnTo>
                    <a:pt x="16" y="12"/>
                  </a:lnTo>
                  <a:lnTo>
                    <a:pt x="20" y="56"/>
                  </a:lnTo>
                  <a:lnTo>
                    <a:pt x="4" y="44"/>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813" name="Freeform 605"/>
            <p:cNvSpPr>
              <a:spLocks/>
            </p:cNvSpPr>
            <p:nvPr/>
          </p:nvSpPr>
          <p:spPr bwMode="gray">
            <a:xfrm>
              <a:off x="4955" y="3068"/>
              <a:ext cx="12" cy="38"/>
            </a:xfrm>
            <a:custGeom>
              <a:avLst/>
              <a:gdLst>
                <a:gd name="T0" fmla="*/ 0 w 22"/>
                <a:gd name="T1" fmla="*/ 0 h 66"/>
                <a:gd name="T2" fmla="*/ 1 w 22"/>
                <a:gd name="T3" fmla="*/ 1 h 66"/>
                <a:gd name="T4" fmla="*/ 1 w 22"/>
                <a:gd name="T5" fmla="*/ 1 h 66"/>
                <a:gd name="T6" fmla="*/ 1 w 22"/>
                <a:gd name="T7" fmla="*/ 1 h 66"/>
                <a:gd name="T8" fmla="*/ 0 w 22"/>
                <a:gd name="T9" fmla="*/ 0 h 66"/>
                <a:gd name="T10" fmla="*/ 0 60000 65536"/>
                <a:gd name="T11" fmla="*/ 0 60000 65536"/>
                <a:gd name="T12" fmla="*/ 0 60000 65536"/>
                <a:gd name="T13" fmla="*/ 0 60000 65536"/>
                <a:gd name="T14" fmla="*/ 0 60000 65536"/>
                <a:gd name="T15" fmla="*/ 0 w 22"/>
                <a:gd name="T16" fmla="*/ 0 h 66"/>
                <a:gd name="T17" fmla="*/ 22 w 22"/>
                <a:gd name="T18" fmla="*/ 66 h 66"/>
              </a:gdLst>
              <a:ahLst/>
              <a:cxnLst>
                <a:cxn ang="T10">
                  <a:pos x="T0" y="T1"/>
                </a:cxn>
                <a:cxn ang="T11">
                  <a:pos x="T2" y="T3"/>
                </a:cxn>
                <a:cxn ang="T12">
                  <a:pos x="T4" y="T5"/>
                </a:cxn>
                <a:cxn ang="T13">
                  <a:pos x="T6" y="T7"/>
                </a:cxn>
                <a:cxn ang="T14">
                  <a:pos x="T8" y="T9"/>
                </a:cxn>
              </a:cxnLst>
              <a:rect l="T15" t="T16" r="T17" b="T18"/>
              <a:pathLst>
                <a:path w="22" h="66">
                  <a:moveTo>
                    <a:pt x="0" y="0"/>
                  </a:moveTo>
                  <a:lnTo>
                    <a:pt x="20" y="16"/>
                  </a:lnTo>
                  <a:lnTo>
                    <a:pt x="22" y="66"/>
                  </a:lnTo>
                  <a:lnTo>
                    <a:pt x="2" y="50"/>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814" name="Freeform 606"/>
            <p:cNvSpPr>
              <a:spLocks/>
            </p:cNvSpPr>
            <p:nvPr/>
          </p:nvSpPr>
          <p:spPr bwMode="gray">
            <a:xfrm>
              <a:off x="4976" y="3141"/>
              <a:ext cx="40" cy="27"/>
            </a:xfrm>
            <a:custGeom>
              <a:avLst/>
              <a:gdLst>
                <a:gd name="T0" fmla="*/ 1 w 68"/>
                <a:gd name="T1" fmla="*/ 1 h 46"/>
                <a:gd name="T2" fmla="*/ 1 w 68"/>
                <a:gd name="T3" fmla="*/ 1 h 46"/>
                <a:gd name="T4" fmla="*/ 1 w 68"/>
                <a:gd name="T5" fmla="*/ 1 h 46"/>
                <a:gd name="T6" fmla="*/ 1 w 68"/>
                <a:gd name="T7" fmla="*/ 1 h 46"/>
                <a:gd name="T8" fmla="*/ 1 w 68"/>
                <a:gd name="T9" fmla="*/ 1 h 46"/>
                <a:gd name="T10" fmla="*/ 1 w 68"/>
                <a:gd name="T11" fmla="*/ 1 h 46"/>
                <a:gd name="T12" fmla="*/ 1 w 68"/>
                <a:gd name="T13" fmla="*/ 1 h 46"/>
                <a:gd name="T14" fmla="*/ 0 w 68"/>
                <a:gd name="T15" fmla="*/ 0 h 46"/>
                <a:gd name="T16" fmla="*/ 1 w 68"/>
                <a:gd name="T17" fmla="*/ 1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46"/>
                <a:gd name="T29" fmla="*/ 68 w 68"/>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46">
                  <a:moveTo>
                    <a:pt x="2" y="20"/>
                  </a:moveTo>
                  <a:lnTo>
                    <a:pt x="28" y="46"/>
                  </a:lnTo>
                  <a:lnTo>
                    <a:pt x="68" y="34"/>
                  </a:lnTo>
                  <a:lnTo>
                    <a:pt x="66" y="32"/>
                  </a:lnTo>
                  <a:lnTo>
                    <a:pt x="32" y="40"/>
                  </a:lnTo>
                  <a:lnTo>
                    <a:pt x="22" y="34"/>
                  </a:lnTo>
                  <a:lnTo>
                    <a:pt x="10" y="20"/>
                  </a:lnTo>
                  <a:lnTo>
                    <a:pt x="0" y="0"/>
                  </a:lnTo>
                  <a:lnTo>
                    <a:pt x="2" y="2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815" name="Freeform 607"/>
            <p:cNvSpPr>
              <a:spLocks/>
            </p:cNvSpPr>
            <p:nvPr/>
          </p:nvSpPr>
          <p:spPr bwMode="gray">
            <a:xfrm>
              <a:off x="4980" y="3139"/>
              <a:ext cx="26" cy="9"/>
            </a:xfrm>
            <a:custGeom>
              <a:avLst/>
              <a:gdLst>
                <a:gd name="T0" fmla="*/ 1 w 46"/>
                <a:gd name="T1" fmla="*/ 0 h 16"/>
                <a:gd name="T2" fmla="*/ 1 w 46"/>
                <a:gd name="T3" fmla="*/ 1 h 16"/>
                <a:gd name="T4" fmla="*/ 1 w 46"/>
                <a:gd name="T5" fmla="*/ 1 h 16"/>
                <a:gd name="T6" fmla="*/ 0 w 46"/>
                <a:gd name="T7" fmla="*/ 1 h 16"/>
                <a:gd name="T8" fmla="*/ 1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816" name="Freeform 608"/>
            <p:cNvSpPr>
              <a:spLocks/>
            </p:cNvSpPr>
            <p:nvPr/>
          </p:nvSpPr>
          <p:spPr bwMode="gray">
            <a:xfrm>
              <a:off x="4986" y="3146"/>
              <a:ext cx="26" cy="9"/>
            </a:xfrm>
            <a:custGeom>
              <a:avLst/>
              <a:gdLst>
                <a:gd name="T0" fmla="*/ 1 w 46"/>
                <a:gd name="T1" fmla="*/ 0 h 16"/>
                <a:gd name="T2" fmla="*/ 1 w 46"/>
                <a:gd name="T3" fmla="*/ 1 h 16"/>
                <a:gd name="T4" fmla="*/ 1 w 46"/>
                <a:gd name="T5" fmla="*/ 1 h 16"/>
                <a:gd name="T6" fmla="*/ 0 w 46"/>
                <a:gd name="T7" fmla="*/ 1 h 16"/>
                <a:gd name="T8" fmla="*/ 1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817" name="Freeform 609"/>
            <p:cNvSpPr>
              <a:spLocks/>
            </p:cNvSpPr>
            <p:nvPr/>
          </p:nvSpPr>
          <p:spPr bwMode="gray">
            <a:xfrm>
              <a:off x="4990" y="3154"/>
              <a:ext cx="27" cy="9"/>
            </a:xfrm>
            <a:custGeom>
              <a:avLst/>
              <a:gdLst>
                <a:gd name="T0" fmla="*/ 1 w 46"/>
                <a:gd name="T1" fmla="*/ 0 h 16"/>
                <a:gd name="T2" fmla="*/ 1 w 46"/>
                <a:gd name="T3" fmla="*/ 1 h 16"/>
                <a:gd name="T4" fmla="*/ 1 w 46"/>
                <a:gd name="T5" fmla="*/ 1 h 16"/>
                <a:gd name="T6" fmla="*/ 0 w 46"/>
                <a:gd name="T7" fmla="*/ 1 h 16"/>
                <a:gd name="T8" fmla="*/ 1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grpSp>
      <p:grpSp>
        <p:nvGrpSpPr>
          <p:cNvPr id="265132" name="Group 610"/>
          <p:cNvGrpSpPr>
            <a:grpSpLocks/>
          </p:cNvGrpSpPr>
          <p:nvPr/>
        </p:nvGrpSpPr>
        <p:grpSpPr bwMode="gray">
          <a:xfrm>
            <a:off x="1057275" y="3347640"/>
            <a:ext cx="249238" cy="554038"/>
            <a:chOff x="4003" y="654"/>
            <a:chExt cx="315" cy="698"/>
          </a:xfrm>
        </p:grpSpPr>
        <p:sp>
          <p:nvSpPr>
            <p:cNvPr id="441778" name="Freeform 611"/>
            <p:cNvSpPr>
              <a:spLocks/>
            </p:cNvSpPr>
            <p:nvPr/>
          </p:nvSpPr>
          <p:spPr bwMode="gray">
            <a:xfrm>
              <a:off x="4003" y="1252"/>
              <a:ext cx="314" cy="100"/>
            </a:xfrm>
            <a:custGeom>
              <a:avLst/>
              <a:gdLst>
                <a:gd name="T0" fmla="*/ 744 w 285"/>
                <a:gd name="T1" fmla="*/ 63 h 90"/>
                <a:gd name="T2" fmla="*/ 284 w 285"/>
                <a:gd name="T3" fmla="*/ 63 h 90"/>
                <a:gd name="T4" fmla="*/ 128 w 285"/>
                <a:gd name="T5" fmla="*/ 112 h 90"/>
                <a:gd name="T6" fmla="*/ 31 w 285"/>
                <a:gd name="T7" fmla="*/ 223 h 90"/>
                <a:gd name="T8" fmla="*/ 277 w 285"/>
                <a:gd name="T9" fmla="*/ 307 h 90"/>
                <a:gd name="T10" fmla="*/ 851 w 285"/>
                <a:gd name="T11" fmla="*/ 319 h 90"/>
                <a:gd name="T12" fmla="*/ 1004 w 285"/>
                <a:gd name="T13" fmla="*/ 184 h 90"/>
                <a:gd name="T14" fmla="*/ 744 w 285"/>
                <a:gd name="T15" fmla="*/ 63 h 90"/>
                <a:gd name="T16" fmla="*/ 0 60000 65536"/>
                <a:gd name="T17" fmla="*/ 0 60000 65536"/>
                <a:gd name="T18" fmla="*/ 0 60000 65536"/>
                <a:gd name="T19" fmla="*/ 0 60000 65536"/>
                <a:gd name="T20" fmla="*/ 0 60000 65536"/>
                <a:gd name="T21" fmla="*/ 0 60000 65536"/>
                <a:gd name="T22" fmla="*/ 0 60000 65536"/>
                <a:gd name="T23" fmla="*/ 0 60000 65536"/>
                <a:gd name="T24" fmla="*/ 0 w 285"/>
                <a:gd name="T25" fmla="*/ 0 h 90"/>
                <a:gd name="T26" fmla="*/ 285 w 285"/>
                <a:gd name="T27" fmla="*/ 90 h 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5" h="90">
                  <a:moveTo>
                    <a:pt x="211" y="16"/>
                  </a:moveTo>
                  <a:cubicBezTo>
                    <a:pt x="147" y="15"/>
                    <a:pt x="162" y="4"/>
                    <a:pt x="80" y="16"/>
                  </a:cubicBezTo>
                  <a:cubicBezTo>
                    <a:pt x="65" y="18"/>
                    <a:pt x="36" y="29"/>
                    <a:pt x="36" y="29"/>
                  </a:cubicBezTo>
                  <a:cubicBezTo>
                    <a:pt x="35" y="30"/>
                    <a:pt x="0" y="45"/>
                    <a:pt x="9" y="56"/>
                  </a:cubicBezTo>
                  <a:cubicBezTo>
                    <a:pt x="24" y="75"/>
                    <a:pt x="55" y="70"/>
                    <a:pt x="78" y="77"/>
                  </a:cubicBezTo>
                  <a:cubicBezTo>
                    <a:pt x="169" y="65"/>
                    <a:pt x="189" y="90"/>
                    <a:pt x="241" y="81"/>
                  </a:cubicBezTo>
                  <a:cubicBezTo>
                    <a:pt x="258" y="78"/>
                    <a:pt x="275" y="60"/>
                    <a:pt x="285" y="47"/>
                  </a:cubicBezTo>
                  <a:cubicBezTo>
                    <a:pt x="250" y="0"/>
                    <a:pt x="256" y="35"/>
                    <a:pt x="211" y="16"/>
                  </a:cubicBezTo>
                  <a:close/>
                </a:path>
              </a:pathLst>
            </a:custGeom>
            <a:solidFill>
              <a:schemeClr val="accent2">
                <a:alpha val="20000"/>
              </a:schemeClr>
            </a:solidFill>
            <a:ln w="12700">
              <a:noFill/>
              <a:round/>
              <a:headEnd/>
              <a:tailEnd/>
            </a:ln>
          </p:spPr>
          <p:txBody>
            <a:bodyPr lIns="45720" tIns="46800" rIns="45720" bIns="46800" anchor="ctr"/>
            <a:lstStyle/>
            <a:p>
              <a:pPr defTabSz="912546"/>
              <a:endParaRPr>
                <a:solidFill>
                  <a:srgbClr val="000000"/>
                </a:solidFill>
              </a:endParaRPr>
            </a:p>
          </p:txBody>
        </p:sp>
        <p:grpSp>
          <p:nvGrpSpPr>
            <p:cNvPr id="265133" name="Group 612"/>
            <p:cNvGrpSpPr>
              <a:grpSpLocks/>
            </p:cNvGrpSpPr>
            <p:nvPr/>
          </p:nvGrpSpPr>
          <p:grpSpPr bwMode="gray">
            <a:xfrm>
              <a:off x="4039" y="654"/>
              <a:ext cx="279" cy="664"/>
              <a:chOff x="3379" y="492"/>
              <a:chExt cx="279" cy="664"/>
            </a:xfrm>
          </p:grpSpPr>
          <p:sp>
            <p:nvSpPr>
              <p:cNvPr id="441780" name="Freeform 613"/>
              <p:cNvSpPr>
                <a:spLocks/>
              </p:cNvSpPr>
              <p:nvPr/>
            </p:nvSpPr>
            <p:spPr bwMode="gray">
              <a:xfrm>
                <a:off x="3408" y="788"/>
                <a:ext cx="184" cy="329"/>
              </a:xfrm>
              <a:custGeom>
                <a:avLst/>
                <a:gdLst>
                  <a:gd name="T0" fmla="*/ 127 w 184"/>
                  <a:gd name="T1" fmla="*/ 2 h 329"/>
                  <a:gd name="T2" fmla="*/ 61 w 184"/>
                  <a:gd name="T3" fmla="*/ 2 h 329"/>
                  <a:gd name="T4" fmla="*/ 46 w 184"/>
                  <a:gd name="T5" fmla="*/ 4 h 329"/>
                  <a:gd name="T6" fmla="*/ 40 w 184"/>
                  <a:gd name="T7" fmla="*/ 22 h 329"/>
                  <a:gd name="T8" fmla="*/ 33 w 184"/>
                  <a:gd name="T9" fmla="*/ 64 h 329"/>
                  <a:gd name="T10" fmla="*/ 27 w 184"/>
                  <a:gd name="T11" fmla="*/ 111 h 329"/>
                  <a:gd name="T12" fmla="*/ 2 w 184"/>
                  <a:gd name="T13" fmla="*/ 316 h 329"/>
                  <a:gd name="T14" fmla="*/ 36 w 184"/>
                  <a:gd name="T15" fmla="*/ 322 h 329"/>
                  <a:gd name="T16" fmla="*/ 52 w 184"/>
                  <a:gd name="T17" fmla="*/ 286 h 329"/>
                  <a:gd name="T18" fmla="*/ 108 w 184"/>
                  <a:gd name="T19" fmla="*/ 88 h 329"/>
                  <a:gd name="T20" fmla="*/ 116 w 184"/>
                  <a:gd name="T21" fmla="*/ 214 h 329"/>
                  <a:gd name="T22" fmla="*/ 138 w 184"/>
                  <a:gd name="T23" fmla="*/ 316 h 329"/>
                  <a:gd name="T24" fmla="*/ 165 w 184"/>
                  <a:gd name="T25" fmla="*/ 316 h 329"/>
                  <a:gd name="T26" fmla="*/ 178 w 184"/>
                  <a:gd name="T27" fmla="*/ 318 h 329"/>
                  <a:gd name="T28" fmla="*/ 173 w 184"/>
                  <a:gd name="T29" fmla="*/ 288 h 329"/>
                  <a:gd name="T30" fmla="*/ 170 w 184"/>
                  <a:gd name="T31" fmla="*/ 120 h 329"/>
                  <a:gd name="T32" fmla="*/ 168 w 184"/>
                  <a:gd name="T33" fmla="*/ 54 h 329"/>
                  <a:gd name="T34" fmla="*/ 155 w 184"/>
                  <a:gd name="T35" fmla="*/ 0 h 329"/>
                  <a:gd name="T36" fmla="*/ 127 w 184"/>
                  <a:gd name="T37" fmla="*/ 2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4"/>
                  <a:gd name="T58" fmla="*/ 0 h 329"/>
                  <a:gd name="T59" fmla="*/ 184 w 184"/>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4" h="329">
                    <a:moveTo>
                      <a:pt x="127" y="2"/>
                    </a:moveTo>
                    <a:cubicBezTo>
                      <a:pt x="105" y="9"/>
                      <a:pt x="83" y="4"/>
                      <a:pt x="61" y="2"/>
                    </a:cubicBezTo>
                    <a:cubicBezTo>
                      <a:pt x="57" y="3"/>
                      <a:pt x="50" y="1"/>
                      <a:pt x="46" y="4"/>
                    </a:cubicBezTo>
                    <a:cubicBezTo>
                      <a:pt x="41" y="8"/>
                      <a:pt x="40" y="22"/>
                      <a:pt x="40" y="22"/>
                    </a:cubicBezTo>
                    <a:cubicBezTo>
                      <a:pt x="38" y="36"/>
                      <a:pt x="36" y="51"/>
                      <a:pt x="33" y="64"/>
                    </a:cubicBezTo>
                    <a:cubicBezTo>
                      <a:pt x="32" y="84"/>
                      <a:pt x="33" y="94"/>
                      <a:pt x="27" y="111"/>
                    </a:cubicBezTo>
                    <a:cubicBezTo>
                      <a:pt x="22" y="153"/>
                      <a:pt x="0" y="280"/>
                      <a:pt x="2" y="316"/>
                    </a:cubicBezTo>
                    <a:cubicBezTo>
                      <a:pt x="6" y="329"/>
                      <a:pt x="25" y="318"/>
                      <a:pt x="36" y="322"/>
                    </a:cubicBezTo>
                    <a:cubicBezTo>
                      <a:pt x="49" y="318"/>
                      <a:pt x="48" y="298"/>
                      <a:pt x="52" y="286"/>
                    </a:cubicBezTo>
                    <a:cubicBezTo>
                      <a:pt x="63" y="249"/>
                      <a:pt x="96" y="116"/>
                      <a:pt x="108" y="88"/>
                    </a:cubicBezTo>
                    <a:cubicBezTo>
                      <a:pt x="104" y="108"/>
                      <a:pt x="111" y="178"/>
                      <a:pt x="116" y="214"/>
                    </a:cubicBezTo>
                    <a:cubicBezTo>
                      <a:pt x="118" y="234"/>
                      <a:pt x="126" y="298"/>
                      <a:pt x="138" y="316"/>
                    </a:cubicBezTo>
                    <a:cubicBezTo>
                      <a:pt x="150" y="314"/>
                      <a:pt x="153" y="318"/>
                      <a:pt x="165" y="316"/>
                    </a:cubicBezTo>
                    <a:cubicBezTo>
                      <a:pt x="170" y="317"/>
                      <a:pt x="175" y="322"/>
                      <a:pt x="178" y="318"/>
                    </a:cubicBezTo>
                    <a:cubicBezTo>
                      <a:pt x="184" y="310"/>
                      <a:pt x="173" y="288"/>
                      <a:pt x="173" y="288"/>
                    </a:cubicBezTo>
                    <a:cubicBezTo>
                      <a:pt x="170" y="236"/>
                      <a:pt x="173" y="173"/>
                      <a:pt x="170" y="120"/>
                    </a:cubicBezTo>
                    <a:cubicBezTo>
                      <a:pt x="169" y="90"/>
                      <a:pt x="169" y="84"/>
                      <a:pt x="168" y="54"/>
                    </a:cubicBezTo>
                    <a:cubicBezTo>
                      <a:pt x="168" y="44"/>
                      <a:pt x="167" y="4"/>
                      <a:pt x="155" y="0"/>
                    </a:cubicBezTo>
                    <a:cubicBezTo>
                      <a:pt x="154" y="0"/>
                      <a:pt x="125" y="2"/>
                      <a:pt x="127" y="2"/>
                    </a:cubicBezTo>
                    <a:close/>
                  </a:path>
                </a:pathLst>
              </a:custGeom>
              <a:solidFill>
                <a:srgbClr val="5F5F5F"/>
              </a:solidFill>
              <a:ln w="9525">
                <a:noFill/>
                <a:round/>
                <a:headEnd/>
                <a:tailEnd/>
              </a:ln>
            </p:spPr>
            <p:txBody>
              <a:bodyPr wrap="none" anchor="ctr"/>
              <a:lstStyle/>
              <a:p>
                <a:pPr defTabSz="912546"/>
                <a:endParaRPr>
                  <a:solidFill>
                    <a:srgbClr val="000000"/>
                  </a:solidFill>
                </a:endParaRPr>
              </a:p>
            </p:txBody>
          </p:sp>
          <p:sp>
            <p:nvSpPr>
              <p:cNvPr id="441781" name="Freeform 614"/>
              <p:cNvSpPr>
                <a:spLocks/>
              </p:cNvSpPr>
              <p:nvPr/>
            </p:nvSpPr>
            <p:spPr bwMode="gray">
              <a:xfrm>
                <a:off x="3401" y="578"/>
                <a:ext cx="219" cy="220"/>
              </a:xfrm>
              <a:custGeom>
                <a:avLst/>
                <a:gdLst>
                  <a:gd name="T0" fmla="*/ 107 w 219"/>
                  <a:gd name="T1" fmla="*/ 0 h 220"/>
                  <a:gd name="T2" fmla="*/ 71 w 219"/>
                  <a:gd name="T3" fmla="*/ 12 h 220"/>
                  <a:gd name="T4" fmla="*/ 45 w 219"/>
                  <a:gd name="T5" fmla="*/ 40 h 220"/>
                  <a:gd name="T6" fmla="*/ 37 w 219"/>
                  <a:gd name="T7" fmla="*/ 44 h 220"/>
                  <a:gd name="T8" fmla="*/ 23 w 219"/>
                  <a:gd name="T9" fmla="*/ 50 h 220"/>
                  <a:gd name="T10" fmla="*/ 13 w 219"/>
                  <a:gd name="T11" fmla="*/ 110 h 220"/>
                  <a:gd name="T12" fmla="*/ 41 w 219"/>
                  <a:gd name="T13" fmla="*/ 182 h 220"/>
                  <a:gd name="T14" fmla="*/ 61 w 219"/>
                  <a:gd name="T15" fmla="*/ 218 h 220"/>
                  <a:gd name="T16" fmla="*/ 101 w 219"/>
                  <a:gd name="T17" fmla="*/ 220 h 220"/>
                  <a:gd name="T18" fmla="*/ 171 w 219"/>
                  <a:gd name="T19" fmla="*/ 206 h 220"/>
                  <a:gd name="T20" fmla="*/ 187 w 219"/>
                  <a:gd name="T21" fmla="*/ 170 h 220"/>
                  <a:gd name="T22" fmla="*/ 211 w 219"/>
                  <a:gd name="T23" fmla="*/ 148 h 220"/>
                  <a:gd name="T24" fmla="*/ 201 w 219"/>
                  <a:gd name="T25" fmla="*/ 130 h 220"/>
                  <a:gd name="T26" fmla="*/ 185 w 219"/>
                  <a:gd name="T27" fmla="*/ 86 h 220"/>
                  <a:gd name="T28" fmla="*/ 181 w 219"/>
                  <a:gd name="T29" fmla="*/ 46 h 220"/>
                  <a:gd name="T30" fmla="*/ 175 w 219"/>
                  <a:gd name="T31" fmla="*/ 42 h 220"/>
                  <a:gd name="T32" fmla="*/ 133 w 219"/>
                  <a:gd name="T33" fmla="*/ 26 h 220"/>
                  <a:gd name="T34" fmla="*/ 125 w 219"/>
                  <a:gd name="T35" fmla="*/ 14 h 220"/>
                  <a:gd name="T36" fmla="*/ 107 w 219"/>
                  <a:gd name="T37" fmla="*/ 0 h 2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9"/>
                  <a:gd name="T58" fmla="*/ 0 h 220"/>
                  <a:gd name="T59" fmla="*/ 219 w 219"/>
                  <a:gd name="T60" fmla="*/ 220 h 2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9" h="220">
                    <a:moveTo>
                      <a:pt x="107" y="0"/>
                    </a:moveTo>
                    <a:cubicBezTo>
                      <a:pt x="95" y="4"/>
                      <a:pt x="82" y="5"/>
                      <a:pt x="71" y="12"/>
                    </a:cubicBezTo>
                    <a:cubicBezTo>
                      <a:pt x="61" y="28"/>
                      <a:pt x="61" y="29"/>
                      <a:pt x="45" y="40"/>
                    </a:cubicBezTo>
                    <a:cubicBezTo>
                      <a:pt x="38" y="51"/>
                      <a:pt x="47" y="38"/>
                      <a:pt x="37" y="44"/>
                    </a:cubicBezTo>
                    <a:cubicBezTo>
                      <a:pt x="33" y="46"/>
                      <a:pt x="23" y="50"/>
                      <a:pt x="23" y="50"/>
                    </a:cubicBezTo>
                    <a:cubicBezTo>
                      <a:pt x="0" y="85"/>
                      <a:pt x="9" y="78"/>
                      <a:pt x="13" y="110"/>
                    </a:cubicBezTo>
                    <a:cubicBezTo>
                      <a:pt x="21" y="114"/>
                      <a:pt x="29" y="174"/>
                      <a:pt x="41" y="182"/>
                    </a:cubicBezTo>
                    <a:cubicBezTo>
                      <a:pt x="38" y="194"/>
                      <a:pt x="50" y="215"/>
                      <a:pt x="61" y="218"/>
                    </a:cubicBezTo>
                    <a:cubicBezTo>
                      <a:pt x="74" y="215"/>
                      <a:pt x="101" y="220"/>
                      <a:pt x="101" y="220"/>
                    </a:cubicBezTo>
                    <a:cubicBezTo>
                      <a:pt x="125" y="218"/>
                      <a:pt x="147" y="211"/>
                      <a:pt x="171" y="206"/>
                    </a:cubicBezTo>
                    <a:cubicBezTo>
                      <a:pt x="176" y="191"/>
                      <a:pt x="173" y="179"/>
                      <a:pt x="187" y="170"/>
                    </a:cubicBezTo>
                    <a:cubicBezTo>
                      <a:pt x="191" y="158"/>
                      <a:pt x="201" y="154"/>
                      <a:pt x="211" y="148"/>
                    </a:cubicBezTo>
                    <a:cubicBezTo>
                      <a:pt x="219" y="136"/>
                      <a:pt x="210" y="136"/>
                      <a:pt x="201" y="130"/>
                    </a:cubicBezTo>
                    <a:cubicBezTo>
                      <a:pt x="192" y="116"/>
                      <a:pt x="194" y="100"/>
                      <a:pt x="185" y="86"/>
                    </a:cubicBezTo>
                    <a:cubicBezTo>
                      <a:pt x="183" y="73"/>
                      <a:pt x="184" y="59"/>
                      <a:pt x="181" y="46"/>
                    </a:cubicBezTo>
                    <a:cubicBezTo>
                      <a:pt x="180" y="44"/>
                      <a:pt x="177" y="43"/>
                      <a:pt x="175" y="42"/>
                    </a:cubicBezTo>
                    <a:cubicBezTo>
                      <a:pt x="162" y="36"/>
                      <a:pt x="146" y="30"/>
                      <a:pt x="133" y="26"/>
                    </a:cubicBezTo>
                    <a:cubicBezTo>
                      <a:pt x="130" y="22"/>
                      <a:pt x="128" y="18"/>
                      <a:pt x="125" y="14"/>
                    </a:cubicBezTo>
                    <a:cubicBezTo>
                      <a:pt x="123" y="10"/>
                      <a:pt x="107" y="6"/>
                      <a:pt x="107" y="0"/>
                    </a:cubicBezTo>
                    <a:close/>
                  </a:path>
                </a:pathLst>
              </a:custGeom>
              <a:solidFill>
                <a:srgbClr val="F3F3EF"/>
              </a:solidFill>
              <a:ln w="9525">
                <a:noFill/>
                <a:round/>
                <a:headEnd/>
                <a:tailEnd/>
              </a:ln>
            </p:spPr>
            <p:txBody>
              <a:bodyPr wrap="none" anchor="ctr"/>
              <a:lstStyle/>
              <a:p>
                <a:pPr defTabSz="912546"/>
                <a:endParaRPr>
                  <a:solidFill>
                    <a:srgbClr val="000000"/>
                  </a:solidFill>
                </a:endParaRPr>
              </a:p>
            </p:txBody>
          </p:sp>
          <p:sp>
            <p:nvSpPr>
              <p:cNvPr id="441782" name="Freeform 615"/>
              <p:cNvSpPr>
                <a:spLocks/>
              </p:cNvSpPr>
              <p:nvPr/>
            </p:nvSpPr>
            <p:spPr bwMode="gray">
              <a:xfrm>
                <a:off x="3494" y="616"/>
                <a:ext cx="34" cy="116"/>
              </a:xfrm>
              <a:custGeom>
                <a:avLst/>
                <a:gdLst>
                  <a:gd name="T0" fmla="*/ 18 w 34"/>
                  <a:gd name="T1" fmla="*/ 0 h 116"/>
                  <a:gd name="T2" fmla="*/ 4 w 34"/>
                  <a:gd name="T3" fmla="*/ 4 h 116"/>
                  <a:gd name="T4" fmla="*/ 0 w 34"/>
                  <a:gd name="T5" fmla="*/ 16 h 116"/>
                  <a:gd name="T6" fmla="*/ 8 w 34"/>
                  <a:gd name="T7" fmla="*/ 46 h 116"/>
                  <a:gd name="T8" fmla="*/ 8 w 34"/>
                  <a:gd name="T9" fmla="*/ 104 h 116"/>
                  <a:gd name="T10" fmla="*/ 10 w 34"/>
                  <a:gd name="T11" fmla="*/ 114 h 116"/>
                  <a:gd name="T12" fmla="*/ 22 w 34"/>
                  <a:gd name="T13" fmla="*/ 108 h 116"/>
                  <a:gd name="T14" fmla="*/ 34 w 34"/>
                  <a:gd name="T15" fmla="*/ 104 h 116"/>
                  <a:gd name="T16" fmla="*/ 18 w 34"/>
                  <a:gd name="T17" fmla="*/ 16 h 116"/>
                  <a:gd name="T18" fmla="*/ 18 w 34"/>
                  <a:gd name="T19" fmla="*/ 0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116"/>
                  <a:gd name="T32" fmla="*/ 34 w 34"/>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116">
                    <a:moveTo>
                      <a:pt x="18" y="0"/>
                    </a:moveTo>
                    <a:cubicBezTo>
                      <a:pt x="13" y="2"/>
                      <a:pt x="7" y="0"/>
                      <a:pt x="4" y="4"/>
                    </a:cubicBezTo>
                    <a:cubicBezTo>
                      <a:pt x="1" y="7"/>
                      <a:pt x="0" y="16"/>
                      <a:pt x="0" y="16"/>
                    </a:cubicBezTo>
                    <a:cubicBezTo>
                      <a:pt x="12" y="18"/>
                      <a:pt x="9" y="29"/>
                      <a:pt x="8" y="46"/>
                    </a:cubicBezTo>
                    <a:cubicBezTo>
                      <a:pt x="9" y="64"/>
                      <a:pt x="7" y="86"/>
                      <a:pt x="8" y="104"/>
                    </a:cubicBezTo>
                    <a:cubicBezTo>
                      <a:pt x="8" y="107"/>
                      <a:pt x="8" y="112"/>
                      <a:pt x="10" y="114"/>
                    </a:cubicBezTo>
                    <a:cubicBezTo>
                      <a:pt x="12" y="116"/>
                      <a:pt x="22" y="108"/>
                      <a:pt x="22" y="108"/>
                    </a:cubicBezTo>
                    <a:cubicBezTo>
                      <a:pt x="26" y="106"/>
                      <a:pt x="34" y="104"/>
                      <a:pt x="34" y="104"/>
                    </a:cubicBezTo>
                    <a:cubicBezTo>
                      <a:pt x="28" y="87"/>
                      <a:pt x="22" y="34"/>
                      <a:pt x="18" y="16"/>
                    </a:cubicBezTo>
                    <a:cubicBezTo>
                      <a:pt x="28" y="10"/>
                      <a:pt x="31" y="32"/>
                      <a:pt x="18" y="0"/>
                    </a:cubicBezTo>
                    <a:close/>
                  </a:path>
                </a:pathLst>
              </a:custGeom>
              <a:solidFill>
                <a:srgbClr val="C50B1D"/>
              </a:solidFill>
              <a:ln w="9525">
                <a:noFill/>
                <a:round/>
                <a:headEnd/>
                <a:tailEnd/>
              </a:ln>
            </p:spPr>
            <p:txBody>
              <a:bodyPr wrap="none" anchor="ctr"/>
              <a:lstStyle/>
              <a:p>
                <a:pPr defTabSz="912546"/>
                <a:endParaRPr>
                  <a:solidFill>
                    <a:srgbClr val="000000"/>
                  </a:solidFill>
                </a:endParaRPr>
              </a:p>
            </p:txBody>
          </p:sp>
          <p:sp>
            <p:nvSpPr>
              <p:cNvPr id="441783" name="Freeform 616"/>
              <p:cNvSpPr>
                <a:spLocks/>
              </p:cNvSpPr>
              <p:nvPr/>
            </p:nvSpPr>
            <p:spPr bwMode="gray">
              <a:xfrm>
                <a:off x="3500" y="746"/>
                <a:ext cx="36" cy="52"/>
              </a:xfrm>
              <a:custGeom>
                <a:avLst/>
                <a:gdLst>
                  <a:gd name="T0" fmla="*/ 32 w 36"/>
                  <a:gd name="T1" fmla="*/ 0 h 52"/>
                  <a:gd name="T2" fmla="*/ 0 w 36"/>
                  <a:gd name="T3" fmla="*/ 18 h 52"/>
                  <a:gd name="T4" fmla="*/ 2 w 36"/>
                  <a:gd name="T5" fmla="*/ 40 h 52"/>
                  <a:gd name="T6" fmla="*/ 20 w 36"/>
                  <a:gd name="T7" fmla="*/ 52 h 52"/>
                  <a:gd name="T8" fmla="*/ 36 w 36"/>
                  <a:gd name="T9" fmla="*/ 30 h 52"/>
                  <a:gd name="T10" fmla="*/ 32 w 36"/>
                  <a:gd name="T11" fmla="*/ 0 h 52"/>
                  <a:gd name="T12" fmla="*/ 0 60000 65536"/>
                  <a:gd name="T13" fmla="*/ 0 60000 65536"/>
                  <a:gd name="T14" fmla="*/ 0 60000 65536"/>
                  <a:gd name="T15" fmla="*/ 0 60000 65536"/>
                  <a:gd name="T16" fmla="*/ 0 60000 65536"/>
                  <a:gd name="T17" fmla="*/ 0 60000 65536"/>
                  <a:gd name="T18" fmla="*/ 0 w 36"/>
                  <a:gd name="T19" fmla="*/ 0 h 52"/>
                  <a:gd name="T20" fmla="*/ 36 w 36"/>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6" h="52">
                    <a:moveTo>
                      <a:pt x="32" y="0"/>
                    </a:moveTo>
                    <a:cubicBezTo>
                      <a:pt x="18" y="6"/>
                      <a:pt x="16" y="13"/>
                      <a:pt x="0" y="18"/>
                    </a:cubicBezTo>
                    <a:cubicBezTo>
                      <a:pt x="1" y="22"/>
                      <a:pt x="0" y="37"/>
                      <a:pt x="2" y="40"/>
                    </a:cubicBezTo>
                    <a:cubicBezTo>
                      <a:pt x="6" y="46"/>
                      <a:pt x="20" y="52"/>
                      <a:pt x="20" y="52"/>
                    </a:cubicBezTo>
                    <a:cubicBezTo>
                      <a:pt x="26" y="43"/>
                      <a:pt x="30" y="42"/>
                      <a:pt x="36" y="30"/>
                    </a:cubicBezTo>
                    <a:cubicBezTo>
                      <a:pt x="34" y="16"/>
                      <a:pt x="32" y="22"/>
                      <a:pt x="32" y="0"/>
                    </a:cubicBezTo>
                    <a:close/>
                  </a:path>
                </a:pathLst>
              </a:custGeom>
              <a:solidFill>
                <a:srgbClr val="C50B1D"/>
              </a:solidFill>
              <a:ln w="9525">
                <a:noFill/>
                <a:round/>
                <a:headEnd/>
                <a:tailEnd/>
              </a:ln>
            </p:spPr>
            <p:txBody>
              <a:bodyPr wrap="none" anchor="ctr"/>
              <a:lstStyle/>
              <a:p>
                <a:pPr defTabSz="912546"/>
                <a:endParaRPr>
                  <a:solidFill>
                    <a:srgbClr val="000000"/>
                  </a:solidFill>
                </a:endParaRPr>
              </a:p>
            </p:txBody>
          </p:sp>
          <p:sp>
            <p:nvSpPr>
              <p:cNvPr id="441784" name="Freeform 617"/>
              <p:cNvSpPr>
                <a:spLocks/>
              </p:cNvSpPr>
              <p:nvPr/>
            </p:nvSpPr>
            <p:spPr bwMode="gray">
              <a:xfrm>
                <a:off x="3379" y="1103"/>
                <a:ext cx="69" cy="53"/>
              </a:xfrm>
              <a:custGeom>
                <a:avLst/>
                <a:gdLst>
                  <a:gd name="T0" fmla="*/ 6 w 79"/>
                  <a:gd name="T1" fmla="*/ 3 h 61"/>
                  <a:gd name="T2" fmla="*/ 4 w 79"/>
                  <a:gd name="T3" fmla="*/ 3 h 61"/>
                  <a:gd name="T4" fmla="*/ 3 w 79"/>
                  <a:gd name="T5" fmla="*/ 6 h 61"/>
                  <a:gd name="T6" fmla="*/ 3 w 79"/>
                  <a:gd name="T7" fmla="*/ 9 h 61"/>
                  <a:gd name="T8" fmla="*/ 3 w 79"/>
                  <a:gd name="T9" fmla="*/ 10 h 61"/>
                  <a:gd name="T10" fmla="*/ 7 w 79"/>
                  <a:gd name="T11" fmla="*/ 9 h 61"/>
                  <a:gd name="T12" fmla="*/ 11 w 79"/>
                  <a:gd name="T13" fmla="*/ 4 h 61"/>
                  <a:gd name="T14" fmla="*/ 9 w 79"/>
                  <a:gd name="T15" fmla="*/ 1 h 61"/>
                  <a:gd name="T16" fmla="*/ 7 w 79"/>
                  <a:gd name="T17" fmla="*/ 1 h 61"/>
                  <a:gd name="T18" fmla="*/ 6 w 79"/>
                  <a:gd name="T19" fmla="*/ 3 h 61"/>
                  <a:gd name="T20" fmla="*/ 6 w 79"/>
                  <a:gd name="T21" fmla="*/ 3 h 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61"/>
                  <a:gd name="T35" fmla="*/ 79 w 79"/>
                  <a:gd name="T36" fmla="*/ 61 h 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61">
                    <a:moveTo>
                      <a:pt x="33" y="3"/>
                    </a:moveTo>
                    <a:cubicBezTo>
                      <a:pt x="32" y="7"/>
                      <a:pt x="29" y="17"/>
                      <a:pt x="25" y="21"/>
                    </a:cubicBezTo>
                    <a:cubicBezTo>
                      <a:pt x="20" y="26"/>
                      <a:pt x="7" y="33"/>
                      <a:pt x="7" y="33"/>
                    </a:cubicBezTo>
                    <a:cubicBezTo>
                      <a:pt x="2" y="41"/>
                      <a:pt x="0" y="41"/>
                      <a:pt x="5" y="53"/>
                    </a:cubicBezTo>
                    <a:cubicBezTo>
                      <a:pt x="8" y="59"/>
                      <a:pt x="23" y="61"/>
                      <a:pt x="23" y="61"/>
                    </a:cubicBezTo>
                    <a:cubicBezTo>
                      <a:pt x="29" y="60"/>
                      <a:pt x="37" y="61"/>
                      <a:pt x="41" y="57"/>
                    </a:cubicBezTo>
                    <a:cubicBezTo>
                      <a:pt x="53" y="45"/>
                      <a:pt x="52" y="33"/>
                      <a:pt x="69" y="27"/>
                    </a:cubicBezTo>
                    <a:cubicBezTo>
                      <a:pt x="77" y="3"/>
                      <a:pt x="79" y="4"/>
                      <a:pt x="51" y="1"/>
                    </a:cubicBezTo>
                    <a:cubicBezTo>
                      <a:pt x="47" y="2"/>
                      <a:pt x="43" y="0"/>
                      <a:pt x="39" y="1"/>
                    </a:cubicBezTo>
                    <a:cubicBezTo>
                      <a:pt x="37" y="2"/>
                      <a:pt x="37" y="6"/>
                      <a:pt x="35" y="7"/>
                    </a:cubicBezTo>
                    <a:cubicBezTo>
                      <a:pt x="34" y="7"/>
                      <a:pt x="34" y="4"/>
                      <a:pt x="33" y="3"/>
                    </a:cubicBezTo>
                    <a:close/>
                  </a:path>
                </a:pathLst>
              </a:custGeom>
              <a:solidFill>
                <a:srgbClr val="292929"/>
              </a:solidFill>
              <a:ln w="9525">
                <a:noFill/>
                <a:round/>
                <a:headEnd/>
                <a:tailEnd/>
              </a:ln>
            </p:spPr>
            <p:txBody>
              <a:bodyPr wrap="none" anchor="ctr"/>
              <a:lstStyle/>
              <a:p>
                <a:pPr defTabSz="912546"/>
                <a:endParaRPr>
                  <a:solidFill>
                    <a:srgbClr val="000000"/>
                  </a:solidFill>
                </a:endParaRPr>
              </a:p>
            </p:txBody>
          </p:sp>
          <p:sp>
            <p:nvSpPr>
              <p:cNvPr id="441785" name="Freeform 618"/>
              <p:cNvSpPr>
                <a:spLocks/>
              </p:cNvSpPr>
              <p:nvPr/>
            </p:nvSpPr>
            <p:spPr bwMode="gray">
              <a:xfrm>
                <a:off x="3538" y="1100"/>
                <a:ext cx="84" cy="52"/>
              </a:xfrm>
              <a:custGeom>
                <a:avLst/>
                <a:gdLst>
                  <a:gd name="T0" fmla="*/ 6 w 84"/>
                  <a:gd name="T1" fmla="*/ 2 h 52"/>
                  <a:gd name="T2" fmla="*/ 21 w 84"/>
                  <a:gd name="T3" fmla="*/ 27 h 52"/>
                  <a:gd name="T4" fmla="*/ 44 w 84"/>
                  <a:gd name="T5" fmla="*/ 50 h 52"/>
                  <a:gd name="T6" fmla="*/ 73 w 84"/>
                  <a:gd name="T7" fmla="*/ 46 h 52"/>
                  <a:gd name="T8" fmla="*/ 58 w 84"/>
                  <a:gd name="T9" fmla="*/ 21 h 52"/>
                  <a:gd name="T10" fmla="*/ 43 w 84"/>
                  <a:gd name="T11" fmla="*/ 0 h 52"/>
                  <a:gd name="T12" fmla="*/ 6 w 84"/>
                  <a:gd name="T13" fmla="*/ 2 h 52"/>
                  <a:gd name="T14" fmla="*/ 0 60000 65536"/>
                  <a:gd name="T15" fmla="*/ 0 60000 65536"/>
                  <a:gd name="T16" fmla="*/ 0 60000 65536"/>
                  <a:gd name="T17" fmla="*/ 0 60000 65536"/>
                  <a:gd name="T18" fmla="*/ 0 60000 65536"/>
                  <a:gd name="T19" fmla="*/ 0 60000 65536"/>
                  <a:gd name="T20" fmla="*/ 0 60000 65536"/>
                  <a:gd name="T21" fmla="*/ 0 w 84"/>
                  <a:gd name="T22" fmla="*/ 0 h 52"/>
                  <a:gd name="T23" fmla="*/ 84 w 84"/>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4" h="52">
                    <a:moveTo>
                      <a:pt x="6" y="2"/>
                    </a:moveTo>
                    <a:cubicBezTo>
                      <a:pt x="8" y="22"/>
                      <a:pt x="0" y="20"/>
                      <a:pt x="21" y="27"/>
                    </a:cubicBezTo>
                    <a:cubicBezTo>
                      <a:pt x="28" y="38"/>
                      <a:pt x="26" y="44"/>
                      <a:pt x="44" y="50"/>
                    </a:cubicBezTo>
                    <a:cubicBezTo>
                      <a:pt x="62" y="52"/>
                      <a:pt x="73" y="46"/>
                      <a:pt x="73" y="46"/>
                    </a:cubicBezTo>
                    <a:cubicBezTo>
                      <a:pt x="84" y="29"/>
                      <a:pt x="70" y="30"/>
                      <a:pt x="58" y="21"/>
                    </a:cubicBezTo>
                    <a:cubicBezTo>
                      <a:pt x="53" y="14"/>
                      <a:pt x="50" y="5"/>
                      <a:pt x="43" y="0"/>
                    </a:cubicBezTo>
                    <a:cubicBezTo>
                      <a:pt x="35" y="6"/>
                      <a:pt x="28" y="0"/>
                      <a:pt x="6" y="2"/>
                    </a:cubicBezTo>
                    <a:close/>
                  </a:path>
                </a:pathLst>
              </a:custGeom>
              <a:solidFill>
                <a:srgbClr val="292929"/>
              </a:solidFill>
              <a:ln w="9525">
                <a:noFill/>
                <a:round/>
                <a:headEnd/>
                <a:tailEnd/>
              </a:ln>
            </p:spPr>
            <p:txBody>
              <a:bodyPr wrap="none" anchor="ctr"/>
              <a:lstStyle/>
              <a:p>
                <a:pPr defTabSz="912546"/>
                <a:endParaRPr>
                  <a:solidFill>
                    <a:srgbClr val="000000"/>
                  </a:solidFill>
                </a:endParaRPr>
              </a:p>
            </p:txBody>
          </p:sp>
          <p:sp>
            <p:nvSpPr>
              <p:cNvPr id="441786" name="Freeform 619"/>
              <p:cNvSpPr>
                <a:spLocks/>
              </p:cNvSpPr>
              <p:nvPr/>
            </p:nvSpPr>
            <p:spPr bwMode="gray">
              <a:xfrm>
                <a:off x="3440" y="637"/>
                <a:ext cx="78" cy="107"/>
              </a:xfrm>
              <a:custGeom>
                <a:avLst/>
                <a:gdLst>
                  <a:gd name="T0" fmla="*/ 0 w 78"/>
                  <a:gd name="T1" fmla="*/ 5 h 107"/>
                  <a:gd name="T2" fmla="*/ 26 w 78"/>
                  <a:gd name="T3" fmla="*/ 75 h 107"/>
                  <a:gd name="T4" fmla="*/ 24 w 78"/>
                  <a:gd name="T5" fmla="*/ 93 h 107"/>
                  <a:gd name="T6" fmla="*/ 28 w 78"/>
                  <a:gd name="T7" fmla="*/ 107 h 107"/>
                  <a:gd name="T8" fmla="*/ 28 w 78"/>
                  <a:gd name="T9" fmla="*/ 97 h 107"/>
                  <a:gd name="T10" fmla="*/ 50 w 78"/>
                  <a:gd name="T11" fmla="*/ 97 h 107"/>
                  <a:gd name="T12" fmla="*/ 60 w 78"/>
                  <a:gd name="T13" fmla="*/ 99 h 107"/>
                  <a:gd name="T14" fmla="*/ 64 w 78"/>
                  <a:gd name="T15" fmla="*/ 105 h 107"/>
                  <a:gd name="T16" fmla="*/ 66 w 78"/>
                  <a:gd name="T17" fmla="*/ 95 h 107"/>
                  <a:gd name="T18" fmla="*/ 78 w 78"/>
                  <a:gd name="T19" fmla="*/ 91 h 107"/>
                  <a:gd name="T20" fmla="*/ 60 w 78"/>
                  <a:gd name="T21" fmla="*/ 95 h 107"/>
                  <a:gd name="T22" fmla="*/ 36 w 78"/>
                  <a:gd name="T23" fmla="*/ 83 h 107"/>
                  <a:gd name="T24" fmla="*/ 28 w 78"/>
                  <a:gd name="T25" fmla="*/ 75 h 107"/>
                  <a:gd name="T26" fmla="*/ 14 w 78"/>
                  <a:gd name="T27" fmla="*/ 9 h 107"/>
                  <a:gd name="T28" fmla="*/ 0 w 78"/>
                  <a:gd name="T29" fmla="*/ 5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107"/>
                  <a:gd name="T47" fmla="*/ 78 w 78"/>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107">
                    <a:moveTo>
                      <a:pt x="0" y="5"/>
                    </a:moveTo>
                    <a:cubicBezTo>
                      <a:pt x="17" y="17"/>
                      <a:pt x="23" y="55"/>
                      <a:pt x="26" y="75"/>
                    </a:cubicBezTo>
                    <a:cubicBezTo>
                      <a:pt x="25" y="84"/>
                      <a:pt x="24" y="93"/>
                      <a:pt x="24" y="93"/>
                    </a:cubicBezTo>
                    <a:cubicBezTo>
                      <a:pt x="25" y="95"/>
                      <a:pt x="26" y="107"/>
                      <a:pt x="28" y="107"/>
                    </a:cubicBezTo>
                    <a:cubicBezTo>
                      <a:pt x="32" y="107"/>
                      <a:pt x="25" y="100"/>
                      <a:pt x="28" y="97"/>
                    </a:cubicBezTo>
                    <a:cubicBezTo>
                      <a:pt x="35" y="92"/>
                      <a:pt x="42" y="99"/>
                      <a:pt x="50" y="97"/>
                    </a:cubicBezTo>
                    <a:cubicBezTo>
                      <a:pt x="53" y="98"/>
                      <a:pt x="57" y="97"/>
                      <a:pt x="60" y="99"/>
                    </a:cubicBezTo>
                    <a:cubicBezTo>
                      <a:pt x="62" y="100"/>
                      <a:pt x="62" y="106"/>
                      <a:pt x="64" y="105"/>
                    </a:cubicBezTo>
                    <a:cubicBezTo>
                      <a:pt x="67" y="103"/>
                      <a:pt x="64" y="97"/>
                      <a:pt x="66" y="95"/>
                    </a:cubicBezTo>
                    <a:cubicBezTo>
                      <a:pt x="69" y="92"/>
                      <a:pt x="78" y="91"/>
                      <a:pt x="78" y="91"/>
                    </a:cubicBezTo>
                    <a:cubicBezTo>
                      <a:pt x="70" y="88"/>
                      <a:pt x="68" y="92"/>
                      <a:pt x="60" y="95"/>
                    </a:cubicBezTo>
                    <a:cubicBezTo>
                      <a:pt x="50" y="92"/>
                      <a:pt x="44" y="89"/>
                      <a:pt x="36" y="83"/>
                    </a:cubicBezTo>
                    <a:cubicBezTo>
                      <a:pt x="32" y="69"/>
                      <a:pt x="29" y="80"/>
                      <a:pt x="28" y="75"/>
                    </a:cubicBezTo>
                    <a:cubicBezTo>
                      <a:pt x="26" y="66"/>
                      <a:pt x="22" y="14"/>
                      <a:pt x="14" y="9"/>
                    </a:cubicBezTo>
                    <a:cubicBezTo>
                      <a:pt x="12" y="5"/>
                      <a:pt x="5" y="0"/>
                      <a:pt x="0" y="5"/>
                    </a:cubicBezTo>
                    <a:close/>
                  </a:path>
                </a:pathLst>
              </a:custGeom>
              <a:solidFill>
                <a:srgbClr val="DEDED2"/>
              </a:solidFill>
              <a:ln w="9525">
                <a:noFill/>
                <a:round/>
                <a:headEnd/>
                <a:tailEnd/>
              </a:ln>
            </p:spPr>
            <p:txBody>
              <a:bodyPr wrap="none" anchor="ctr"/>
              <a:lstStyle/>
              <a:p>
                <a:pPr defTabSz="912546"/>
                <a:endParaRPr>
                  <a:solidFill>
                    <a:srgbClr val="000000"/>
                  </a:solidFill>
                </a:endParaRPr>
              </a:p>
            </p:txBody>
          </p:sp>
          <p:sp>
            <p:nvSpPr>
              <p:cNvPr id="441787" name="Freeform 620"/>
              <p:cNvSpPr>
                <a:spLocks/>
              </p:cNvSpPr>
              <p:nvPr/>
            </p:nvSpPr>
            <p:spPr bwMode="gray">
              <a:xfrm>
                <a:off x="3466" y="598"/>
                <a:ext cx="32" cy="46"/>
              </a:xfrm>
              <a:custGeom>
                <a:avLst/>
                <a:gdLst>
                  <a:gd name="T0" fmla="*/ 10 w 32"/>
                  <a:gd name="T1" fmla="*/ 0 h 46"/>
                  <a:gd name="T2" fmla="*/ 20 w 32"/>
                  <a:gd name="T3" fmla="*/ 32 h 46"/>
                  <a:gd name="T4" fmla="*/ 30 w 32"/>
                  <a:gd name="T5" fmla="*/ 22 h 46"/>
                  <a:gd name="T6" fmla="*/ 28 w 32"/>
                  <a:gd name="T7" fmla="*/ 28 h 46"/>
                  <a:gd name="T8" fmla="*/ 16 w 32"/>
                  <a:gd name="T9" fmla="*/ 46 h 46"/>
                  <a:gd name="T10" fmla="*/ 2 w 32"/>
                  <a:gd name="T11" fmla="*/ 26 h 46"/>
                  <a:gd name="T12" fmla="*/ 10 w 32"/>
                  <a:gd name="T13" fmla="*/ 0 h 46"/>
                  <a:gd name="T14" fmla="*/ 0 60000 65536"/>
                  <a:gd name="T15" fmla="*/ 0 60000 65536"/>
                  <a:gd name="T16" fmla="*/ 0 60000 65536"/>
                  <a:gd name="T17" fmla="*/ 0 60000 65536"/>
                  <a:gd name="T18" fmla="*/ 0 60000 65536"/>
                  <a:gd name="T19" fmla="*/ 0 60000 65536"/>
                  <a:gd name="T20" fmla="*/ 0 60000 65536"/>
                  <a:gd name="T21" fmla="*/ 0 w 32"/>
                  <a:gd name="T22" fmla="*/ 0 h 46"/>
                  <a:gd name="T23" fmla="*/ 32 w 32"/>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6">
                    <a:moveTo>
                      <a:pt x="10" y="0"/>
                    </a:moveTo>
                    <a:cubicBezTo>
                      <a:pt x="11" y="9"/>
                      <a:pt x="5" y="42"/>
                      <a:pt x="20" y="32"/>
                    </a:cubicBezTo>
                    <a:cubicBezTo>
                      <a:pt x="21" y="31"/>
                      <a:pt x="27" y="20"/>
                      <a:pt x="30" y="22"/>
                    </a:cubicBezTo>
                    <a:cubicBezTo>
                      <a:pt x="32" y="23"/>
                      <a:pt x="29" y="26"/>
                      <a:pt x="28" y="28"/>
                    </a:cubicBezTo>
                    <a:cubicBezTo>
                      <a:pt x="24" y="34"/>
                      <a:pt x="16" y="46"/>
                      <a:pt x="16" y="46"/>
                    </a:cubicBezTo>
                    <a:cubicBezTo>
                      <a:pt x="7" y="43"/>
                      <a:pt x="7" y="34"/>
                      <a:pt x="2" y="26"/>
                    </a:cubicBezTo>
                    <a:cubicBezTo>
                      <a:pt x="4" y="5"/>
                      <a:pt x="0" y="13"/>
                      <a:pt x="10" y="0"/>
                    </a:cubicBezTo>
                    <a:close/>
                  </a:path>
                </a:pathLst>
              </a:custGeom>
              <a:solidFill>
                <a:srgbClr val="DEDED2"/>
              </a:solidFill>
              <a:ln w="9525">
                <a:noFill/>
                <a:round/>
                <a:headEnd/>
                <a:tailEnd/>
              </a:ln>
            </p:spPr>
            <p:txBody>
              <a:bodyPr wrap="none" anchor="ctr"/>
              <a:lstStyle/>
              <a:p>
                <a:pPr defTabSz="912546"/>
                <a:endParaRPr>
                  <a:solidFill>
                    <a:srgbClr val="000000"/>
                  </a:solidFill>
                </a:endParaRPr>
              </a:p>
            </p:txBody>
          </p:sp>
          <p:sp>
            <p:nvSpPr>
              <p:cNvPr id="441788" name="Freeform 621"/>
              <p:cNvSpPr>
                <a:spLocks/>
              </p:cNvSpPr>
              <p:nvPr/>
            </p:nvSpPr>
            <p:spPr bwMode="gray">
              <a:xfrm>
                <a:off x="3512" y="600"/>
                <a:ext cx="26" cy="50"/>
              </a:xfrm>
              <a:custGeom>
                <a:avLst/>
                <a:gdLst>
                  <a:gd name="T0" fmla="*/ 0 w 26"/>
                  <a:gd name="T1" fmla="*/ 16 h 50"/>
                  <a:gd name="T2" fmla="*/ 22 w 26"/>
                  <a:gd name="T3" fmla="*/ 38 h 50"/>
                  <a:gd name="T4" fmla="*/ 24 w 26"/>
                  <a:gd name="T5" fmla="*/ 28 h 50"/>
                  <a:gd name="T6" fmla="*/ 18 w 26"/>
                  <a:gd name="T7" fmla="*/ 4 h 50"/>
                  <a:gd name="T8" fmla="*/ 24 w 26"/>
                  <a:gd name="T9" fmla="*/ 16 h 50"/>
                  <a:gd name="T10" fmla="*/ 26 w 26"/>
                  <a:gd name="T11" fmla="*/ 24 h 50"/>
                  <a:gd name="T12" fmla="*/ 24 w 26"/>
                  <a:gd name="T13" fmla="*/ 38 h 50"/>
                  <a:gd name="T14" fmla="*/ 10 w 26"/>
                  <a:gd name="T15" fmla="*/ 30 h 50"/>
                  <a:gd name="T16" fmla="*/ 0 w 26"/>
                  <a:gd name="T17" fmla="*/ 16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0"/>
                  <a:gd name="T29" fmla="*/ 26 w 26"/>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0">
                    <a:moveTo>
                      <a:pt x="0" y="16"/>
                    </a:moveTo>
                    <a:cubicBezTo>
                      <a:pt x="16" y="21"/>
                      <a:pt x="13" y="25"/>
                      <a:pt x="22" y="38"/>
                    </a:cubicBezTo>
                    <a:cubicBezTo>
                      <a:pt x="23" y="35"/>
                      <a:pt x="24" y="31"/>
                      <a:pt x="24" y="28"/>
                    </a:cubicBezTo>
                    <a:cubicBezTo>
                      <a:pt x="24" y="20"/>
                      <a:pt x="20" y="11"/>
                      <a:pt x="18" y="4"/>
                    </a:cubicBezTo>
                    <a:cubicBezTo>
                      <a:pt x="17" y="0"/>
                      <a:pt x="23" y="12"/>
                      <a:pt x="24" y="16"/>
                    </a:cubicBezTo>
                    <a:cubicBezTo>
                      <a:pt x="25" y="19"/>
                      <a:pt x="25" y="21"/>
                      <a:pt x="26" y="24"/>
                    </a:cubicBezTo>
                    <a:cubicBezTo>
                      <a:pt x="25" y="29"/>
                      <a:pt x="25" y="33"/>
                      <a:pt x="24" y="38"/>
                    </a:cubicBezTo>
                    <a:cubicBezTo>
                      <a:pt x="22" y="50"/>
                      <a:pt x="17" y="32"/>
                      <a:pt x="10" y="30"/>
                    </a:cubicBezTo>
                    <a:cubicBezTo>
                      <a:pt x="7" y="21"/>
                      <a:pt x="3" y="25"/>
                      <a:pt x="0" y="16"/>
                    </a:cubicBezTo>
                    <a:close/>
                  </a:path>
                </a:pathLst>
              </a:custGeom>
              <a:solidFill>
                <a:srgbClr val="DEDED2"/>
              </a:solidFill>
              <a:ln w="9525">
                <a:noFill/>
                <a:round/>
                <a:headEnd/>
                <a:tailEnd/>
              </a:ln>
            </p:spPr>
            <p:txBody>
              <a:bodyPr wrap="none" anchor="ctr"/>
              <a:lstStyle/>
              <a:p>
                <a:pPr defTabSz="912546"/>
                <a:endParaRPr>
                  <a:solidFill>
                    <a:srgbClr val="000000"/>
                  </a:solidFill>
                </a:endParaRPr>
              </a:p>
            </p:txBody>
          </p:sp>
          <p:sp>
            <p:nvSpPr>
              <p:cNvPr id="441789" name="Freeform 622"/>
              <p:cNvSpPr>
                <a:spLocks/>
              </p:cNvSpPr>
              <p:nvPr/>
            </p:nvSpPr>
            <p:spPr bwMode="gray">
              <a:xfrm>
                <a:off x="3556" y="626"/>
                <a:ext cx="30" cy="70"/>
              </a:xfrm>
              <a:custGeom>
                <a:avLst/>
                <a:gdLst>
                  <a:gd name="T0" fmla="*/ 0 w 30"/>
                  <a:gd name="T1" fmla="*/ 0 h 70"/>
                  <a:gd name="T2" fmla="*/ 12 w 30"/>
                  <a:gd name="T3" fmla="*/ 70 h 70"/>
                  <a:gd name="T4" fmla="*/ 14 w 30"/>
                  <a:gd name="T5" fmla="*/ 18 h 70"/>
                  <a:gd name="T6" fmla="*/ 8 w 30"/>
                  <a:gd name="T7" fmla="*/ 30 h 70"/>
                  <a:gd name="T8" fmla="*/ 0 w 30"/>
                  <a:gd name="T9" fmla="*/ 0 h 70"/>
                  <a:gd name="T10" fmla="*/ 0 60000 65536"/>
                  <a:gd name="T11" fmla="*/ 0 60000 65536"/>
                  <a:gd name="T12" fmla="*/ 0 60000 65536"/>
                  <a:gd name="T13" fmla="*/ 0 60000 65536"/>
                  <a:gd name="T14" fmla="*/ 0 60000 65536"/>
                  <a:gd name="T15" fmla="*/ 0 w 30"/>
                  <a:gd name="T16" fmla="*/ 0 h 70"/>
                  <a:gd name="T17" fmla="*/ 30 w 30"/>
                  <a:gd name="T18" fmla="*/ 70 h 70"/>
                </a:gdLst>
                <a:ahLst/>
                <a:cxnLst>
                  <a:cxn ang="T10">
                    <a:pos x="T0" y="T1"/>
                  </a:cxn>
                  <a:cxn ang="T11">
                    <a:pos x="T2" y="T3"/>
                  </a:cxn>
                  <a:cxn ang="T12">
                    <a:pos x="T4" y="T5"/>
                  </a:cxn>
                  <a:cxn ang="T13">
                    <a:pos x="T6" y="T7"/>
                  </a:cxn>
                  <a:cxn ang="T14">
                    <a:pos x="T8" y="T9"/>
                  </a:cxn>
                </a:cxnLst>
                <a:rect l="T15" t="T16" r="T17" b="T18"/>
                <a:pathLst>
                  <a:path w="30" h="70">
                    <a:moveTo>
                      <a:pt x="0" y="0"/>
                    </a:moveTo>
                    <a:cubicBezTo>
                      <a:pt x="21" y="7"/>
                      <a:pt x="9" y="50"/>
                      <a:pt x="12" y="70"/>
                    </a:cubicBezTo>
                    <a:cubicBezTo>
                      <a:pt x="30" y="64"/>
                      <a:pt x="9" y="34"/>
                      <a:pt x="14" y="18"/>
                    </a:cubicBezTo>
                    <a:cubicBezTo>
                      <a:pt x="10" y="3"/>
                      <a:pt x="10" y="23"/>
                      <a:pt x="8" y="30"/>
                    </a:cubicBezTo>
                    <a:cubicBezTo>
                      <a:pt x="6" y="8"/>
                      <a:pt x="13" y="0"/>
                      <a:pt x="0" y="0"/>
                    </a:cubicBezTo>
                    <a:close/>
                  </a:path>
                </a:pathLst>
              </a:custGeom>
              <a:solidFill>
                <a:srgbClr val="DEDED2"/>
              </a:solidFill>
              <a:ln w="9525">
                <a:noFill/>
                <a:round/>
                <a:headEnd/>
                <a:tailEnd/>
              </a:ln>
            </p:spPr>
            <p:txBody>
              <a:bodyPr wrap="none" anchor="ctr"/>
              <a:lstStyle/>
              <a:p>
                <a:pPr defTabSz="912546"/>
                <a:endParaRPr>
                  <a:solidFill>
                    <a:srgbClr val="000000"/>
                  </a:solidFill>
                </a:endParaRPr>
              </a:p>
            </p:txBody>
          </p:sp>
          <p:sp>
            <p:nvSpPr>
              <p:cNvPr id="441790" name="Freeform 623"/>
              <p:cNvSpPr>
                <a:spLocks/>
              </p:cNvSpPr>
              <p:nvPr/>
            </p:nvSpPr>
            <p:spPr bwMode="gray">
              <a:xfrm>
                <a:off x="3456" y="492"/>
                <a:ext cx="83" cy="82"/>
              </a:xfrm>
              <a:custGeom>
                <a:avLst/>
                <a:gdLst>
                  <a:gd name="T0" fmla="*/ 76 w 83"/>
                  <a:gd name="T1" fmla="*/ 56 h 82"/>
                  <a:gd name="T2" fmla="*/ 68 w 83"/>
                  <a:gd name="T3" fmla="*/ 12 h 82"/>
                  <a:gd name="T4" fmla="*/ 40 w 83"/>
                  <a:gd name="T5" fmla="*/ 6 h 82"/>
                  <a:gd name="T6" fmla="*/ 14 w 83"/>
                  <a:gd name="T7" fmla="*/ 12 h 82"/>
                  <a:gd name="T8" fmla="*/ 0 w 83"/>
                  <a:gd name="T9" fmla="*/ 42 h 82"/>
                  <a:gd name="T10" fmla="*/ 4 w 83"/>
                  <a:gd name="T11" fmla="*/ 56 h 82"/>
                  <a:gd name="T12" fmla="*/ 12 w 83"/>
                  <a:gd name="T13" fmla="*/ 68 h 82"/>
                  <a:gd name="T14" fmla="*/ 10 w 83"/>
                  <a:gd name="T15" fmla="*/ 74 h 82"/>
                  <a:gd name="T16" fmla="*/ 22 w 83"/>
                  <a:gd name="T17" fmla="*/ 82 h 82"/>
                  <a:gd name="T18" fmla="*/ 28 w 83"/>
                  <a:gd name="T19" fmla="*/ 56 h 82"/>
                  <a:gd name="T20" fmla="*/ 32 w 83"/>
                  <a:gd name="T21" fmla="*/ 30 h 82"/>
                  <a:gd name="T22" fmla="*/ 64 w 83"/>
                  <a:gd name="T23" fmla="*/ 28 h 82"/>
                  <a:gd name="T24" fmla="*/ 76 w 83"/>
                  <a:gd name="T25" fmla="*/ 56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3"/>
                  <a:gd name="T40" fmla="*/ 0 h 82"/>
                  <a:gd name="T41" fmla="*/ 83 w 8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3" h="82">
                    <a:moveTo>
                      <a:pt x="76" y="56"/>
                    </a:moveTo>
                    <a:cubicBezTo>
                      <a:pt x="83" y="46"/>
                      <a:pt x="81" y="16"/>
                      <a:pt x="68" y="12"/>
                    </a:cubicBezTo>
                    <a:cubicBezTo>
                      <a:pt x="60" y="0"/>
                      <a:pt x="55" y="4"/>
                      <a:pt x="40" y="6"/>
                    </a:cubicBezTo>
                    <a:cubicBezTo>
                      <a:pt x="34" y="15"/>
                      <a:pt x="25" y="8"/>
                      <a:pt x="14" y="12"/>
                    </a:cubicBezTo>
                    <a:cubicBezTo>
                      <a:pt x="8" y="21"/>
                      <a:pt x="2" y="32"/>
                      <a:pt x="0" y="42"/>
                    </a:cubicBezTo>
                    <a:cubicBezTo>
                      <a:pt x="0" y="44"/>
                      <a:pt x="3" y="54"/>
                      <a:pt x="4" y="56"/>
                    </a:cubicBezTo>
                    <a:cubicBezTo>
                      <a:pt x="6" y="60"/>
                      <a:pt x="12" y="68"/>
                      <a:pt x="12" y="68"/>
                    </a:cubicBezTo>
                    <a:cubicBezTo>
                      <a:pt x="11" y="70"/>
                      <a:pt x="9" y="72"/>
                      <a:pt x="10" y="74"/>
                    </a:cubicBezTo>
                    <a:cubicBezTo>
                      <a:pt x="13" y="78"/>
                      <a:pt x="22" y="82"/>
                      <a:pt x="22" y="82"/>
                    </a:cubicBezTo>
                    <a:cubicBezTo>
                      <a:pt x="25" y="72"/>
                      <a:pt x="21" y="66"/>
                      <a:pt x="28" y="56"/>
                    </a:cubicBezTo>
                    <a:cubicBezTo>
                      <a:pt x="24" y="45"/>
                      <a:pt x="17" y="35"/>
                      <a:pt x="32" y="30"/>
                    </a:cubicBezTo>
                    <a:cubicBezTo>
                      <a:pt x="43" y="31"/>
                      <a:pt x="61" y="37"/>
                      <a:pt x="64" y="28"/>
                    </a:cubicBezTo>
                    <a:cubicBezTo>
                      <a:pt x="67" y="38"/>
                      <a:pt x="69" y="49"/>
                      <a:pt x="76" y="56"/>
                    </a:cubicBez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791" name="Freeform 624"/>
              <p:cNvSpPr>
                <a:spLocks/>
              </p:cNvSpPr>
              <p:nvPr/>
            </p:nvSpPr>
            <p:spPr bwMode="gray">
              <a:xfrm>
                <a:off x="3466" y="517"/>
                <a:ext cx="72" cy="96"/>
              </a:xfrm>
              <a:custGeom>
                <a:avLst/>
                <a:gdLst>
                  <a:gd name="T0" fmla="*/ 42 w 72"/>
                  <a:gd name="T1" fmla="*/ 1 h 96"/>
                  <a:gd name="T2" fmla="*/ 10 w 72"/>
                  <a:gd name="T3" fmla="*/ 17 h 96"/>
                  <a:gd name="T4" fmla="*/ 14 w 72"/>
                  <a:gd name="T5" fmla="*/ 39 h 96"/>
                  <a:gd name="T6" fmla="*/ 12 w 72"/>
                  <a:gd name="T7" fmla="*/ 51 h 96"/>
                  <a:gd name="T8" fmla="*/ 34 w 72"/>
                  <a:gd name="T9" fmla="*/ 95 h 96"/>
                  <a:gd name="T10" fmla="*/ 52 w 72"/>
                  <a:gd name="T11" fmla="*/ 91 h 96"/>
                  <a:gd name="T12" fmla="*/ 54 w 72"/>
                  <a:gd name="T13" fmla="*/ 73 h 96"/>
                  <a:gd name="T14" fmla="*/ 66 w 72"/>
                  <a:gd name="T15" fmla="*/ 31 h 96"/>
                  <a:gd name="T16" fmla="*/ 56 w 72"/>
                  <a:gd name="T17" fmla="*/ 7 h 96"/>
                  <a:gd name="T18" fmla="*/ 42 w 72"/>
                  <a:gd name="T19" fmla="*/ 1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96"/>
                  <a:gd name="T32" fmla="*/ 72 w 72"/>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96">
                    <a:moveTo>
                      <a:pt x="42" y="1"/>
                    </a:moveTo>
                    <a:cubicBezTo>
                      <a:pt x="24" y="3"/>
                      <a:pt x="16" y="0"/>
                      <a:pt x="10" y="17"/>
                    </a:cubicBezTo>
                    <a:cubicBezTo>
                      <a:pt x="12" y="26"/>
                      <a:pt x="17" y="31"/>
                      <a:pt x="14" y="39"/>
                    </a:cubicBezTo>
                    <a:cubicBezTo>
                      <a:pt x="2" y="35"/>
                      <a:pt x="2" y="48"/>
                      <a:pt x="12" y="51"/>
                    </a:cubicBezTo>
                    <a:cubicBezTo>
                      <a:pt x="25" y="70"/>
                      <a:pt x="0" y="84"/>
                      <a:pt x="34" y="95"/>
                    </a:cubicBezTo>
                    <a:cubicBezTo>
                      <a:pt x="40" y="94"/>
                      <a:pt x="48" y="96"/>
                      <a:pt x="52" y="91"/>
                    </a:cubicBezTo>
                    <a:cubicBezTo>
                      <a:pt x="64" y="75"/>
                      <a:pt x="52" y="77"/>
                      <a:pt x="54" y="73"/>
                    </a:cubicBezTo>
                    <a:cubicBezTo>
                      <a:pt x="58" y="60"/>
                      <a:pt x="72" y="61"/>
                      <a:pt x="66" y="31"/>
                    </a:cubicBezTo>
                    <a:cubicBezTo>
                      <a:pt x="67" y="23"/>
                      <a:pt x="72" y="12"/>
                      <a:pt x="56" y="7"/>
                    </a:cubicBezTo>
                    <a:cubicBezTo>
                      <a:pt x="43" y="3"/>
                      <a:pt x="47" y="6"/>
                      <a:pt x="42" y="1"/>
                    </a:cubicBezTo>
                    <a:close/>
                  </a:path>
                </a:pathLst>
              </a:custGeom>
              <a:solidFill>
                <a:srgbClr val="C7A87F"/>
              </a:solidFill>
              <a:ln w="9525">
                <a:noFill/>
                <a:round/>
                <a:headEnd/>
                <a:tailEnd/>
              </a:ln>
            </p:spPr>
            <p:txBody>
              <a:bodyPr wrap="none" anchor="ctr"/>
              <a:lstStyle/>
              <a:p>
                <a:pPr defTabSz="912546"/>
                <a:endParaRPr>
                  <a:solidFill>
                    <a:srgbClr val="000000"/>
                  </a:solidFill>
                </a:endParaRPr>
              </a:p>
            </p:txBody>
          </p:sp>
          <p:sp>
            <p:nvSpPr>
              <p:cNvPr id="441792" name="Freeform 625"/>
              <p:cNvSpPr>
                <a:spLocks/>
              </p:cNvSpPr>
              <p:nvPr/>
            </p:nvSpPr>
            <p:spPr bwMode="gray">
              <a:xfrm>
                <a:off x="3524" y="698"/>
                <a:ext cx="67" cy="61"/>
              </a:xfrm>
              <a:custGeom>
                <a:avLst/>
                <a:gdLst>
                  <a:gd name="T0" fmla="*/ 2 w 67"/>
                  <a:gd name="T1" fmla="*/ 22 h 61"/>
                  <a:gd name="T2" fmla="*/ 24 w 67"/>
                  <a:gd name="T3" fmla="*/ 36 h 61"/>
                  <a:gd name="T4" fmla="*/ 40 w 67"/>
                  <a:gd name="T5" fmla="*/ 30 h 61"/>
                  <a:gd name="T6" fmla="*/ 40 w 67"/>
                  <a:gd name="T7" fmla="*/ 42 h 61"/>
                  <a:gd name="T8" fmla="*/ 64 w 67"/>
                  <a:gd name="T9" fmla="*/ 26 h 61"/>
                  <a:gd name="T10" fmla="*/ 56 w 67"/>
                  <a:gd name="T11" fmla="*/ 10 h 61"/>
                  <a:gd name="T12" fmla="*/ 30 w 67"/>
                  <a:gd name="T13" fmla="*/ 0 h 61"/>
                  <a:gd name="T14" fmla="*/ 14 w 67"/>
                  <a:gd name="T15" fmla="*/ 18 h 61"/>
                  <a:gd name="T16" fmla="*/ 2 w 67"/>
                  <a:gd name="T17" fmla="*/ 22 h 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61"/>
                  <a:gd name="T29" fmla="*/ 67 w 67"/>
                  <a:gd name="T30" fmla="*/ 61 h 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61">
                    <a:moveTo>
                      <a:pt x="2" y="22"/>
                    </a:moveTo>
                    <a:cubicBezTo>
                      <a:pt x="5" y="61"/>
                      <a:pt x="5" y="42"/>
                      <a:pt x="24" y="36"/>
                    </a:cubicBezTo>
                    <a:cubicBezTo>
                      <a:pt x="29" y="28"/>
                      <a:pt x="31" y="27"/>
                      <a:pt x="40" y="30"/>
                    </a:cubicBezTo>
                    <a:cubicBezTo>
                      <a:pt x="32" y="36"/>
                      <a:pt x="28" y="39"/>
                      <a:pt x="40" y="42"/>
                    </a:cubicBezTo>
                    <a:cubicBezTo>
                      <a:pt x="46" y="33"/>
                      <a:pt x="54" y="29"/>
                      <a:pt x="64" y="26"/>
                    </a:cubicBezTo>
                    <a:cubicBezTo>
                      <a:pt x="67" y="17"/>
                      <a:pt x="63" y="15"/>
                      <a:pt x="56" y="10"/>
                    </a:cubicBezTo>
                    <a:cubicBezTo>
                      <a:pt x="53" y="2"/>
                      <a:pt x="38" y="3"/>
                      <a:pt x="30" y="0"/>
                    </a:cubicBezTo>
                    <a:cubicBezTo>
                      <a:pt x="26" y="6"/>
                      <a:pt x="20" y="14"/>
                      <a:pt x="14" y="18"/>
                    </a:cubicBezTo>
                    <a:cubicBezTo>
                      <a:pt x="0" y="27"/>
                      <a:pt x="2" y="30"/>
                      <a:pt x="2" y="22"/>
                    </a:cubicBezTo>
                    <a:close/>
                  </a:path>
                </a:pathLst>
              </a:custGeom>
              <a:solidFill>
                <a:srgbClr val="C7A87F"/>
              </a:solidFill>
              <a:ln w="9525">
                <a:noFill/>
                <a:round/>
                <a:headEnd/>
                <a:tailEnd/>
              </a:ln>
            </p:spPr>
            <p:txBody>
              <a:bodyPr wrap="none" anchor="ctr"/>
              <a:lstStyle/>
              <a:p>
                <a:pPr defTabSz="912546"/>
                <a:endParaRPr>
                  <a:solidFill>
                    <a:srgbClr val="000000"/>
                  </a:solidFill>
                </a:endParaRPr>
              </a:p>
            </p:txBody>
          </p:sp>
          <p:sp>
            <p:nvSpPr>
              <p:cNvPr id="441793" name="Freeform 626"/>
              <p:cNvSpPr>
                <a:spLocks/>
              </p:cNvSpPr>
              <p:nvPr/>
            </p:nvSpPr>
            <p:spPr bwMode="gray">
              <a:xfrm>
                <a:off x="3438" y="746"/>
                <a:ext cx="88" cy="26"/>
              </a:xfrm>
              <a:custGeom>
                <a:avLst/>
                <a:gdLst>
                  <a:gd name="T0" fmla="*/ 74 w 88"/>
                  <a:gd name="T1" fmla="*/ 8 h 26"/>
                  <a:gd name="T2" fmla="*/ 58 w 88"/>
                  <a:gd name="T3" fmla="*/ 22 h 26"/>
                  <a:gd name="T4" fmla="*/ 46 w 88"/>
                  <a:gd name="T5" fmla="*/ 26 h 26"/>
                  <a:gd name="T6" fmla="*/ 10 w 88"/>
                  <a:gd name="T7" fmla="*/ 24 h 26"/>
                  <a:gd name="T8" fmla="*/ 8 w 88"/>
                  <a:gd name="T9" fmla="*/ 18 h 26"/>
                  <a:gd name="T10" fmla="*/ 2 w 88"/>
                  <a:gd name="T11" fmla="*/ 14 h 26"/>
                  <a:gd name="T12" fmla="*/ 10 w 88"/>
                  <a:gd name="T13" fmla="*/ 16 h 26"/>
                  <a:gd name="T14" fmla="*/ 28 w 88"/>
                  <a:gd name="T15" fmla="*/ 22 h 26"/>
                  <a:gd name="T16" fmla="*/ 66 w 88"/>
                  <a:gd name="T17" fmla="*/ 16 h 26"/>
                  <a:gd name="T18" fmla="*/ 88 w 88"/>
                  <a:gd name="T19" fmla="*/ 0 h 26"/>
                  <a:gd name="T20" fmla="*/ 74 w 88"/>
                  <a:gd name="T21" fmla="*/ 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26"/>
                  <a:gd name="T35" fmla="*/ 88 w 88"/>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26">
                    <a:moveTo>
                      <a:pt x="74" y="8"/>
                    </a:moveTo>
                    <a:cubicBezTo>
                      <a:pt x="71" y="19"/>
                      <a:pt x="69" y="19"/>
                      <a:pt x="58" y="22"/>
                    </a:cubicBezTo>
                    <a:cubicBezTo>
                      <a:pt x="54" y="23"/>
                      <a:pt x="46" y="26"/>
                      <a:pt x="46" y="26"/>
                    </a:cubicBezTo>
                    <a:cubicBezTo>
                      <a:pt x="34" y="25"/>
                      <a:pt x="22" y="26"/>
                      <a:pt x="10" y="24"/>
                    </a:cubicBezTo>
                    <a:cubicBezTo>
                      <a:pt x="8" y="24"/>
                      <a:pt x="9" y="20"/>
                      <a:pt x="8" y="18"/>
                    </a:cubicBezTo>
                    <a:cubicBezTo>
                      <a:pt x="6" y="16"/>
                      <a:pt x="0" y="16"/>
                      <a:pt x="2" y="14"/>
                    </a:cubicBezTo>
                    <a:cubicBezTo>
                      <a:pt x="4" y="12"/>
                      <a:pt x="7" y="15"/>
                      <a:pt x="10" y="16"/>
                    </a:cubicBezTo>
                    <a:cubicBezTo>
                      <a:pt x="16" y="18"/>
                      <a:pt x="28" y="22"/>
                      <a:pt x="28" y="22"/>
                    </a:cubicBezTo>
                    <a:cubicBezTo>
                      <a:pt x="41" y="19"/>
                      <a:pt x="54" y="20"/>
                      <a:pt x="66" y="16"/>
                    </a:cubicBezTo>
                    <a:cubicBezTo>
                      <a:pt x="72" y="8"/>
                      <a:pt x="79" y="3"/>
                      <a:pt x="88" y="0"/>
                    </a:cubicBezTo>
                    <a:cubicBezTo>
                      <a:pt x="85" y="4"/>
                      <a:pt x="66" y="16"/>
                      <a:pt x="74" y="8"/>
                    </a:cubicBezTo>
                    <a:close/>
                  </a:path>
                </a:pathLst>
              </a:custGeom>
              <a:solidFill>
                <a:srgbClr val="DEDED2"/>
              </a:solidFill>
              <a:ln w="9525">
                <a:noFill/>
                <a:round/>
                <a:headEnd/>
                <a:tailEnd/>
              </a:ln>
            </p:spPr>
            <p:txBody>
              <a:bodyPr wrap="none" anchor="ctr"/>
              <a:lstStyle/>
              <a:p>
                <a:pPr defTabSz="912546"/>
                <a:endParaRPr>
                  <a:solidFill>
                    <a:srgbClr val="000000"/>
                  </a:solidFill>
                </a:endParaRPr>
              </a:p>
            </p:txBody>
          </p:sp>
          <p:sp>
            <p:nvSpPr>
              <p:cNvPr id="441794" name="Freeform 627"/>
              <p:cNvSpPr>
                <a:spLocks/>
              </p:cNvSpPr>
              <p:nvPr/>
            </p:nvSpPr>
            <p:spPr bwMode="gray">
              <a:xfrm>
                <a:off x="3522" y="712"/>
                <a:ext cx="136" cy="84"/>
              </a:xfrm>
              <a:custGeom>
                <a:avLst/>
                <a:gdLst>
                  <a:gd name="T0" fmla="*/ 70 w 136"/>
                  <a:gd name="T1" fmla="*/ 10 h 84"/>
                  <a:gd name="T2" fmla="*/ 46 w 136"/>
                  <a:gd name="T3" fmla="*/ 22 h 84"/>
                  <a:gd name="T4" fmla="*/ 0 w 136"/>
                  <a:gd name="T5" fmla="*/ 84 h 84"/>
                  <a:gd name="T6" fmla="*/ 74 w 136"/>
                  <a:gd name="T7" fmla="*/ 72 h 84"/>
                  <a:gd name="T8" fmla="*/ 136 w 136"/>
                  <a:gd name="T9" fmla="*/ 16 h 84"/>
                  <a:gd name="T10" fmla="*/ 114 w 136"/>
                  <a:gd name="T11" fmla="*/ 2 h 84"/>
                  <a:gd name="T12" fmla="*/ 102 w 136"/>
                  <a:gd name="T13" fmla="*/ 6 h 84"/>
                  <a:gd name="T14" fmla="*/ 70 w 136"/>
                  <a:gd name="T15" fmla="*/ 10 h 84"/>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84"/>
                  <a:gd name="T26" fmla="*/ 136 w 136"/>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84">
                    <a:moveTo>
                      <a:pt x="70" y="10"/>
                    </a:moveTo>
                    <a:lnTo>
                      <a:pt x="46" y="22"/>
                    </a:lnTo>
                    <a:lnTo>
                      <a:pt x="0" y="84"/>
                    </a:lnTo>
                    <a:lnTo>
                      <a:pt x="74" y="72"/>
                    </a:lnTo>
                    <a:cubicBezTo>
                      <a:pt x="132" y="20"/>
                      <a:pt x="116" y="40"/>
                      <a:pt x="136" y="16"/>
                    </a:cubicBezTo>
                    <a:cubicBezTo>
                      <a:pt x="131" y="10"/>
                      <a:pt x="121" y="6"/>
                      <a:pt x="114" y="2"/>
                    </a:cubicBezTo>
                    <a:cubicBezTo>
                      <a:pt x="110" y="0"/>
                      <a:pt x="102" y="6"/>
                      <a:pt x="102" y="6"/>
                    </a:cubicBezTo>
                    <a:cubicBezTo>
                      <a:pt x="95" y="7"/>
                      <a:pt x="79" y="7"/>
                      <a:pt x="70" y="10"/>
                    </a:cubicBezTo>
                    <a:close/>
                  </a:path>
                </a:pathLst>
              </a:custGeom>
              <a:solidFill>
                <a:srgbClr val="6F5339"/>
              </a:solidFill>
              <a:ln w="9525">
                <a:noFill/>
                <a:round/>
                <a:headEnd/>
                <a:tailEnd/>
              </a:ln>
            </p:spPr>
            <p:txBody>
              <a:bodyPr wrap="none" anchor="ctr"/>
              <a:lstStyle/>
              <a:p>
                <a:pPr defTabSz="912546"/>
                <a:endParaRPr>
                  <a:solidFill>
                    <a:srgbClr val="000000"/>
                  </a:solidFill>
                </a:endParaRPr>
              </a:p>
            </p:txBody>
          </p:sp>
          <p:sp>
            <p:nvSpPr>
              <p:cNvPr id="441795" name="Freeform 628"/>
              <p:cNvSpPr>
                <a:spLocks/>
              </p:cNvSpPr>
              <p:nvPr/>
            </p:nvSpPr>
            <p:spPr bwMode="gray">
              <a:xfrm>
                <a:off x="3569" y="742"/>
                <a:ext cx="73" cy="40"/>
              </a:xfrm>
              <a:custGeom>
                <a:avLst/>
                <a:gdLst>
                  <a:gd name="T0" fmla="*/ 73 w 73"/>
                  <a:gd name="T1" fmla="*/ 0 h 40"/>
                  <a:gd name="T2" fmla="*/ 57 w 73"/>
                  <a:gd name="T3" fmla="*/ 30 h 40"/>
                  <a:gd name="T4" fmla="*/ 41 w 73"/>
                  <a:gd name="T5" fmla="*/ 40 h 40"/>
                  <a:gd name="T6" fmla="*/ 23 w 73"/>
                  <a:gd name="T7" fmla="*/ 30 h 40"/>
                  <a:gd name="T8" fmla="*/ 55 w 73"/>
                  <a:gd name="T9" fmla="*/ 12 h 40"/>
                  <a:gd name="T10" fmla="*/ 71 w 73"/>
                  <a:gd name="T11" fmla="*/ 8 h 40"/>
                  <a:gd name="T12" fmla="*/ 73 w 73"/>
                  <a:gd name="T13" fmla="*/ 0 h 40"/>
                  <a:gd name="T14" fmla="*/ 0 60000 65536"/>
                  <a:gd name="T15" fmla="*/ 0 60000 65536"/>
                  <a:gd name="T16" fmla="*/ 0 60000 65536"/>
                  <a:gd name="T17" fmla="*/ 0 60000 65536"/>
                  <a:gd name="T18" fmla="*/ 0 60000 65536"/>
                  <a:gd name="T19" fmla="*/ 0 60000 65536"/>
                  <a:gd name="T20" fmla="*/ 0 60000 65536"/>
                  <a:gd name="T21" fmla="*/ 0 w 73"/>
                  <a:gd name="T22" fmla="*/ 0 h 40"/>
                  <a:gd name="T23" fmla="*/ 73 w 73"/>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40">
                    <a:moveTo>
                      <a:pt x="73" y="0"/>
                    </a:moveTo>
                    <a:cubicBezTo>
                      <a:pt x="70" y="11"/>
                      <a:pt x="67" y="24"/>
                      <a:pt x="57" y="30"/>
                    </a:cubicBezTo>
                    <a:cubicBezTo>
                      <a:pt x="54" y="35"/>
                      <a:pt x="41" y="40"/>
                      <a:pt x="41" y="40"/>
                    </a:cubicBezTo>
                    <a:cubicBezTo>
                      <a:pt x="33" y="39"/>
                      <a:pt x="0" y="38"/>
                      <a:pt x="23" y="30"/>
                    </a:cubicBezTo>
                    <a:cubicBezTo>
                      <a:pt x="4" y="24"/>
                      <a:pt x="48" y="14"/>
                      <a:pt x="55" y="12"/>
                    </a:cubicBezTo>
                    <a:cubicBezTo>
                      <a:pt x="60" y="11"/>
                      <a:pt x="68" y="12"/>
                      <a:pt x="71" y="8"/>
                    </a:cubicBezTo>
                    <a:cubicBezTo>
                      <a:pt x="73" y="6"/>
                      <a:pt x="72" y="3"/>
                      <a:pt x="73" y="0"/>
                    </a:cubicBezTo>
                    <a:close/>
                  </a:path>
                </a:pathLst>
              </a:custGeom>
              <a:solidFill>
                <a:srgbClr val="C7A87F"/>
              </a:solidFill>
              <a:ln w="9525">
                <a:noFill/>
                <a:round/>
                <a:headEnd/>
                <a:tailEnd/>
              </a:ln>
            </p:spPr>
            <p:txBody>
              <a:bodyPr wrap="none" anchor="ctr"/>
              <a:lstStyle/>
              <a:p>
                <a:pPr defTabSz="912546"/>
                <a:endParaRPr>
                  <a:solidFill>
                    <a:srgbClr val="000000"/>
                  </a:solidFill>
                </a:endParaRPr>
              </a:p>
            </p:txBody>
          </p:sp>
          <p:sp>
            <p:nvSpPr>
              <p:cNvPr id="441796" name="Freeform 629"/>
              <p:cNvSpPr>
                <a:spLocks/>
              </p:cNvSpPr>
              <p:nvPr/>
            </p:nvSpPr>
            <p:spPr bwMode="gray">
              <a:xfrm>
                <a:off x="3548" y="674"/>
                <a:ext cx="30" cy="30"/>
              </a:xfrm>
              <a:custGeom>
                <a:avLst/>
                <a:gdLst>
                  <a:gd name="T0" fmla="*/ 30 w 30"/>
                  <a:gd name="T1" fmla="*/ 30 h 30"/>
                  <a:gd name="T2" fmla="*/ 0 w 30"/>
                  <a:gd name="T3" fmla="*/ 0 h 30"/>
                  <a:gd name="T4" fmla="*/ 30 w 30"/>
                  <a:gd name="T5" fmla="*/ 30 h 30"/>
                  <a:gd name="T6" fmla="*/ 0 60000 65536"/>
                  <a:gd name="T7" fmla="*/ 0 60000 65536"/>
                  <a:gd name="T8" fmla="*/ 0 60000 65536"/>
                  <a:gd name="T9" fmla="*/ 0 w 30"/>
                  <a:gd name="T10" fmla="*/ 0 h 30"/>
                  <a:gd name="T11" fmla="*/ 30 w 30"/>
                  <a:gd name="T12" fmla="*/ 30 h 30"/>
                </a:gdLst>
                <a:ahLst/>
                <a:cxnLst>
                  <a:cxn ang="T6">
                    <a:pos x="T0" y="T1"/>
                  </a:cxn>
                  <a:cxn ang="T7">
                    <a:pos x="T2" y="T3"/>
                  </a:cxn>
                  <a:cxn ang="T8">
                    <a:pos x="T4" y="T5"/>
                  </a:cxn>
                </a:cxnLst>
                <a:rect l="T9" t="T10" r="T11" b="T12"/>
                <a:pathLst>
                  <a:path w="30" h="30">
                    <a:moveTo>
                      <a:pt x="30" y="30"/>
                    </a:moveTo>
                    <a:cubicBezTo>
                      <a:pt x="18" y="26"/>
                      <a:pt x="12" y="8"/>
                      <a:pt x="0" y="0"/>
                    </a:cubicBezTo>
                    <a:cubicBezTo>
                      <a:pt x="6" y="17"/>
                      <a:pt x="10" y="30"/>
                      <a:pt x="30" y="30"/>
                    </a:cubicBezTo>
                    <a:close/>
                  </a:path>
                </a:pathLst>
              </a:custGeom>
              <a:solidFill>
                <a:schemeClr val="hlink"/>
              </a:solidFill>
              <a:ln w="9525">
                <a:noFill/>
                <a:round/>
                <a:headEnd/>
                <a:tailEnd/>
              </a:ln>
            </p:spPr>
            <p:txBody>
              <a:bodyPr wrap="none" anchor="ctr"/>
              <a:lstStyle/>
              <a:p>
                <a:pPr defTabSz="912546"/>
                <a:endParaRPr>
                  <a:solidFill>
                    <a:srgbClr val="000000"/>
                  </a:solidFill>
                </a:endParaRPr>
              </a:p>
            </p:txBody>
          </p:sp>
          <p:sp>
            <p:nvSpPr>
              <p:cNvPr id="441797" name="Freeform 630"/>
              <p:cNvSpPr>
                <a:spLocks/>
              </p:cNvSpPr>
              <p:nvPr/>
            </p:nvSpPr>
            <p:spPr bwMode="gray">
              <a:xfrm>
                <a:off x="3444" y="790"/>
                <a:ext cx="104" cy="66"/>
              </a:xfrm>
              <a:custGeom>
                <a:avLst/>
                <a:gdLst>
                  <a:gd name="T0" fmla="*/ 4 w 104"/>
                  <a:gd name="T1" fmla="*/ 48 h 66"/>
                  <a:gd name="T2" fmla="*/ 20 w 104"/>
                  <a:gd name="T3" fmla="*/ 18 h 66"/>
                  <a:gd name="T4" fmla="*/ 18 w 104"/>
                  <a:gd name="T5" fmla="*/ 6 h 66"/>
                  <a:gd name="T6" fmla="*/ 78 w 104"/>
                  <a:gd name="T7" fmla="*/ 8 h 66"/>
                  <a:gd name="T8" fmla="*/ 98 w 104"/>
                  <a:gd name="T9" fmla="*/ 2 h 66"/>
                  <a:gd name="T10" fmla="*/ 104 w 104"/>
                  <a:gd name="T11" fmla="*/ 0 h 66"/>
                  <a:gd name="T12" fmla="*/ 88 w 104"/>
                  <a:gd name="T13" fmla="*/ 10 h 66"/>
                  <a:gd name="T14" fmla="*/ 76 w 104"/>
                  <a:gd name="T15" fmla="*/ 66 h 66"/>
                  <a:gd name="T16" fmla="*/ 74 w 104"/>
                  <a:gd name="T17" fmla="*/ 18 h 66"/>
                  <a:gd name="T18" fmla="*/ 38 w 104"/>
                  <a:gd name="T19" fmla="*/ 14 h 66"/>
                  <a:gd name="T20" fmla="*/ 8 w 104"/>
                  <a:gd name="T21" fmla="*/ 50 h 66"/>
                  <a:gd name="T22" fmla="*/ 6 w 104"/>
                  <a:gd name="T23" fmla="*/ 48 h 66"/>
                  <a:gd name="T24" fmla="*/ 4 w 104"/>
                  <a:gd name="T25" fmla="*/ 48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66"/>
                  <a:gd name="T41" fmla="*/ 104 w 104"/>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66">
                    <a:moveTo>
                      <a:pt x="4" y="48"/>
                    </a:moveTo>
                    <a:cubicBezTo>
                      <a:pt x="11" y="38"/>
                      <a:pt x="13" y="28"/>
                      <a:pt x="20" y="18"/>
                    </a:cubicBezTo>
                    <a:cubicBezTo>
                      <a:pt x="17" y="4"/>
                      <a:pt x="6" y="10"/>
                      <a:pt x="18" y="6"/>
                    </a:cubicBezTo>
                    <a:cubicBezTo>
                      <a:pt x="38" y="7"/>
                      <a:pt x="58" y="5"/>
                      <a:pt x="78" y="8"/>
                    </a:cubicBezTo>
                    <a:cubicBezTo>
                      <a:pt x="90" y="5"/>
                      <a:pt x="83" y="7"/>
                      <a:pt x="98" y="2"/>
                    </a:cubicBezTo>
                    <a:cubicBezTo>
                      <a:pt x="100" y="1"/>
                      <a:pt x="104" y="0"/>
                      <a:pt x="104" y="0"/>
                    </a:cubicBezTo>
                    <a:cubicBezTo>
                      <a:pt x="101" y="5"/>
                      <a:pt x="88" y="10"/>
                      <a:pt x="88" y="10"/>
                    </a:cubicBezTo>
                    <a:cubicBezTo>
                      <a:pt x="77" y="27"/>
                      <a:pt x="82" y="47"/>
                      <a:pt x="76" y="66"/>
                    </a:cubicBezTo>
                    <a:cubicBezTo>
                      <a:pt x="73" y="53"/>
                      <a:pt x="81" y="29"/>
                      <a:pt x="74" y="18"/>
                    </a:cubicBezTo>
                    <a:cubicBezTo>
                      <a:pt x="74" y="17"/>
                      <a:pt x="45" y="15"/>
                      <a:pt x="38" y="14"/>
                    </a:cubicBezTo>
                    <a:cubicBezTo>
                      <a:pt x="13" y="18"/>
                      <a:pt x="27" y="38"/>
                      <a:pt x="8" y="50"/>
                    </a:cubicBezTo>
                    <a:cubicBezTo>
                      <a:pt x="0" y="62"/>
                      <a:pt x="6" y="54"/>
                      <a:pt x="6" y="48"/>
                    </a:cubicBezTo>
                    <a:cubicBezTo>
                      <a:pt x="6" y="47"/>
                      <a:pt x="5" y="48"/>
                      <a:pt x="4" y="48"/>
                    </a:cubicBez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798" name="Freeform 631"/>
              <p:cNvSpPr>
                <a:spLocks/>
              </p:cNvSpPr>
              <p:nvPr/>
            </p:nvSpPr>
            <p:spPr bwMode="gray">
              <a:xfrm>
                <a:off x="3487" y="853"/>
                <a:ext cx="64" cy="187"/>
              </a:xfrm>
              <a:custGeom>
                <a:avLst/>
                <a:gdLst>
                  <a:gd name="T0" fmla="*/ 55 w 64"/>
                  <a:gd name="T1" fmla="*/ 9 h 187"/>
                  <a:gd name="T2" fmla="*/ 43 w 64"/>
                  <a:gd name="T3" fmla="*/ 15 h 187"/>
                  <a:gd name="T4" fmla="*/ 39 w 64"/>
                  <a:gd name="T5" fmla="*/ 27 h 187"/>
                  <a:gd name="T6" fmla="*/ 45 w 64"/>
                  <a:gd name="T7" fmla="*/ 169 h 187"/>
                  <a:gd name="T8" fmla="*/ 39 w 64"/>
                  <a:gd name="T9" fmla="*/ 161 h 187"/>
                  <a:gd name="T10" fmla="*/ 33 w 64"/>
                  <a:gd name="T11" fmla="*/ 121 h 187"/>
                  <a:gd name="T12" fmla="*/ 27 w 64"/>
                  <a:gd name="T13" fmla="*/ 39 h 187"/>
                  <a:gd name="T14" fmla="*/ 15 w 64"/>
                  <a:gd name="T15" fmla="*/ 31 h 187"/>
                  <a:gd name="T16" fmla="*/ 15 w 64"/>
                  <a:gd name="T17" fmla="*/ 45 h 187"/>
                  <a:gd name="T18" fmla="*/ 7 w 64"/>
                  <a:gd name="T19" fmla="*/ 79 h 187"/>
                  <a:gd name="T20" fmla="*/ 9 w 64"/>
                  <a:gd name="T21" fmla="*/ 81 h 187"/>
                  <a:gd name="T22" fmla="*/ 21 w 64"/>
                  <a:gd name="T23" fmla="*/ 23 h 187"/>
                  <a:gd name="T24" fmla="*/ 47 w 64"/>
                  <a:gd name="T25" fmla="*/ 13 h 187"/>
                  <a:gd name="T26" fmla="*/ 55 w 64"/>
                  <a:gd name="T27" fmla="*/ 9 h 1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187"/>
                  <a:gd name="T44" fmla="*/ 64 w 64"/>
                  <a:gd name="T45" fmla="*/ 187 h 1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187">
                    <a:moveTo>
                      <a:pt x="55" y="9"/>
                    </a:moveTo>
                    <a:cubicBezTo>
                      <a:pt x="52" y="10"/>
                      <a:pt x="45" y="12"/>
                      <a:pt x="43" y="15"/>
                    </a:cubicBezTo>
                    <a:cubicBezTo>
                      <a:pt x="41" y="19"/>
                      <a:pt x="39" y="27"/>
                      <a:pt x="39" y="27"/>
                    </a:cubicBezTo>
                    <a:cubicBezTo>
                      <a:pt x="45" y="74"/>
                      <a:pt x="41" y="122"/>
                      <a:pt x="45" y="169"/>
                    </a:cubicBezTo>
                    <a:cubicBezTo>
                      <a:pt x="40" y="187"/>
                      <a:pt x="41" y="168"/>
                      <a:pt x="39" y="161"/>
                    </a:cubicBezTo>
                    <a:cubicBezTo>
                      <a:pt x="34" y="129"/>
                      <a:pt x="37" y="142"/>
                      <a:pt x="33" y="121"/>
                    </a:cubicBezTo>
                    <a:cubicBezTo>
                      <a:pt x="31" y="94"/>
                      <a:pt x="29" y="66"/>
                      <a:pt x="27" y="39"/>
                    </a:cubicBezTo>
                    <a:cubicBezTo>
                      <a:pt x="30" y="21"/>
                      <a:pt x="27" y="27"/>
                      <a:pt x="15" y="31"/>
                    </a:cubicBezTo>
                    <a:cubicBezTo>
                      <a:pt x="25" y="34"/>
                      <a:pt x="20" y="38"/>
                      <a:pt x="15" y="45"/>
                    </a:cubicBezTo>
                    <a:cubicBezTo>
                      <a:pt x="12" y="56"/>
                      <a:pt x="10" y="68"/>
                      <a:pt x="7" y="79"/>
                    </a:cubicBezTo>
                    <a:cubicBezTo>
                      <a:pt x="0" y="109"/>
                      <a:pt x="4" y="91"/>
                      <a:pt x="9" y="81"/>
                    </a:cubicBezTo>
                    <a:cubicBezTo>
                      <a:pt x="11" y="69"/>
                      <a:pt x="15" y="32"/>
                      <a:pt x="21" y="23"/>
                    </a:cubicBezTo>
                    <a:cubicBezTo>
                      <a:pt x="23" y="20"/>
                      <a:pt x="43" y="15"/>
                      <a:pt x="47" y="13"/>
                    </a:cubicBezTo>
                    <a:cubicBezTo>
                      <a:pt x="57" y="7"/>
                      <a:pt x="64" y="0"/>
                      <a:pt x="55" y="9"/>
                    </a:cubicBez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799" name="Freeform 632"/>
              <p:cNvSpPr>
                <a:spLocks/>
              </p:cNvSpPr>
              <p:nvPr/>
            </p:nvSpPr>
            <p:spPr bwMode="gray">
              <a:xfrm>
                <a:off x="3490" y="540"/>
                <a:ext cx="20" cy="13"/>
              </a:xfrm>
              <a:custGeom>
                <a:avLst/>
                <a:gdLst>
                  <a:gd name="T0" fmla="*/ 20 w 20"/>
                  <a:gd name="T1" fmla="*/ 4 h 13"/>
                  <a:gd name="T2" fmla="*/ 0 w 20"/>
                  <a:gd name="T3" fmla="*/ 10 h 13"/>
                  <a:gd name="T4" fmla="*/ 20 w 20"/>
                  <a:gd name="T5" fmla="*/ 4 h 13"/>
                  <a:gd name="T6" fmla="*/ 0 60000 65536"/>
                  <a:gd name="T7" fmla="*/ 0 60000 65536"/>
                  <a:gd name="T8" fmla="*/ 0 60000 65536"/>
                  <a:gd name="T9" fmla="*/ 0 w 20"/>
                  <a:gd name="T10" fmla="*/ 0 h 13"/>
                  <a:gd name="T11" fmla="*/ 20 w 20"/>
                  <a:gd name="T12" fmla="*/ 13 h 13"/>
                </a:gdLst>
                <a:ahLst/>
                <a:cxnLst>
                  <a:cxn ang="T6">
                    <a:pos x="T0" y="T1"/>
                  </a:cxn>
                  <a:cxn ang="T7">
                    <a:pos x="T2" y="T3"/>
                  </a:cxn>
                  <a:cxn ang="T8">
                    <a:pos x="T4" y="T5"/>
                  </a:cxn>
                </a:cxnLst>
                <a:rect l="T9" t="T10" r="T11" b="T12"/>
                <a:pathLst>
                  <a:path w="20" h="13">
                    <a:moveTo>
                      <a:pt x="20" y="4"/>
                    </a:moveTo>
                    <a:cubicBezTo>
                      <a:pt x="11" y="1"/>
                      <a:pt x="3" y="0"/>
                      <a:pt x="0" y="10"/>
                    </a:cubicBezTo>
                    <a:cubicBezTo>
                      <a:pt x="8" y="13"/>
                      <a:pt x="16" y="12"/>
                      <a:pt x="20" y="4"/>
                    </a:cubicBezTo>
                    <a:close/>
                  </a:path>
                </a:pathLst>
              </a:custGeom>
              <a:solidFill>
                <a:srgbClr val="B58C55"/>
              </a:solidFill>
              <a:ln w="9525">
                <a:noFill/>
                <a:round/>
                <a:headEnd/>
                <a:tailEnd/>
              </a:ln>
            </p:spPr>
            <p:txBody>
              <a:bodyPr wrap="none" anchor="ctr"/>
              <a:lstStyle/>
              <a:p>
                <a:pPr defTabSz="912546"/>
                <a:endParaRPr>
                  <a:solidFill>
                    <a:srgbClr val="000000"/>
                  </a:solidFill>
                </a:endParaRPr>
              </a:p>
            </p:txBody>
          </p:sp>
          <p:sp>
            <p:nvSpPr>
              <p:cNvPr id="441800" name="Freeform 633"/>
              <p:cNvSpPr>
                <a:spLocks/>
              </p:cNvSpPr>
              <p:nvPr/>
            </p:nvSpPr>
            <p:spPr bwMode="gray">
              <a:xfrm>
                <a:off x="3514" y="541"/>
                <a:ext cx="19" cy="9"/>
              </a:xfrm>
              <a:custGeom>
                <a:avLst/>
                <a:gdLst>
                  <a:gd name="T0" fmla="*/ 18 w 19"/>
                  <a:gd name="T1" fmla="*/ 7 h 9"/>
                  <a:gd name="T2" fmla="*/ 16 w 19"/>
                  <a:gd name="T3" fmla="*/ 1 h 9"/>
                  <a:gd name="T4" fmla="*/ 2 w 19"/>
                  <a:gd name="T5" fmla="*/ 3 h 9"/>
                  <a:gd name="T6" fmla="*/ 8 w 19"/>
                  <a:gd name="T7" fmla="*/ 7 h 9"/>
                  <a:gd name="T8" fmla="*/ 14 w 19"/>
                  <a:gd name="T9" fmla="*/ 9 h 9"/>
                  <a:gd name="T10" fmla="*/ 18 w 19"/>
                  <a:gd name="T11" fmla="*/ 7 h 9"/>
                  <a:gd name="T12" fmla="*/ 0 60000 65536"/>
                  <a:gd name="T13" fmla="*/ 0 60000 65536"/>
                  <a:gd name="T14" fmla="*/ 0 60000 65536"/>
                  <a:gd name="T15" fmla="*/ 0 60000 65536"/>
                  <a:gd name="T16" fmla="*/ 0 60000 65536"/>
                  <a:gd name="T17" fmla="*/ 0 60000 65536"/>
                  <a:gd name="T18" fmla="*/ 0 w 19"/>
                  <a:gd name="T19" fmla="*/ 0 h 9"/>
                  <a:gd name="T20" fmla="*/ 19 w 19"/>
                  <a:gd name="T21" fmla="*/ 9 h 9"/>
                </a:gdLst>
                <a:ahLst/>
                <a:cxnLst>
                  <a:cxn ang="T12">
                    <a:pos x="T0" y="T1"/>
                  </a:cxn>
                  <a:cxn ang="T13">
                    <a:pos x="T2" y="T3"/>
                  </a:cxn>
                  <a:cxn ang="T14">
                    <a:pos x="T4" y="T5"/>
                  </a:cxn>
                  <a:cxn ang="T15">
                    <a:pos x="T6" y="T7"/>
                  </a:cxn>
                  <a:cxn ang="T16">
                    <a:pos x="T8" y="T9"/>
                  </a:cxn>
                  <a:cxn ang="T17">
                    <a:pos x="T10" y="T11"/>
                  </a:cxn>
                </a:cxnLst>
                <a:rect l="T18" t="T19" r="T20" b="T21"/>
                <a:pathLst>
                  <a:path w="19" h="9">
                    <a:moveTo>
                      <a:pt x="18" y="7"/>
                    </a:moveTo>
                    <a:cubicBezTo>
                      <a:pt x="17" y="5"/>
                      <a:pt x="18" y="2"/>
                      <a:pt x="16" y="1"/>
                    </a:cubicBezTo>
                    <a:cubicBezTo>
                      <a:pt x="11" y="0"/>
                      <a:pt x="6" y="0"/>
                      <a:pt x="2" y="3"/>
                    </a:cubicBezTo>
                    <a:cubicBezTo>
                      <a:pt x="0" y="4"/>
                      <a:pt x="6" y="6"/>
                      <a:pt x="8" y="7"/>
                    </a:cubicBezTo>
                    <a:cubicBezTo>
                      <a:pt x="10" y="8"/>
                      <a:pt x="12" y="8"/>
                      <a:pt x="14" y="9"/>
                    </a:cubicBezTo>
                    <a:cubicBezTo>
                      <a:pt x="19" y="2"/>
                      <a:pt x="18" y="1"/>
                      <a:pt x="18" y="7"/>
                    </a:cubicBezTo>
                    <a:close/>
                  </a:path>
                </a:pathLst>
              </a:custGeom>
              <a:solidFill>
                <a:srgbClr val="B58C55"/>
              </a:solidFill>
              <a:ln w="9525">
                <a:noFill/>
                <a:round/>
                <a:headEnd/>
                <a:tailEnd/>
              </a:ln>
            </p:spPr>
            <p:txBody>
              <a:bodyPr wrap="none" anchor="ctr"/>
              <a:lstStyle/>
              <a:p>
                <a:pPr defTabSz="912546"/>
                <a:endParaRPr>
                  <a:solidFill>
                    <a:srgbClr val="000000"/>
                  </a:solidFill>
                </a:endParaRPr>
              </a:p>
            </p:txBody>
          </p:sp>
          <p:sp>
            <p:nvSpPr>
              <p:cNvPr id="441801" name="Freeform 634"/>
              <p:cNvSpPr>
                <a:spLocks/>
              </p:cNvSpPr>
              <p:nvPr/>
            </p:nvSpPr>
            <p:spPr bwMode="gray">
              <a:xfrm>
                <a:off x="3478" y="570"/>
                <a:ext cx="44" cy="36"/>
              </a:xfrm>
              <a:custGeom>
                <a:avLst/>
                <a:gdLst>
                  <a:gd name="T0" fmla="*/ 42 w 44"/>
                  <a:gd name="T1" fmla="*/ 14 h 36"/>
                  <a:gd name="T2" fmla="*/ 18 w 44"/>
                  <a:gd name="T3" fmla="*/ 18 h 36"/>
                  <a:gd name="T4" fmla="*/ 6 w 44"/>
                  <a:gd name="T5" fmla="*/ 0 h 36"/>
                  <a:gd name="T6" fmla="*/ 12 w 44"/>
                  <a:gd name="T7" fmla="*/ 12 h 36"/>
                  <a:gd name="T8" fmla="*/ 20 w 44"/>
                  <a:gd name="T9" fmla="*/ 24 h 36"/>
                  <a:gd name="T10" fmla="*/ 32 w 44"/>
                  <a:gd name="T11" fmla="*/ 28 h 36"/>
                  <a:gd name="T12" fmla="*/ 44 w 44"/>
                  <a:gd name="T13" fmla="*/ 26 h 36"/>
                  <a:gd name="T14" fmla="*/ 42 w 44"/>
                  <a:gd name="T15" fmla="*/ 14 h 36"/>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6"/>
                  <a:gd name="T26" fmla="*/ 44 w 44"/>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6">
                    <a:moveTo>
                      <a:pt x="42" y="14"/>
                    </a:moveTo>
                    <a:cubicBezTo>
                      <a:pt x="35" y="25"/>
                      <a:pt x="29" y="22"/>
                      <a:pt x="18" y="18"/>
                    </a:cubicBezTo>
                    <a:cubicBezTo>
                      <a:pt x="14" y="12"/>
                      <a:pt x="6" y="0"/>
                      <a:pt x="6" y="0"/>
                    </a:cubicBezTo>
                    <a:cubicBezTo>
                      <a:pt x="4" y="8"/>
                      <a:pt x="0" y="20"/>
                      <a:pt x="12" y="12"/>
                    </a:cubicBezTo>
                    <a:cubicBezTo>
                      <a:pt x="15" y="16"/>
                      <a:pt x="17" y="20"/>
                      <a:pt x="20" y="24"/>
                    </a:cubicBezTo>
                    <a:cubicBezTo>
                      <a:pt x="22" y="28"/>
                      <a:pt x="32" y="28"/>
                      <a:pt x="32" y="28"/>
                    </a:cubicBezTo>
                    <a:cubicBezTo>
                      <a:pt x="38" y="36"/>
                      <a:pt x="41" y="35"/>
                      <a:pt x="44" y="26"/>
                    </a:cubicBezTo>
                    <a:cubicBezTo>
                      <a:pt x="41" y="18"/>
                      <a:pt x="42" y="22"/>
                      <a:pt x="42" y="14"/>
                    </a:cubicBezTo>
                    <a:close/>
                  </a:path>
                </a:pathLst>
              </a:custGeom>
              <a:solidFill>
                <a:srgbClr val="B58C55"/>
              </a:solidFill>
              <a:ln w="9525">
                <a:noFill/>
                <a:round/>
                <a:headEnd/>
                <a:tailEnd/>
              </a:ln>
            </p:spPr>
            <p:txBody>
              <a:bodyPr wrap="none" anchor="ctr"/>
              <a:lstStyle/>
              <a:p>
                <a:pPr defTabSz="912546"/>
                <a:endParaRPr>
                  <a:solidFill>
                    <a:srgbClr val="000000"/>
                  </a:solidFill>
                </a:endParaRPr>
              </a:p>
            </p:txBody>
          </p:sp>
        </p:grpSp>
      </p:grpSp>
      <p:grpSp>
        <p:nvGrpSpPr>
          <p:cNvPr id="265134" name="Group 635"/>
          <p:cNvGrpSpPr>
            <a:grpSpLocks/>
          </p:cNvGrpSpPr>
          <p:nvPr/>
        </p:nvGrpSpPr>
        <p:grpSpPr bwMode="gray">
          <a:xfrm>
            <a:off x="3962402" y="3681015"/>
            <a:ext cx="2828925" cy="1797050"/>
            <a:chOff x="2496" y="2238"/>
            <a:chExt cx="1782" cy="1132"/>
          </a:xfrm>
        </p:grpSpPr>
        <p:sp>
          <p:nvSpPr>
            <p:cNvPr id="441774" name="Oval 636"/>
            <p:cNvSpPr>
              <a:spLocks noChangeArrowheads="1"/>
            </p:cNvSpPr>
            <p:nvPr/>
          </p:nvSpPr>
          <p:spPr bwMode="gray">
            <a:xfrm>
              <a:off x="2496" y="2934"/>
              <a:ext cx="1008" cy="436"/>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775" name="Oval 637"/>
            <p:cNvSpPr>
              <a:spLocks noChangeArrowheads="1"/>
            </p:cNvSpPr>
            <p:nvPr/>
          </p:nvSpPr>
          <p:spPr bwMode="gray">
            <a:xfrm rot="-814879">
              <a:off x="2940" y="2838"/>
              <a:ext cx="1008" cy="436"/>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776" name="Oval 638"/>
            <p:cNvSpPr>
              <a:spLocks noChangeArrowheads="1"/>
            </p:cNvSpPr>
            <p:nvPr/>
          </p:nvSpPr>
          <p:spPr bwMode="gray">
            <a:xfrm rot="-1431762">
              <a:off x="3270" y="2688"/>
              <a:ext cx="1008" cy="436"/>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777" name="Oval 639"/>
            <p:cNvSpPr>
              <a:spLocks noChangeArrowheads="1"/>
            </p:cNvSpPr>
            <p:nvPr/>
          </p:nvSpPr>
          <p:spPr bwMode="gray">
            <a:xfrm rot="-2820427">
              <a:off x="3600" y="2453"/>
              <a:ext cx="866" cy="436"/>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grpSp>
      <p:grpSp>
        <p:nvGrpSpPr>
          <p:cNvPr id="265135" name="Group 640"/>
          <p:cNvGrpSpPr>
            <a:grpSpLocks/>
          </p:cNvGrpSpPr>
          <p:nvPr/>
        </p:nvGrpSpPr>
        <p:grpSpPr bwMode="gray">
          <a:xfrm>
            <a:off x="3765550" y="3471465"/>
            <a:ext cx="3111500" cy="1895475"/>
            <a:chOff x="2372" y="2106"/>
            <a:chExt cx="1960" cy="1194"/>
          </a:xfrm>
        </p:grpSpPr>
        <p:sp>
          <p:nvSpPr>
            <p:cNvPr id="441772" name="Freeform 641"/>
            <p:cNvSpPr>
              <a:spLocks/>
            </p:cNvSpPr>
            <p:nvPr/>
          </p:nvSpPr>
          <p:spPr bwMode="gray">
            <a:xfrm>
              <a:off x="2372" y="2142"/>
              <a:ext cx="1960" cy="1158"/>
            </a:xfrm>
            <a:custGeom>
              <a:avLst/>
              <a:gdLst>
                <a:gd name="T0" fmla="*/ 466 w 1960"/>
                <a:gd name="T1" fmla="*/ 738 h 1158"/>
                <a:gd name="T2" fmla="*/ 646 w 1960"/>
                <a:gd name="T3" fmla="*/ 1098 h 1158"/>
                <a:gd name="T4" fmla="*/ 1924 w 1960"/>
                <a:gd name="T5" fmla="*/ 306 h 1158"/>
                <a:gd name="T6" fmla="*/ 1330 w 1960"/>
                <a:gd name="T7" fmla="*/ 234 h 1158"/>
                <a:gd name="T8" fmla="*/ 466 w 1960"/>
                <a:gd name="T9" fmla="*/ 738 h 1158"/>
                <a:gd name="T10" fmla="*/ 0 60000 65536"/>
                <a:gd name="T11" fmla="*/ 0 60000 65536"/>
                <a:gd name="T12" fmla="*/ 0 60000 65536"/>
                <a:gd name="T13" fmla="*/ 0 60000 65536"/>
                <a:gd name="T14" fmla="*/ 0 60000 65536"/>
                <a:gd name="T15" fmla="*/ 0 w 1960"/>
                <a:gd name="T16" fmla="*/ 0 h 1158"/>
                <a:gd name="T17" fmla="*/ 1960 w 1960"/>
                <a:gd name="T18" fmla="*/ 1158 h 1158"/>
              </a:gdLst>
              <a:ahLst/>
              <a:cxnLst>
                <a:cxn ang="T10">
                  <a:pos x="T0" y="T1"/>
                </a:cxn>
                <a:cxn ang="T11">
                  <a:pos x="T2" y="T3"/>
                </a:cxn>
                <a:cxn ang="T12">
                  <a:pos x="T4" y="T5"/>
                </a:cxn>
                <a:cxn ang="T13">
                  <a:pos x="T6" y="T7"/>
                </a:cxn>
                <a:cxn ang="T14">
                  <a:pos x="T8" y="T9"/>
                </a:cxn>
              </a:cxnLst>
              <a:rect l="T15" t="T16" r="T17" b="T18"/>
              <a:pathLst>
                <a:path w="1960" h="1158">
                  <a:moveTo>
                    <a:pt x="466" y="738"/>
                  </a:moveTo>
                  <a:cubicBezTo>
                    <a:pt x="0" y="789"/>
                    <a:pt x="220" y="1158"/>
                    <a:pt x="646" y="1098"/>
                  </a:cubicBezTo>
                  <a:cubicBezTo>
                    <a:pt x="1113" y="1031"/>
                    <a:pt x="1858" y="815"/>
                    <a:pt x="1924" y="306"/>
                  </a:cubicBezTo>
                  <a:cubicBezTo>
                    <a:pt x="1960" y="18"/>
                    <a:pt x="1354" y="0"/>
                    <a:pt x="1330" y="234"/>
                  </a:cubicBezTo>
                  <a:cubicBezTo>
                    <a:pt x="1299" y="480"/>
                    <a:pt x="1024" y="672"/>
                    <a:pt x="466" y="738"/>
                  </a:cubicBezTo>
                  <a:close/>
                </a:path>
              </a:pathLst>
            </a:custGeom>
            <a:gradFill rotWithShape="1">
              <a:gsLst>
                <a:gs pos="0">
                  <a:srgbClr val="79574B"/>
                </a:gs>
                <a:gs pos="50000">
                  <a:srgbClr val="8C6557"/>
                </a:gs>
                <a:gs pos="100000">
                  <a:srgbClr val="79574B"/>
                </a:gs>
              </a:gsLst>
              <a:lin ang="0" scaled="1"/>
            </a:gradFill>
            <a:ln w="9525">
              <a:noFill/>
              <a:round/>
              <a:headEnd/>
              <a:tailEnd/>
            </a:ln>
          </p:spPr>
          <p:txBody>
            <a:bodyPr/>
            <a:lstStyle/>
            <a:p>
              <a:pPr defTabSz="912546"/>
              <a:endParaRPr>
                <a:solidFill>
                  <a:srgbClr val="000000"/>
                </a:solidFill>
              </a:endParaRPr>
            </a:p>
          </p:txBody>
        </p:sp>
        <p:sp>
          <p:nvSpPr>
            <p:cNvPr id="441773" name="Freeform 642"/>
            <p:cNvSpPr>
              <a:spLocks/>
            </p:cNvSpPr>
            <p:nvPr/>
          </p:nvSpPr>
          <p:spPr bwMode="gray">
            <a:xfrm>
              <a:off x="2372" y="2106"/>
              <a:ext cx="1960" cy="1158"/>
            </a:xfrm>
            <a:custGeom>
              <a:avLst/>
              <a:gdLst>
                <a:gd name="T0" fmla="*/ 466 w 1960"/>
                <a:gd name="T1" fmla="*/ 738 h 1158"/>
                <a:gd name="T2" fmla="*/ 646 w 1960"/>
                <a:gd name="T3" fmla="*/ 1098 h 1158"/>
                <a:gd name="T4" fmla="*/ 1924 w 1960"/>
                <a:gd name="T5" fmla="*/ 306 h 1158"/>
                <a:gd name="T6" fmla="*/ 1330 w 1960"/>
                <a:gd name="T7" fmla="*/ 234 h 1158"/>
                <a:gd name="T8" fmla="*/ 466 w 1960"/>
                <a:gd name="T9" fmla="*/ 738 h 1158"/>
                <a:gd name="T10" fmla="*/ 0 60000 65536"/>
                <a:gd name="T11" fmla="*/ 0 60000 65536"/>
                <a:gd name="T12" fmla="*/ 0 60000 65536"/>
                <a:gd name="T13" fmla="*/ 0 60000 65536"/>
                <a:gd name="T14" fmla="*/ 0 60000 65536"/>
                <a:gd name="T15" fmla="*/ 0 w 1960"/>
                <a:gd name="T16" fmla="*/ 0 h 1158"/>
                <a:gd name="T17" fmla="*/ 1960 w 1960"/>
                <a:gd name="T18" fmla="*/ 1158 h 1158"/>
              </a:gdLst>
              <a:ahLst/>
              <a:cxnLst>
                <a:cxn ang="T10">
                  <a:pos x="T0" y="T1"/>
                </a:cxn>
                <a:cxn ang="T11">
                  <a:pos x="T2" y="T3"/>
                </a:cxn>
                <a:cxn ang="T12">
                  <a:pos x="T4" y="T5"/>
                </a:cxn>
                <a:cxn ang="T13">
                  <a:pos x="T6" y="T7"/>
                </a:cxn>
                <a:cxn ang="T14">
                  <a:pos x="T8" y="T9"/>
                </a:cxn>
              </a:cxnLst>
              <a:rect l="T15" t="T16" r="T17" b="T18"/>
              <a:pathLst>
                <a:path w="1960" h="1158">
                  <a:moveTo>
                    <a:pt x="466" y="738"/>
                  </a:moveTo>
                  <a:cubicBezTo>
                    <a:pt x="0" y="789"/>
                    <a:pt x="220" y="1158"/>
                    <a:pt x="646" y="1098"/>
                  </a:cubicBezTo>
                  <a:cubicBezTo>
                    <a:pt x="1113" y="1031"/>
                    <a:pt x="1858" y="815"/>
                    <a:pt x="1924" y="306"/>
                  </a:cubicBezTo>
                  <a:cubicBezTo>
                    <a:pt x="1960" y="18"/>
                    <a:pt x="1354" y="0"/>
                    <a:pt x="1330" y="234"/>
                  </a:cubicBezTo>
                  <a:cubicBezTo>
                    <a:pt x="1299" y="480"/>
                    <a:pt x="1024" y="672"/>
                    <a:pt x="466" y="738"/>
                  </a:cubicBezTo>
                  <a:close/>
                </a:path>
              </a:pathLst>
            </a:custGeom>
            <a:gradFill rotWithShape="1">
              <a:gsLst>
                <a:gs pos="0">
                  <a:srgbClr val="8C6557"/>
                </a:gs>
                <a:gs pos="50000">
                  <a:srgbClr val="CDBCB6"/>
                </a:gs>
                <a:gs pos="100000">
                  <a:srgbClr val="8C6557"/>
                </a:gs>
              </a:gsLst>
              <a:lin ang="18900000" scaled="1"/>
            </a:gradFill>
            <a:ln w="9525">
              <a:noFill/>
              <a:round/>
              <a:headEnd/>
              <a:tailEnd/>
            </a:ln>
          </p:spPr>
          <p:txBody>
            <a:bodyPr/>
            <a:lstStyle/>
            <a:p>
              <a:pPr defTabSz="912546"/>
              <a:endParaRPr>
                <a:solidFill>
                  <a:srgbClr val="000000"/>
                </a:solidFill>
              </a:endParaRPr>
            </a:p>
          </p:txBody>
        </p:sp>
      </p:grpSp>
      <p:grpSp>
        <p:nvGrpSpPr>
          <p:cNvPr id="265136" name="Group 643"/>
          <p:cNvGrpSpPr>
            <a:grpSpLocks/>
          </p:cNvGrpSpPr>
          <p:nvPr/>
        </p:nvGrpSpPr>
        <p:grpSpPr bwMode="gray">
          <a:xfrm>
            <a:off x="4394200" y="4509690"/>
            <a:ext cx="1549400" cy="577850"/>
            <a:chOff x="353" y="3520"/>
            <a:chExt cx="871" cy="326"/>
          </a:xfrm>
        </p:grpSpPr>
        <p:sp>
          <p:nvSpPr>
            <p:cNvPr id="441683" name="Freeform 644"/>
            <p:cNvSpPr>
              <a:spLocks/>
            </p:cNvSpPr>
            <p:nvPr/>
          </p:nvSpPr>
          <p:spPr bwMode="gray">
            <a:xfrm>
              <a:off x="368" y="3522"/>
              <a:ext cx="856" cy="324"/>
            </a:xfrm>
            <a:custGeom>
              <a:avLst/>
              <a:gdLst>
                <a:gd name="T0" fmla="*/ 424 w 856"/>
                <a:gd name="T1" fmla="*/ 0 h 324"/>
                <a:gd name="T2" fmla="*/ 670 w 856"/>
                <a:gd name="T3" fmla="*/ 42 h 324"/>
                <a:gd name="T4" fmla="*/ 856 w 856"/>
                <a:gd name="T5" fmla="*/ 180 h 324"/>
                <a:gd name="T6" fmla="*/ 595 w 856"/>
                <a:gd name="T7" fmla="*/ 236 h 324"/>
                <a:gd name="T8" fmla="*/ 616 w 856"/>
                <a:gd name="T9" fmla="*/ 262 h 324"/>
                <a:gd name="T10" fmla="*/ 546 w 856"/>
                <a:gd name="T11" fmla="*/ 271 h 324"/>
                <a:gd name="T12" fmla="*/ 518 w 856"/>
                <a:gd name="T13" fmla="*/ 250 h 324"/>
                <a:gd name="T14" fmla="*/ 409 w 856"/>
                <a:gd name="T15" fmla="*/ 273 h 324"/>
                <a:gd name="T16" fmla="*/ 390 w 856"/>
                <a:gd name="T17" fmla="*/ 321 h 324"/>
                <a:gd name="T18" fmla="*/ 345 w 856"/>
                <a:gd name="T19" fmla="*/ 322 h 324"/>
                <a:gd name="T20" fmla="*/ 304 w 856"/>
                <a:gd name="T21" fmla="*/ 324 h 324"/>
                <a:gd name="T22" fmla="*/ 337 w 856"/>
                <a:gd name="T23" fmla="*/ 290 h 324"/>
                <a:gd name="T24" fmla="*/ 220 w 856"/>
                <a:gd name="T25" fmla="*/ 281 h 324"/>
                <a:gd name="T26" fmla="*/ 207 w 856"/>
                <a:gd name="T27" fmla="*/ 213 h 324"/>
                <a:gd name="T28" fmla="*/ 118 w 856"/>
                <a:gd name="T29" fmla="*/ 207 h 324"/>
                <a:gd name="T30" fmla="*/ 35 w 856"/>
                <a:gd name="T31" fmla="*/ 235 h 324"/>
                <a:gd name="T32" fmla="*/ 0 w 856"/>
                <a:gd name="T33" fmla="*/ 223 h 324"/>
                <a:gd name="T34" fmla="*/ 141 w 856"/>
                <a:gd name="T35" fmla="*/ 192 h 324"/>
                <a:gd name="T36" fmla="*/ 157 w 856"/>
                <a:gd name="T37" fmla="*/ 186 h 324"/>
                <a:gd name="T38" fmla="*/ 147 w 856"/>
                <a:gd name="T39" fmla="*/ 175 h 324"/>
                <a:gd name="T40" fmla="*/ 142 w 856"/>
                <a:gd name="T41" fmla="*/ 163 h 324"/>
                <a:gd name="T42" fmla="*/ 129 w 856"/>
                <a:gd name="T43" fmla="*/ 160 h 324"/>
                <a:gd name="T44" fmla="*/ 424 w 856"/>
                <a:gd name="T45" fmla="*/ 0 h 3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56"/>
                <a:gd name="T70" fmla="*/ 0 h 324"/>
                <a:gd name="T71" fmla="*/ 856 w 856"/>
                <a:gd name="T72" fmla="*/ 324 h 3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56" h="324">
                  <a:moveTo>
                    <a:pt x="424" y="0"/>
                  </a:moveTo>
                  <a:cubicBezTo>
                    <a:pt x="531" y="2"/>
                    <a:pt x="588" y="20"/>
                    <a:pt x="670" y="42"/>
                  </a:cubicBezTo>
                  <a:lnTo>
                    <a:pt x="856" y="180"/>
                  </a:lnTo>
                  <a:lnTo>
                    <a:pt x="595" y="236"/>
                  </a:lnTo>
                  <a:lnTo>
                    <a:pt x="616" y="262"/>
                  </a:lnTo>
                  <a:lnTo>
                    <a:pt x="546" y="271"/>
                  </a:lnTo>
                  <a:lnTo>
                    <a:pt x="518" y="250"/>
                  </a:lnTo>
                  <a:lnTo>
                    <a:pt x="409" y="273"/>
                  </a:lnTo>
                  <a:lnTo>
                    <a:pt x="390" y="321"/>
                  </a:lnTo>
                  <a:lnTo>
                    <a:pt x="345" y="322"/>
                  </a:lnTo>
                  <a:lnTo>
                    <a:pt x="304" y="324"/>
                  </a:lnTo>
                  <a:lnTo>
                    <a:pt x="337" y="290"/>
                  </a:lnTo>
                  <a:lnTo>
                    <a:pt x="220" y="281"/>
                  </a:lnTo>
                  <a:lnTo>
                    <a:pt x="207" y="213"/>
                  </a:lnTo>
                  <a:lnTo>
                    <a:pt x="118" y="207"/>
                  </a:lnTo>
                  <a:cubicBezTo>
                    <a:pt x="20" y="237"/>
                    <a:pt x="53" y="235"/>
                    <a:pt x="35" y="235"/>
                  </a:cubicBezTo>
                  <a:lnTo>
                    <a:pt x="0" y="223"/>
                  </a:lnTo>
                  <a:cubicBezTo>
                    <a:pt x="177" y="162"/>
                    <a:pt x="183" y="138"/>
                    <a:pt x="141" y="192"/>
                  </a:cubicBezTo>
                  <a:cubicBezTo>
                    <a:pt x="146" y="190"/>
                    <a:pt x="155" y="191"/>
                    <a:pt x="157" y="186"/>
                  </a:cubicBezTo>
                  <a:cubicBezTo>
                    <a:pt x="158" y="182"/>
                    <a:pt x="150" y="179"/>
                    <a:pt x="147" y="175"/>
                  </a:cubicBezTo>
                  <a:cubicBezTo>
                    <a:pt x="145" y="170"/>
                    <a:pt x="145" y="165"/>
                    <a:pt x="142" y="163"/>
                  </a:cubicBezTo>
                  <a:cubicBezTo>
                    <a:pt x="138" y="160"/>
                    <a:pt x="129" y="160"/>
                    <a:pt x="129" y="160"/>
                  </a:cubicBezTo>
                  <a:lnTo>
                    <a:pt x="424" y="0"/>
                  </a:lnTo>
                  <a:close/>
                </a:path>
              </a:pathLst>
            </a:custGeom>
            <a:gradFill rotWithShape="1">
              <a:gsLst>
                <a:gs pos="0">
                  <a:srgbClr val="5F5F5F">
                    <a:alpha val="6000"/>
                  </a:srgbClr>
                </a:gs>
                <a:gs pos="100000">
                  <a:srgbClr val="2C2C2C">
                    <a:alpha val="10001"/>
                  </a:srgbClr>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684" name="Freeform 645"/>
            <p:cNvSpPr>
              <a:spLocks/>
            </p:cNvSpPr>
            <p:nvPr/>
          </p:nvSpPr>
          <p:spPr bwMode="gray">
            <a:xfrm rot="-451309">
              <a:off x="382" y="3569"/>
              <a:ext cx="196" cy="251"/>
            </a:xfrm>
            <a:custGeom>
              <a:avLst/>
              <a:gdLst>
                <a:gd name="T0" fmla="*/ 1 w 286"/>
                <a:gd name="T1" fmla="*/ 1 h 366"/>
                <a:gd name="T2" fmla="*/ 2 w 286"/>
                <a:gd name="T3" fmla="*/ 2 h 366"/>
                <a:gd name="T4" fmla="*/ 2 w 286"/>
                <a:gd name="T5" fmla="*/ 1 h 366"/>
                <a:gd name="T6" fmla="*/ 1 w 286"/>
                <a:gd name="T7" fmla="*/ 1 h 366"/>
                <a:gd name="T8" fmla="*/ 0 w 286"/>
                <a:gd name="T9" fmla="*/ 0 h 366"/>
                <a:gd name="T10" fmla="*/ 1 w 286"/>
                <a:gd name="T11" fmla="*/ 1 h 366"/>
                <a:gd name="T12" fmla="*/ 0 60000 65536"/>
                <a:gd name="T13" fmla="*/ 0 60000 65536"/>
                <a:gd name="T14" fmla="*/ 0 60000 65536"/>
                <a:gd name="T15" fmla="*/ 0 60000 65536"/>
                <a:gd name="T16" fmla="*/ 0 60000 65536"/>
                <a:gd name="T17" fmla="*/ 0 60000 65536"/>
                <a:gd name="T18" fmla="*/ 0 w 286"/>
                <a:gd name="T19" fmla="*/ 0 h 366"/>
                <a:gd name="T20" fmla="*/ 286 w 286"/>
                <a:gd name="T21" fmla="*/ 366 h 366"/>
              </a:gdLst>
              <a:ahLst/>
              <a:cxnLst>
                <a:cxn ang="T12">
                  <a:pos x="T0" y="T1"/>
                </a:cxn>
                <a:cxn ang="T13">
                  <a:pos x="T2" y="T3"/>
                </a:cxn>
                <a:cxn ang="T14">
                  <a:pos x="T4" y="T5"/>
                </a:cxn>
                <a:cxn ang="T15">
                  <a:pos x="T6" y="T7"/>
                </a:cxn>
                <a:cxn ang="T16">
                  <a:pos x="T8" y="T9"/>
                </a:cxn>
                <a:cxn ang="T17">
                  <a:pos x="T10" y="T11"/>
                </a:cxn>
              </a:cxnLst>
              <a:rect l="T18" t="T19" r="T20" b="T21"/>
              <a:pathLst>
                <a:path w="286" h="366">
                  <a:moveTo>
                    <a:pt x="16" y="108"/>
                  </a:moveTo>
                  <a:lnTo>
                    <a:pt x="284" y="366"/>
                  </a:lnTo>
                  <a:lnTo>
                    <a:pt x="286" y="216"/>
                  </a:lnTo>
                  <a:lnTo>
                    <a:pt x="134" y="36"/>
                  </a:lnTo>
                  <a:lnTo>
                    <a:pt x="0" y="0"/>
                  </a:lnTo>
                  <a:lnTo>
                    <a:pt x="16" y="108"/>
                  </a:lnTo>
                  <a:close/>
                </a:path>
              </a:pathLst>
            </a:custGeom>
            <a:gradFill rotWithShape="1">
              <a:gsLst>
                <a:gs pos="0">
                  <a:srgbClr val="93B681"/>
                </a:gs>
                <a:gs pos="100000">
                  <a:srgbClr val="6C9C54"/>
                </a:gs>
              </a:gsLst>
              <a:lin ang="27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685" name="Freeform 646"/>
            <p:cNvSpPr>
              <a:spLocks/>
            </p:cNvSpPr>
            <p:nvPr/>
          </p:nvSpPr>
          <p:spPr bwMode="gray">
            <a:xfrm rot="-451309">
              <a:off x="582" y="3635"/>
              <a:ext cx="488" cy="139"/>
            </a:xfrm>
            <a:custGeom>
              <a:avLst/>
              <a:gdLst>
                <a:gd name="T0" fmla="*/ 0 w 712"/>
                <a:gd name="T1" fmla="*/ 1 h 202"/>
                <a:gd name="T2" fmla="*/ 5 w 712"/>
                <a:gd name="T3" fmla="*/ 1 h 202"/>
                <a:gd name="T4" fmla="*/ 5 w 712"/>
                <a:gd name="T5" fmla="*/ 0 h 202"/>
                <a:gd name="T6" fmla="*/ 0 w 712"/>
                <a:gd name="T7" fmla="*/ 1 h 202"/>
                <a:gd name="T8" fmla="*/ 0 w 712"/>
                <a:gd name="T9" fmla="*/ 1 h 202"/>
                <a:gd name="T10" fmla="*/ 0 60000 65536"/>
                <a:gd name="T11" fmla="*/ 0 60000 65536"/>
                <a:gd name="T12" fmla="*/ 0 60000 65536"/>
                <a:gd name="T13" fmla="*/ 0 60000 65536"/>
                <a:gd name="T14" fmla="*/ 0 60000 65536"/>
                <a:gd name="T15" fmla="*/ 0 w 712"/>
                <a:gd name="T16" fmla="*/ 0 h 202"/>
                <a:gd name="T17" fmla="*/ 712 w 712"/>
                <a:gd name="T18" fmla="*/ 202 h 202"/>
              </a:gdLst>
              <a:ahLst/>
              <a:cxnLst>
                <a:cxn ang="T10">
                  <a:pos x="T0" y="T1"/>
                </a:cxn>
                <a:cxn ang="T11">
                  <a:pos x="T2" y="T3"/>
                </a:cxn>
                <a:cxn ang="T12">
                  <a:pos x="T4" y="T5"/>
                </a:cxn>
                <a:cxn ang="T13">
                  <a:pos x="T6" y="T7"/>
                </a:cxn>
                <a:cxn ang="T14">
                  <a:pos x="T8" y="T9"/>
                </a:cxn>
              </a:cxnLst>
              <a:rect l="T15" t="T16" r="T17" b="T18"/>
              <a:pathLst>
                <a:path w="712" h="202">
                  <a:moveTo>
                    <a:pt x="0" y="202"/>
                  </a:moveTo>
                  <a:lnTo>
                    <a:pt x="694" y="132"/>
                  </a:lnTo>
                  <a:lnTo>
                    <a:pt x="712" y="0"/>
                  </a:lnTo>
                  <a:lnTo>
                    <a:pt x="0" y="46"/>
                  </a:lnTo>
                  <a:lnTo>
                    <a:pt x="0" y="202"/>
                  </a:lnTo>
                  <a:close/>
                </a:path>
              </a:pathLst>
            </a:custGeom>
            <a:gradFill rotWithShape="1">
              <a:gsLst>
                <a:gs pos="0">
                  <a:srgbClr val="4D7145"/>
                </a:gs>
                <a:gs pos="100000">
                  <a:srgbClr val="65955B"/>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686" name="Freeform 647"/>
            <p:cNvSpPr>
              <a:spLocks/>
            </p:cNvSpPr>
            <p:nvPr/>
          </p:nvSpPr>
          <p:spPr bwMode="gray">
            <a:xfrm rot="-451309">
              <a:off x="358" y="3566"/>
              <a:ext cx="216" cy="164"/>
            </a:xfrm>
            <a:custGeom>
              <a:avLst/>
              <a:gdLst>
                <a:gd name="T0" fmla="*/ 1 w 315"/>
                <a:gd name="T1" fmla="*/ 1 h 240"/>
                <a:gd name="T2" fmla="*/ 1 w 315"/>
                <a:gd name="T3" fmla="*/ 0 h 240"/>
                <a:gd name="T4" fmla="*/ 1 w 315"/>
                <a:gd name="T5" fmla="*/ 1 h 240"/>
                <a:gd name="T6" fmla="*/ 1 w 315"/>
                <a:gd name="T7" fmla="*/ 1 h 240"/>
                <a:gd name="T8" fmla="*/ 2 w 315"/>
                <a:gd name="T9" fmla="*/ 1 h 240"/>
                <a:gd name="T10" fmla="*/ 2 w 315"/>
                <a:gd name="T11" fmla="*/ 1 h 240"/>
                <a:gd name="T12" fmla="*/ 1 w 315"/>
                <a:gd name="T13" fmla="*/ 1 h 240"/>
                <a:gd name="T14" fmla="*/ 0 60000 65536"/>
                <a:gd name="T15" fmla="*/ 0 60000 65536"/>
                <a:gd name="T16" fmla="*/ 0 60000 65536"/>
                <a:gd name="T17" fmla="*/ 0 60000 65536"/>
                <a:gd name="T18" fmla="*/ 0 60000 65536"/>
                <a:gd name="T19" fmla="*/ 0 60000 65536"/>
                <a:gd name="T20" fmla="*/ 0 60000 65536"/>
                <a:gd name="T21" fmla="*/ 0 w 315"/>
                <a:gd name="T22" fmla="*/ 0 h 240"/>
                <a:gd name="T23" fmla="*/ 315 w 315"/>
                <a:gd name="T24" fmla="*/ 240 h 2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5" h="240">
                  <a:moveTo>
                    <a:pt x="163" y="46"/>
                  </a:moveTo>
                  <a:cubicBezTo>
                    <a:pt x="103" y="24"/>
                    <a:pt x="77" y="20"/>
                    <a:pt x="17" y="0"/>
                  </a:cubicBezTo>
                  <a:cubicBezTo>
                    <a:pt x="15" y="8"/>
                    <a:pt x="0" y="5"/>
                    <a:pt x="23" y="14"/>
                  </a:cubicBezTo>
                  <a:lnTo>
                    <a:pt x="155" y="54"/>
                  </a:lnTo>
                  <a:lnTo>
                    <a:pt x="313" y="240"/>
                  </a:lnTo>
                  <a:lnTo>
                    <a:pt x="315" y="228"/>
                  </a:lnTo>
                  <a:lnTo>
                    <a:pt x="163" y="46"/>
                  </a:lnTo>
                  <a:close/>
                </a:path>
              </a:pathLst>
            </a:custGeom>
            <a:solidFill>
              <a:srgbClr val="E0E5D3"/>
            </a:solidFill>
            <a:ln w="12700">
              <a:noFill/>
              <a:round/>
              <a:headEnd/>
              <a:tailEnd/>
            </a:ln>
          </p:spPr>
          <p:txBody>
            <a:bodyPr lIns="45720" tIns="46800" rIns="45720" bIns="46800" anchor="ctr"/>
            <a:lstStyle/>
            <a:p>
              <a:pPr defTabSz="912546"/>
              <a:endParaRPr>
                <a:solidFill>
                  <a:srgbClr val="000000"/>
                </a:solidFill>
              </a:endParaRPr>
            </a:p>
          </p:txBody>
        </p:sp>
        <p:sp>
          <p:nvSpPr>
            <p:cNvPr id="441687" name="Freeform 648"/>
            <p:cNvSpPr>
              <a:spLocks/>
            </p:cNvSpPr>
            <p:nvPr/>
          </p:nvSpPr>
          <p:spPr bwMode="gray">
            <a:xfrm rot="-451309">
              <a:off x="587" y="3783"/>
              <a:ext cx="37" cy="25"/>
            </a:xfrm>
            <a:custGeom>
              <a:avLst/>
              <a:gdLst>
                <a:gd name="T0" fmla="*/ 0 w 52"/>
                <a:gd name="T1" fmla="*/ 1 h 38"/>
                <a:gd name="T2" fmla="*/ 1 w 52"/>
                <a:gd name="T3" fmla="*/ 0 h 38"/>
                <a:gd name="T4" fmla="*/ 1 w 52"/>
                <a:gd name="T5" fmla="*/ 1 h 38"/>
                <a:gd name="T6" fmla="*/ 1 w 52"/>
                <a:gd name="T7" fmla="*/ 1 h 38"/>
                <a:gd name="T8" fmla="*/ 0 w 52"/>
                <a:gd name="T9" fmla="*/ 1 h 38"/>
                <a:gd name="T10" fmla="*/ 0 60000 65536"/>
                <a:gd name="T11" fmla="*/ 0 60000 65536"/>
                <a:gd name="T12" fmla="*/ 0 60000 65536"/>
                <a:gd name="T13" fmla="*/ 0 60000 65536"/>
                <a:gd name="T14" fmla="*/ 0 60000 65536"/>
                <a:gd name="T15" fmla="*/ 0 w 52"/>
                <a:gd name="T16" fmla="*/ 0 h 38"/>
                <a:gd name="T17" fmla="*/ 52 w 52"/>
                <a:gd name="T18" fmla="*/ 38 h 38"/>
              </a:gdLst>
              <a:ahLst/>
              <a:cxnLst>
                <a:cxn ang="T10">
                  <a:pos x="T0" y="T1"/>
                </a:cxn>
                <a:cxn ang="T11">
                  <a:pos x="T2" y="T3"/>
                </a:cxn>
                <a:cxn ang="T12">
                  <a:pos x="T4" y="T5"/>
                </a:cxn>
                <a:cxn ang="T13">
                  <a:pos x="T6" y="T7"/>
                </a:cxn>
                <a:cxn ang="T14">
                  <a:pos x="T8" y="T9"/>
                </a:cxn>
              </a:cxnLst>
              <a:rect l="T15" t="T16" r="T17" b="T18"/>
              <a:pathLst>
                <a:path w="52" h="38">
                  <a:moveTo>
                    <a:pt x="0" y="30"/>
                  </a:moveTo>
                  <a:lnTo>
                    <a:pt x="40" y="0"/>
                  </a:lnTo>
                  <a:lnTo>
                    <a:pt x="52" y="8"/>
                  </a:lnTo>
                  <a:lnTo>
                    <a:pt x="10" y="38"/>
                  </a:lnTo>
                  <a:lnTo>
                    <a:pt x="0" y="30"/>
                  </a:lnTo>
                  <a:close/>
                </a:path>
              </a:pathLst>
            </a:custGeom>
            <a:solidFill>
              <a:srgbClr val="DDDDDD"/>
            </a:solidFill>
            <a:ln w="12700">
              <a:noFill/>
              <a:round/>
              <a:headEnd/>
              <a:tailEnd/>
            </a:ln>
          </p:spPr>
          <p:txBody>
            <a:bodyPr lIns="45720" tIns="46800" rIns="45720" bIns="46800" anchor="ctr"/>
            <a:lstStyle/>
            <a:p>
              <a:pPr defTabSz="912546"/>
              <a:endParaRPr>
                <a:solidFill>
                  <a:srgbClr val="000000"/>
                </a:solidFill>
              </a:endParaRPr>
            </a:p>
          </p:txBody>
        </p:sp>
        <p:sp>
          <p:nvSpPr>
            <p:cNvPr id="441688" name="Freeform 649"/>
            <p:cNvSpPr>
              <a:spLocks/>
            </p:cNvSpPr>
            <p:nvPr/>
          </p:nvSpPr>
          <p:spPr bwMode="gray">
            <a:xfrm rot="-451309">
              <a:off x="620" y="3742"/>
              <a:ext cx="15" cy="38"/>
            </a:xfrm>
            <a:custGeom>
              <a:avLst/>
              <a:gdLst>
                <a:gd name="T0" fmla="*/ 0 w 22"/>
                <a:gd name="T1" fmla="*/ 1 h 54"/>
                <a:gd name="T2" fmla="*/ 1 w 22"/>
                <a:gd name="T3" fmla="*/ 1 h 54"/>
                <a:gd name="T4" fmla="*/ 1 w 22"/>
                <a:gd name="T5" fmla="*/ 0 h 54"/>
                <a:gd name="T6" fmla="*/ 0 w 22"/>
                <a:gd name="T7" fmla="*/ 1 h 54"/>
                <a:gd name="T8" fmla="*/ 0 60000 65536"/>
                <a:gd name="T9" fmla="*/ 0 60000 65536"/>
                <a:gd name="T10" fmla="*/ 0 60000 65536"/>
                <a:gd name="T11" fmla="*/ 0 60000 65536"/>
                <a:gd name="T12" fmla="*/ 0 w 22"/>
                <a:gd name="T13" fmla="*/ 0 h 54"/>
                <a:gd name="T14" fmla="*/ 22 w 22"/>
                <a:gd name="T15" fmla="*/ 54 h 54"/>
              </a:gdLst>
              <a:ahLst/>
              <a:cxnLst>
                <a:cxn ang="T8">
                  <a:pos x="T0" y="T1"/>
                </a:cxn>
                <a:cxn ang="T9">
                  <a:pos x="T2" y="T3"/>
                </a:cxn>
                <a:cxn ang="T10">
                  <a:pos x="T4" y="T5"/>
                </a:cxn>
                <a:cxn ang="T11">
                  <a:pos x="T6" y="T7"/>
                </a:cxn>
              </a:cxnLst>
              <a:rect l="T12" t="T13" r="T14" b="T15"/>
              <a:pathLst>
                <a:path w="22" h="54">
                  <a:moveTo>
                    <a:pt x="0" y="54"/>
                  </a:moveTo>
                  <a:lnTo>
                    <a:pt x="20" y="54"/>
                  </a:lnTo>
                  <a:lnTo>
                    <a:pt x="22" y="0"/>
                  </a:lnTo>
                  <a:lnTo>
                    <a:pt x="0" y="2"/>
                  </a:lnTo>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689" name="Freeform 650"/>
            <p:cNvSpPr>
              <a:spLocks/>
            </p:cNvSpPr>
            <p:nvPr/>
          </p:nvSpPr>
          <p:spPr bwMode="gray">
            <a:xfrm rot="-451309">
              <a:off x="636" y="3708"/>
              <a:ext cx="430" cy="59"/>
            </a:xfrm>
            <a:custGeom>
              <a:avLst/>
              <a:gdLst>
                <a:gd name="T0" fmla="*/ 1 w 628"/>
                <a:gd name="T1" fmla="*/ 1 h 86"/>
                <a:gd name="T2" fmla="*/ 5 w 628"/>
                <a:gd name="T3" fmla="*/ 1 h 86"/>
                <a:gd name="T4" fmla="*/ 5 w 628"/>
                <a:gd name="T5" fmla="*/ 0 h 86"/>
                <a:gd name="T6" fmla="*/ 0 w 628"/>
                <a:gd name="T7" fmla="*/ 1 h 86"/>
                <a:gd name="T8" fmla="*/ 1 w 628"/>
                <a:gd name="T9" fmla="*/ 1 h 86"/>
                <a:gd name="T10" fmla="*/ 0 60000 65536"/>
                <a:gd name="T11" fmla="*/ 0 60000 65536"/>
                <a:gd name="T12" fmla="*/ 0 60000 65536"/>
                <a:gd name="T13" fmla="*/ 0 60000 65536"/>
                <a:gd name="T14" fmla="*/ 0 60000 65536"/>
                <a:gd name="T15" fmla="*/ 0 w 628"/>
                <a:gd name="T16" fmla="*/ 0 h 86"/>
                <a:gd name="T17" fmla="*/ 628 w 628"/>
                <a:gd name="T18" fmla="*/ 86 h 86"/>
              </a:gdLst>
              <a:ahLst/>
              <a:cxnLst>
                <a:cxn ang="T10">
                  <a:pos x="T0" y="T1"/>
                </a:cxn>
                <a:cxn ang="T11">
                  <a:pos x="T2" y="T3"/>
                </a:cxn>
                <a:cxn ang="T12">
                  <a:pos x="T4" y="T5"/>
                </a:cxn>
                <a:cxn ang="T13">
                  <a:pos x="T6" y="T7"/>
                </a:cxn>
                <a:cxn ang="T14">
                  <a:pos x="T8" y="T9"/>
                </a:cxn>
              </a:cxnLst>
              <a:rect l="T15" t="T16" r="T17" b="T18"/>
              <a:pathLst>
                <a:path w="628" h="86">
                  <a:moveTo>
                    <a:pt x="2" y="86"/>
                  </a:moveTo>
                  <a:lnTo>
                    <a:pt x="624" y="22"/>
                  </a:lnTo>
                  <a:lnTo>
                    <a:pt x="628" y="0"/>
                  </a:lnTo>
                  <a:lnTo>
                    <a:pt x="0" y="60"/>
                  </a:lnTo>
                  <a:lnTo>
                    <a:pt x="2" y="86"/>
                  </a:lnTo>
                  <a:close/>
                </a:path>
              </a:pathLst>
            </a:custGeom>
            <a:solidFill>
              <a:srgbClr val="8CA185"/>
            </a:solidFill>
            <a:ln w="12700">
              <a:noFill/>
              <a:round/>
              <a:headEnd/>
              <a:tailEnd/>
            </a:ln>
          </p:spPr>
          <p:txBody>
            <a:bodyPr lIns="45720" tIns="46800" rIns="45720" bIns="46800" anchor="ctr"/>
            <a:lstStyle/>
            <a:p>
              <a:pPr defTabSz="912546"/>
              <a:endParaRPr>
                <a:solidFill>
                  <a:srgbClr val="000000"/>
                </a:solidFill>
              </a:endParaRPr>
            </a:p>
          </p:txBody>
        </p:sp>
        <p:sp>
          <p:nvSpPr>
            <p:cNvPr id="441690" name="Freeform 651"/>
            <p:cNvSpPr>
              <a:spLocks/>
            </p:cNvSpPr>
            <p:nvPr/>
          </p:nvSpPr>
          <p:spPr bwMode="gray">
            <a:xfrm rot="-451309">
              <a:off x="614" y="3774"/>
              <a:ext cx="37" cy="11"/>
            </a:xfrm>
            <a:custGeom>
              <a:avLst/>
              <a:gdLst>
                <a:gd name="T0" fmla="*/ 1 w 54"/>
                <a:gd name="T1" fmla="*/ 1 h 16"/>
                <a:gd name="T2" fmla="*/ 1 w 54"/>
                <a:gd name="T3" fmla="*/ 1 h 16"/>
                <a:gd name="T4" fmla="*/ 1 w 54"/>
                <a:gd name="T5" fmla="*/ 0 h 16"/>
                <a:gd name="T6" fmla="*/ 0 w 54"/>
                <a:gd name="T7" fmla="*/ 1 h 16"/>
                <a:gd name="T8" fmla="*/ 1 w 54"/>
                <a:gd name="T9" fmla="*/ 1 h 16"/>
                <a:gd name="T10" fmla="*/ 0 60000 65536"/>
                <a:gd name="T11" fmla="*/ 0 60000 65536"/>
                <a:gd name="T12" fmla="*/ 0 60000 65536"/>
                <a:gd name="T13" fmla="*/ 0 60000 65536"/>
                <a:gd name="T14" fmla="*/ 0 60000 65536"/>
                <a:gd name="T15" fmla="*/ 0 w 54"/>
                <a:gd name="T16" fmla="*/ 0 h 16"/>
                <a:gd name="T17" fmla="*/ 54 w 54"/>
                <a:gd name="T18" fmla="*/ 16 h 16"/>
              </a:gdLst>
              <a:ahLst/>
              <a:cxnLst>
                <a:cxn ang="T10">
                  <a:pos x="T0" y="T1"/>
                </a:cxn>
                <a:cxn ang="T11">
                  <a:pos x="T2" y="T3"/>
                </a:cxn>
                <a:cxn ang="T12">
                  <a:pos x="T4" y="T5"/>
                </a:cxn>
                <a:cxn ang="T13">
                  <a:pos x="T6" y="T7"/>
                </a:cxn>
                <a:cxn ang="T14">
                  <a:pos x="T8" y="T9"/>
                </a:cxn>
              </a:cxnLst>
              <a:rect l="T15" t="T16" r="T17" b="T18"/>
              <a:pathLst>
                <a:path w="54" h="16">
                  <a:moveTo>
                    <a:pt x="10" y="16"/>
                  </a:moveTo>
                  <a:lnTo>
                    <a:pt x="54" y="10"/>
                  </a:lnTo>
                  <a:lnTo>
                    <a:pt x="40" y="0"/>
                  </a:lnTo>
                  <a:lnTo>
                    <a:pt x="0" y="6"/>
                  </a:lnTo>
                  <a:lnTo>
                    <a:pt x="10" y="16"/>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1691" name="Freeform 652"/>
            <p:cNvSpPr>
              <a:spLocks/>
            </p:cNvSpPr>
            <p:nvPr/>
          </p:nvSpPr>
          <p:spPr bwMode="gray">
            <a:xfrm rot="-451309">
              <a:off x="597" y="3783"/>
              <a:ext cx="56" cy="24"/>
            </a:xfrm>
            <a:custGeom>
              <a:avLst/>
              <a:gdLst>
                <a:gd name="T0" fmla="*/ 1 w 84"/>
                <a:gd name="T1" fmla="*/ 0 h 34"/>
                <a:gd name="T2" fmla="*/ 1 w 84"/>
                <a:gd name="T3" fmla="*/ 1 h 34"/>
                <a:gd name="T4" fmla="*/ 0 w 84"/>
                <a:gd name="T5" fmla="*/ 1 h 34"/>
                <a:gd name="T6" fmla="*/ 1 w 84"/>
                <a:gd name="T7" fmla="*/ 1 h 34"/>
                <a:gd name="T8" fmla="*/ 0 60000 65536"/>
                <a:gd name="T9" fmla="*/ 0 60000 65536"/>
                <a:gd name="T10" fmla="*/ 0 60000 65536"/>
                <a:gd name="T11" fmla="*/ 0 60000 65536"/>
                <a:gd name="T12" fmla="*/ 0 w 84"/>
                <a:gd name="T13" fmla="*/ 0 h 34"/>
                <a:gd name="T14" fmla="*/ 84 w 84"/>
                <a:gd name="T15" fmla="*/ 34 h 34"/>
              </a:gdLst>
              <a:ahLst/>
              <a:cxnLst>
                <a:cxn ang="T8">
                  <a:pos x="T0" y="T1"/>
                </a:cxn>
                <a:cxn ang="T9">
                  <a:pos x="T2" y="T3"/>
                </a:cxn>
                <a:cxn ang="T10">
                  <a:pos x="T4" y="T5"/>
                </a:cxn>
                <a:cxn ang="T11">
                  <a:pos x="T6" y="T7"/>
                </a:cxn>
              </a:cxnLst>
              <a:rect l="T12" t="T13" r="T14" b="T15"/>
              <a:pathLst>
                <a:path w="84" h="34">
                  <a:moveTo>
                    <a:pt x="80" y="0"/>
                  </a:moveTo>
                  <a:lnTo>
                    <a:pt x="84" y="26"/>
                  </a:lnTo>
                  <a:lnTo>
                    <a:pt x="0" y="34"/>
                  </a:lnTo>
                  <a:lnTo>
                    <a:pt x="40" y="4"/>
                  </a:lnTo>
                </a:path>
              </a:pathLst>
            </a:custGeom>
            <a:solidFill>
              <a:srgbClr val="939393"/>
            </a:solidFill>
            <a:ln w="12700">
              <a:noFill/>
              <a:round/>
              <a:headEnd/>
              <a:tailEnd/>
            </a:ln>
          </p:spPr>
          <p:txBody>
            <a:bodyPr lIns="45720" tIns="46800" rIns="45720" bIns="46800" anchor="ctr"/>
            <a:lstStyle/>
            <a:p>
              <a:pPr defTabSz="912546"/>
              <a:endParaRPr>
                <a:solidFill>
                  <a:srgbClr val="000000"/>
                </a:solidFill>
              </a:endParaRPr>
            </a:p>
          </p:txBody>
        </p:sp>
        <p:sp>
          <p:nvSpPr>
            <p:cNvPr id="441692" name="Freeform 653"/>
            <p:cNvSpPr>
              <a:spLocks/>
            </p:cNvSpPr>
            <p:nvPr/>
          </p:nvSpPr>
          <p:spPr bwMode="gray">
            <a:xfrm rot="-451309">
              <a:off x="465" y="3528"/>
              <a:ext cx="601" cy="154"/>
            </a:xfrm>
            <a:custGeom>
              <a:avLst/>
              <a:gdLst>
                <a:gd name="T0" fmla="*/ 1 w 876"/>
                <a:gd name="T1" fmla="*/ 2 h 224"/>
                <a:gd name="T2" fmla="*/ 7 w 876"/>
                <a:gd name="T3" fmla="*/ 1 h 224"/>
                <a:gd name="T4" fmla="*/ 5 w 876"/>
                <a:gd name="T5" fmla="*/ 0 h 224"/>
                <a:gd name="T6" fmla="*/ 0 w 876"/>
                <a:gd name="T7" fmla="*/ 1 h 224"/>
                <a:gd name="T8" fmla="*/ 1 w 876"/>
                <a:gd name="T9" fmla="*/ 2 h 224"/>
                <a:gd name="T10" fmla="*/ 0 60000 65536"/>
                <a:gd name="T11" fmla="*/ 0 60000 65536"/>
                <a:gd name="T12" fmla="*/ 0 60000 65536"/>
                <a:gd name="T13" fmla="*/ 0 60000 65536"/>
                <a:gd name="T14" fmla="*/ 0 60000 65536"/>
                <a:gd name="T15" fmla="*/ 0 w 876"/>
                <a:gd name="T16" fmla="*/ 0 h 224"/>
                <a:gd name="T17" fmla="*/ 876 w 876"/>
                <a:gd name="T18" fmla="*/ 224 h 224"/>
              </a:gdLst>
              <a:ahLst/>
              <a:cxnLst>
                <a:cxn ang="T10">
                  <a:pos x="T0" y="T1"/>
                </a:cxn>
                <a:cxn ang="T11">
                  <a:pos x="T2" y="T3"/>
                </a:cxn>
                <a:cxn ang="T12">
                  <a:pos x="T4" y="T5"/>
                </a:cxn>
                <a:cxn ang="T13">
                  <a:pos x="T6" y="T7"/>
                </a:cxn>
                <a:cxn ang="T14">
                  <a:pos x="T8" y="T9"/>
                </a:cxn>
              </a:cxnLst>
              <a:rect l="T15" t="T16" r="T17" b="T18"/>
              <a:pathLst>
                <a:path w="876" h="224">
                  <a:moveTo>
                    <a:pt x="154" y="224"/>
                  </a:moveTo>
                  <a:lnTo>
                    <a:pt x="876" y="180"/>
                  </a:lnTo>
                  <a:lnTo>
                    <a:pt x="682" y="0"/>
                  </a:lnTo>
                  <a:lnTo>
                    <a:pt x="0" y="42"/>
                  </a:lnTo>
                  <a:lnTo>
                    <a:pt x="154" y="224"/>
                  </a:lnTo>
                  <a:close/>
                </a:path>
              </a:pathLst>
            </a:custGeom>
            <a:solidFill>
              <a:srgbClr val="DDE3DD"/>
            </a:solidFill>
            <a:ln w="12700">
              <a:noFill/>
              <a:round/>
              <a:headEnd/>
              <a:tailEnd/>
            </a:ln>
          </p:spPr>
          <p:txBody>
            <a:bodyPr lIns="45720" tIns="46800" rIns="45720" bIns="46800" anchor="ctr"/>
            <a:lstStyle/>
            <a:p>
              <a:pPr defTabSz="912546"/>
              <a:endParaRPr>
                <a:solidFill>
                  <a:srgbClr val="000000"/>
                </a:solidFill>
              </a:endParaRPr>
            </a:p>
          </p:txBody>
        </p:sp>
        <p:sp>
          <p:nvSpPr>
            <p:cNvPr id="441693" name="Freeform 654"/>
            <p:cNvSpPr>
              <a:spLocks/>
            </p:cNvSpPr>
            <p:nvPr/>
          </p:nvSpPr>
          <p:spPr bwMode="gray">
            <a:xfrm rot="-451309">
              <a:off x="356" y="3520"/>
              <a:ext cx="571" cy="58"/>
            </a:xfrm>
            <a:custGeom>
              <a:avLst/>
              <a:gdLst>
                <a:gd name="T0" fmla="*/ 1 w 832"/>
                <a:gd name="T1" fmla="*/ 1 h 84"/>
                <a:gd name="T2" fmla="*/ 6 w 832"/>
                <a:gd name="T3" fmla="*/ 1 h 84"/>
                <a:gd name="T4" fmla="*/ 5 w 832"/>
                <a:gd name="T5" fmla="*/ 0 h 84"/>
                <a:gd name="T6" fmla="*/ 0 w 832"/>
                <a:gd name="T7" fmla="*/ 1 h 84"/>
                <a:gd name="T8" fmla="*/ 1 w 832"/>
                <a:gd name="T9" fmla="*/ 1 h 84"/>
                <a:gd name="T10" fmla="*/ 0 60000 65536"/>
                <a:gd name="T11" fmla="*/ 0 60000 65536"/>
                <a:gd name="T12" fmla="*/ 0 60000 65536"/>
                <a:gd name="T13" fmla="*/ 0 60000 65536"/>
                <a:gd name="T14" fmla="*/ 0 60000 65536"/>
                <a:gd name="T15" fmla="*/ 0 w 832"/>
                <a:gd name="T16" fmla="*/ 0 h 84"/>
                <a:gd name="T17" fmla="*/ 832 w 832"/>
                <a:gd name="T18" fmla="*/ 84 h 84"/>
              </a:gdLst>
              <a:ahLst/>
              <a:cxnLst>
                <a:cxn ang="T10">
                  <a:pos x="T0" y="T1"/>
                </a:cxn>
                <a:cxn ang="T11">
                  <a:pos x="T2" y="T3"/>
                </a:cxn>
                <a:cxn ang="T12">
                  <a:pos x="T4" y="T5"/>
                </a:cxn>
                <a:cxn ang="T13">
                  <a:pos x="T6" y="T7"/>
                </a:cxn>
                <a:cxn ang="T14">
                  <a:pos x="T8" y="T9"/>
                </a:cxn>
              </a:cxnLst>
              <a:rect l="T15" t="T16" r="T17" b="T18"/>
              <a:pathLst>
                <a:path w="832" h="84">
                  <a:moveTo>
                    <a:pt x="146" y="84"/>
                  </a:moveTo>
                  <a:lnTo>
                    <a:pt x="832" y="38"/>
                  </a:lnTo>
                  <a:lnTo>
                    <a:pt x="662" y="0"/>
                  </a:lnTo>
                  <a:lnTo>
                    <a:pt x="0" y="36"/>
                  </a:lnTo>
                  <a:lnTo>
                    <a:pt x="146" y="84"/>
                  </a:lnTo>
                  <a:close/>
                </a:path>
              </a:pathLst>
            </a:custGeom>
            <a:solidFill>
              <a:srgbClr val="F8FAF8"/>
            </a:solidFill>
            <a:ln w="12700">
              <a:noFill/>
              <a:round/>
              <a:headEnd/>
              <a:tailEnd/>
            </a:ln>
          </p:spPr>
          <p:txBody>
            <a:bodyPr lIns="45720" tIns="46800" rIns="45720" bIns="46800" anchor="ctr"/>
            <a:lstStyle/>
            <a:p>
              <a:pPr defTabSz="912546"/>
              <a:endParaRPr>
                <a:solidFill>
                  <a:srgbClr val="000000"/>
                </a:solidFill>
              </a:endParaRPr>
            </a:p>
          </p:txBody>
        </p:sp>
        <p:sp>
          <p:nvSpPr>
            <p:cNvPr id="441694" name="Freeform 655"/>
            <p:cNvSpPr>
              <a:spLocks/>
            </p:cNvSpPr>
            <p:nvPr/>
          </p:nvSpPr>
          <p:spPr bwMode="gray">
            <a:xfrm rot="-451309">
              <a:off x="717" y="3710"/>
              <a:ext cx="45" cy="45"/>
            </a:xfrm>
            <a:custGeom>
              <a:avLst/>
              <a:gdLst>
                <a:gd name="T0" fmla="*/ 0 w 66"/>
                <a:gd name="T1" fmla="*/ 1 h 66"/>
                <a:gd name="T2" fmla="*/ 1 w 66"/>
                <a:gd name="T3" fmla="*/ 1 h 66"/>
                <a:gd name="T4" fmla="*/ 1 w 66"/>
                <a:gd name="T5" fmla="*/ 0 h 66"/>
                <a:gd name="T6" fmla="*/ 1 w 66"/>
                <a:gd name="T7" fmla="*/ 1 h 66"/>
                <a:gd name="T8" fmla="*/ 0 60000 65536"/>
                <a:gd name="T9" fmla="*/ 0 60000 65536"/>
                <a:gd name="T10" fmla="*/ 0 60000 65536"/>
                <a:gd name="T11" fmla="*/ 0 60000 65536"/>
                <a:gd name="T12" fmla="*/ 0 w 66"/>
                <a:gd name="T13" fmla="*/ 0 h 66"/>
                <a:gd name="T14" fmla="*/ 66 w 66"/>
                <a:gd name="T15" fmla="*/ 66 h 66"/>
              </a:gdLst>
              <a:ahLst/>
              <a:cxnLst>
                <a:cxn ang="T8">
                  <a:pos x="T0" y="T1"/>
                </a:cxn>
                <a:cxn ang="T9">
                  <a:pos x="T2" y="T3"/>
                </a:cxn>
                <a:cxn ang="T10">
                  <a:pos x="T4" y="T5"/>
                </a:cxn>
                <a:cxn ang="T11">
                  <a:pos x="T6" y="T7"/>
                </a:cxn>
              </a:cxnLst>
              <a:rect l="T12" t="T13" r="T14" b="T15"/>
              <a:pathLst>
                <a:path w="66" h="66">
                  <a:moveTo>
                    <a:pt x="0" y="66"/>
                  </a:moveTo>
                  <a:lnTo>
                    <a:pt x="64" y="60"/>
                  </a:lnTo>
                  <a:lnTo>
                    <a:pt x="66" y="0"/>
                  </a:lnTo>
                  <a:lnTo>
                    <a:pt x="2" y="6"/>
                  </a:lnTo>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695" name="Freeform 656"/>
            <p:cNvSpPr>
              <a:spLocks/>
            </p:cNvSpPr>
            <p:nvPr/>
          </p:nvSpPr>
          <p:spPr bwMode="gray">
            <a:xfrm rot="-451309">
              <a:off x="845" y="3680"/>
              <a:ext cx="42" cy="45"/>
            </a:xfrm>
            <a:custGeom>
              <a:avLst/>
              <a:gdLst>
                <a:gd name="T0" fmla="*/ 0 w 62"/>
                <a:gd name="T1" fmla="*/ 1 h 66"/>
                <a:gd name="T2" fmla="*/ 1 w 62"/>
                <a:gd name="T3" fmla="*/ 1 h 66"/>
                <a:gd name="T4" fmla="*/ 1 w 62"/>
                <a:gd name="T5" fmla="*/ 0 h 66"/>
                <a:gd name="T6" fmla="*/ 0 w 62"/>
                <a:gd name="T7" fmla="*/ 1 h 66"/>
                <a:gd name="T8" fmla="*/ 0 60000 65536"/>
                <a:gd name="T9" fmla="*/ 0 60000 65536"/>
                <a:gd name="T10" fmla="*/ 0 60000 65536"/>
                <a:gd name="T11" fmla="*/ 0 60000 65536"/>
                <a:gd name="T12" fmla="*/ 0 w 62"/>
                <a:gd name="T13" fmla="*/ 0 h 66"/>
                <a:gd name="T14" fmla="*/ 62 w 62"/>
                <a:gd name="T15" fmla="*/ 66 h 66"/>
              </a:gdLst>
              <a:ahLst/>
              <a:cxnLst>
                <a:cxn ang="T8">
                  <a:pos x="T0" y="T1"/>
                </a:cxn>
                <a:cxn ang="T9">
                  <a:pos x="T2" y="T3"/>
                </a:cxn>
                <a:cxn ang="T10">
                  <a:pos x="T4" y="T5"/>
                </a:cxn>
                <a:cxn ang="T11">
                  <a:pos x="T6" y="T7"/>
                </a:cxn>
              </a:cxnLst>
              <a:rect l="T12" t="T13" r="T14" b="T15"/>
              <a:pathLst>
                <a:path w="62" h="66">
                  <a:moveTo>
                    <a:pt x="0" y="66"/>
                  </a:moveTo>
                  <a:lnTo>
                    <a:pt x="58" y="62"/>
                  </a:lnTo>
                  <a:lnTo>
                    <a:pt x="62" y="0"/>
                  </a:lnTo>
                  <a:lnTo>
                    <a:pt x="0" y="6"/>
                  </a:lnTo>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696" name="Freeform 657"/>
            <p:cNvSpPr>
              <a:spLocks/>
            </p:cNvSpPr>
            <p:nvPr/>
          </p:nvSpPr>
          <p:spPr bwMode="gray">
            <a:xfrm rot="-451309">
              <a:off x="961" y="3656"/>
              <a:ext cx="44" cy="43"/>
            </a:xfrm>
            <a:custGeom>
              <a:avLst/>
              <a:gdLst>
                <a:gd name="T0" fmla="*/ 0 w 64"/>
                <a:gd name="T1" fmla="*/ 1 h 64"/>
                <a:gd name="T2" fmla="*/ 1 w 64"/>
                <a:gd name="T3" fmla="*/ 1 h 64"/>
                <a:gd name="T4" fmla="*/ 1 w 64"/>
                <a:gd name="T5" fmla="*/ 0 h 64"/>
                <a:gd name="T6" fmla="*/ 1 w 64"/>
                <a:gd name="T7" fmla="*/ 1 h 64"/>
                <a:gd name="T8" fmla="*/ 0 60000 65536"/>
                <a:gd name="T9" fmla="*/ 0 60000 65536"/>
                <a:gd name="T10" fmla="*/ 0 60000 65536"/>
                <a:gd name="T11" fmla="*/ 0 60000 65536"/>
                <a:gd name="T12" fmla="*/ 0 w 64"/>
                <a:gd name="T13" fmla="*/ 0 h 64"/>
                <a:gd name="T14" fmla="*/ 64 w 64"/>
                <a:gd name="T15" fmla="*/ 64 h 64"/>
              </a:gdLst>
              <a:ahLst/>
              <a:cxnLst>
                <a:cxn ang="T8">
                  <a:pos x="T0" y="T1"/>
                </a:cxn>
                <a:cxn ang="T9">
                  <a:pos x="T2" y="T3"/>
                </a:cxn>
                <a:cxn ang="T10">
                  <a:pos x="T4" y="T5"/>
                </a:cxn>
                <a:cxn ang="T11">
                  <a:pos x="T6" y="T7"/>
                </a:cxn>
              </a:cxnLst>
              <a:rect l="T12" t="T13" r="T14" b="T15"/>
              <a:pathLst>
                <a:path w="64" h="64">
                  <a:moveTo>
                    <a:pt x="0" y="64"/>
                  </a:moveTo>
                  <a:lnTo>
                    <a:pt x="60" y="58"/>
                  </a:lnTo>
                  <a:lnTo>
                    <a:pt x="64" y="0"/>
                  </a:lnTo>
                  <a:lnTo>
                    <a:pt x="4" y="2"/>
                  </a:lnTo>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697" name="Freeform 658"/>
            <p:cNvSpPr>
              <a:spLocks/>
            </p:cNvSpPr>
            <p:nvPr/>
          </p:nvSpPr>
          <p:spPr bwMode="gray">
            <a:xfrm rot="-451309">
              <a:off x="576" y="3642"/>
              <a:ext cx="496" cy="43"/>
            </a:xfrm>
            <a:custGeom>
              <a:avLst/>
              <a:gdLst>
                <a:gd name="T0" fmla="*/ 1 w 724"/>
                <a:gd name="T1" fmla="*/ 1 h 62"/>
                <a:gd name="T2" fmla="*/ 5 w 724"/>
                <a:gd name="T3" fmla="*/ 0 h 62"/>
                <a:gd name="T4" fmla="*/ 5 w 724"/>
                <a:gd name="T5" fmla="*/ 1 h 62"/>
                <a:gd name="T6" fmla="*/ 0 w 724"/>
                <a:gd name="T7" fmla="*/ 1 h 62"/>
                <a:gd name="T8" fmla="*/ 1 w 724"/>
                <a:gd name="T9" fmla="*/ 1 h 62"/>
                <a:gd name="T10" fmla="*/ 0 60000 65536"/>
                <a:gd name="T11" fmla="*/ 0 60000 65536"/>
                <a:gd name="T12" fmla="*/ 0 60000 65536"/>
                <a:gd name="T13" fmla="*/ 0 60000 65536"/>
                <a:gd name="T14" fmla="*/ 0 60000 65536"/>
                <a:gd name="T15" fmla="*/ 0 w 724"/>
                <a:gd name="T16" fmla="*/ 0 h 62"/>
                <a:gd name="T17" fmla="*/ 724 w 724"/>
                <a:gd name="T18" fmla="*/ 62 h 62"/>
              </a:gdLst>
              <a:ahLst/>
              <a:cxnLst>
                <a:cxn ang="T10">
                  <a:pos x="T0" y="T1"/>
                </a:cxn>
                <a:cxn ang="T11">
                  <a:pos x="T2" y="T3"/>
                </a:cxn>
                <a:cxn ang="T12">
                  <a:pos x="T4" y="T5"/>
                </a:cxn>
                <a:cxn ang="T13">
                  <a:pos x="T6" y="T7"/>
                </a:cxn>
                <a:cxn ang="T14">
                  <a:pos x="T8" y="T9"/>
                </a:cxn>
              </a:cxnLst>
              <a:rect l="T15" t="T16" r="T17" b="T18"/>
              <a:pathLst>
                <a:path w="724" h="62">
                  <a:moveTo>
                    <a:pt x="2" y="48"/>
                  </a:moveTo>
                  <a:lnTo>
                    <a:pt x="722" y="0"/>
                  </a:lnTo>
                  <a:lnTo>
                    <a:pt x="724" y="10"/>
                  </a:lnTo>
                  <a:lnTo>
                    <a:pt x="0" y="62"/>
                  </a:lnTo>
                  <a:lnTo>
                    <a:pt x="2" y="48"/>
                  </a:lnTo>
                  <a:close/>
                </a:path>
              </a:pathLst>
            </a:custGeom>
            <a:solidFill>
              <a:srgbClr val="D1D8BC"/>
            </a:solidFill>
            <a:ln w="12700">
              <a:noFill/>
              <a:round/>
              <a:headEnd/>
              <a:tailEnd/>
            </a:ln>
          </p:spPr>
          <p:txBody>
            <a:bodyPr lIns="45720" tIns="46800" rIns="45720" bIns="46800" anchor="ctr"/>
            <a:lstStyle/>
            <a:p>
              <a:pPr defTabSz="912546"/>
              <a:endParaRPr>
                <a:solidFill>
                  <a:srgbClr val="000000"/>
                </a:solidFill>
              </a:endParaRPr>
            </a:p>
          </p:txBody>
        </p:sp>
        <p:grpSp>
          <p:nvGrpSpPr>
            <p:cNvPr id="265137" name="Group 659"/>
            <p:cNvGrpSpPr>
              <a:grpSpLocks/>
            </p:cNvGrpSpPr>
            <p:nvPr/>
          </p:nvGrpSpPr>
          <p:grpSpPr bwMode="gray">
            <a:xfrm rot="-451309">
              <a:off x="555" y="3599"/>
              <a:ext cx="108" cy="32"/>
              <a:chOff x="2718" y="992"/>
              <a:chExt cx="155" cy="48"/>
            </a:xfrm>
          </p:grpSpPr>
          <p:sp>
            <p:nvSpPr>
              <p:cNvPr id="441770" name="Freeform 660"/>
              <p:cNvSpPr>
                <a:spLocks/>
              </p:cNvSpPr>
              <p:nvPr/>
            </p:nvSpPr>
            <p:spPr bwMode="gray">
              <a:xfrm>
                <a:off x="2718" y="998"/>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779B7F"/>
              </a:solidFill>
              <a:ln w="12700">
                <a:noFill/>
                <a:round/>
                <a:headEnd/>
                <a:tailEnd/>
              </a:ln>
            </p:spPr>
            <p:txBody>
              <a:bodyPr lIns="45720" tIns="46800" rIns="45720" bIns="46800" anchor="ctr"/>
              <a:lstStyle/>
              <a:p>
                <a:pPr defTabSz="912546"/>
                <a:endParaRPr>
                  <a:solidFill>
                    <a:srgbClr val="000000"/>
                  </a:solidFill>
                </a:endParaRPr>
              </a:p>
            </p:txBody>
          </p:sp>
          <p:sp>
            <p:nvSpPr>
              <p:cNvPr id="441771" name="Freeform 661"/>
              <p:cNvSpPr>
                <a:spLocks/>
              </p:cNvSpPr>
              <p:nvPr/>
            </p:nvSpPr>
            <p:spPr bwMode="gray">
              <a:xfrm>
                <a:off x="2719" y="992"/>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D1D8BC"/>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38" name="Group 662"/>
            <p:cNvGrpSpPr>
              <a:grpSpLocks/>
            </p:cNvGrpSpPr>
            <p:nvPr/>
          </p:nvGrpSpPr>
          <p:grpSpPr bwMode="gray">
            <a:xfrm rot="-451309">
              <a:off x="692" y="3568"/>
              <a:ext cx="106" cy="32"/>
              <a:chOff x="2854" y="1128"/>
              <a:chExt cx="155" cy="48"/>
            </a:xfrm>
          </p:grpSpPr>
          <p:sp>
            <p:nvSpPr>
              <p:cNvPr id="441768" name="Freeform 663"/>
              <p:cNvSpPr>
                <a:spLocks/>
              </p:cNvSpPr>
              <p:nvPr/>
            </p:nvSpPr>
            <p:spPr bwMode="gray">
              <a:xfrm>
                <a:off x="2854" y="1134"/>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779B7F"/>
              </a:solidFill>
              <a:ln w="12700">
                <a:noFill/>
                <a:round/>
                <a:headEnd/>
                <a:tailEnd/>
              </a:ln>
            </p:spPr>
            <p:txBody>
              <a:bodyPr lIns="45720" tIns="46800" rIns="45720" bIns="46800" anchor="ctr"/>
              <a:lstStyle/>
              <a:p>
                <a:pPr defTabSz="912546"/>
                <a:endParaRPr>
                  <a:solidFill>
                    <a:srgbClr val="000000"/>
                  </a:solidFill>
                </a:endParaRPr>
              </a:p>
            </p:txBody>
          </p:sp>
          <p:sp>
            <p:nvSpPr>
              <p:cNvPr id="441769" name="Freeform 664"/>
              <p:cNvSpPr>
                <a:spLocks/>
              </p:cNvSpPr>
              <p:nvPr/>
            </p:nvSpPr>
            <p:spPr bwMode="gray">
              <a:xfrm>
                <a:off x="2855" y="1128"/>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D1D8BC"/>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39" name="Group 665"/>
            <p:cNvGrpSpPr>
              <a:grpSpLocks/>
            </p:cNvGrpSpPr>
            <p:nvPr/>
          </p:nvGrpSpPr>
          <p:grpSpPr bwMode="gray">
            <a:xfrm rot="-451309">
              <a:off x="826" y="3540"/>
              <a:ext cx="106" cy="33"/>
              <a:chOff x="2854" y="1128"/>
              <a:chExt cx="155" cy="48"/>
            </a:xfrm>
          </p:grpSpPr>
          <p:sp>
            <p:nvSpPr>
              <p:cNvPr id="441766" name="Freeform 666"/>
              <p:cNvSpPr>
                <a:spLocks/>
              </p:cNvSpPr>
              <p:nvPr/>
            </p:nvSpPr>
            <p:spPr bwMode="gray">
              <a:xfrm>
                <a:off x="2854" y="1134"/>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779B7F"/>
              </a:solidFill>
              <a:ln w="12700">
                <a:noFill/>
                <a:round/>
                <a:headEnd/>
                <a:tailEnd/>
              </a:ln>
            </p:spPr>
            <p:txBody>
              <a:bodyPr lIns="45720" tIns="46800" rIns="45720" bIns="46800" anchor="ctr"/>
              <a:lstStyle/>
              <a:p>
                <a:pPr defTabSz="912546"/>
                <a:endParaRPr>
                  <a:solidFill>
                    <a:srgbClr val="000000"/>
                  </a:solidFill>
                </a:endParaRPr>
              </a:p>
            </p:txBody>
          </p:sp>
          <p:sp>
            <p:nvSpPr>
              <p:cNvPr id="441767" name="Freeform 667"/>
              <p:cNvSpPr>
                <a:spLocks/>
              </p:cNvSpPr>
              <p:nvPr/>
            </p:nvSpPr>
            <p:spPr bwMode="gray">
              <a:xfrm>
                <a:off x="2855" y="1128"/>
                <a:ext cx="154" cy="42"/>
              </a:xfrm>
              <a:custGeom>
                <a:avLst/>
                <a:gdLst>
                  <a:gd name="T0" fmla="*/ 0 w 154"/>
                  <a:gd name="T1" fmla="*/ 10 h 42"/>
                  <a:gd name="T2" fmla="*/ 28 w 154"/>
                  <a:gd name="T3" fmla="*/ 42 h 42"/>
                  <a:gd name="T4" fmla="*/ 154 w 154"/>
                  <a:gd name="T5" fmla="*/ 32 h 42"/>
                  <a:gd name="T6" fmla="*/ 128 w 154"/>
                  <a:gd name="T7" fmla="*/ 0 h 42"/>
                  <a:gd name="T8" fmla="*/ 0 w 154"/>
                  <a:gd name="T9" fmla="*/ 10 h 42"/>
                  <a:gd name="T10" fmla="*/ 0 60000 65536"/>
                  <a:gd name="T11" fmla="*/ 0 60000 65536"/>
                  <a:gd name="T12" fmla="*/ 0 60000 65536"/>
                  <a:gd name="T13" fmla="*/ 0 60000 65536"/>
                  <a:gd name="T14" fmla="*/ 0 60000 65536"/>
                  <a:gd name="T15" fmla="*/ 0 w 154"/>
                  <a:gd name="T16" fmla="*/ 0 h 42"/>
                  <a:gd name="T17" fmla="*/ 154 w 154"/>
                  <a:gd name="T18" fmla="*/ 42 h 42"/>
                </a:gdLst>
                <a:ahLst/>
                <a:cxnLst>
                  <a:cxn ang="T10">
                    <a:pos x="T0" y="T1"/>
                  </a:cxn>
                  <a:cxn ang="T11">
                    <a:pos x="T2" y="T3"/>
                  </a:cxn>
                  <a:cxn ang="T12">
                    <a:pos x="T4" y="T5"/>
                  </a:cxn>
                  <a:cxn ang="T13">
                    <a:pos x="T6" y="T7"/>
                  </a:cxn>
                  <a:cxn ang="T14">
                    <a:pos x="T8" y="T9"/>
                  </a:cxn>
                </a:cxnLst>
                <a:rect l="T15" t="T16" r="T17" b="T18"/>
                <a:pathLst>
                  <a:path w="154" h="42">
                    <a:moveTo>
                      <a:pt x="0" y="10"/>
                    </a:moveTo>
                    <a:lnTo>
                      <a:pt x="28" y="42"/>
                    </a:lnTo>
                    <a:lnTo>
                      <a:pt x="154" y="32"/>
                    </a:lnTo>
                    <a:lnTo>
                      <a:pt x="128" y="0"/>
                    </a:lnTo>
                    <a:lnTo>
                      <a:pt x="0" y="10"/>
                    </a:lnTo>
                    <a:close/>
                  </a:path>
                </a:pathLst>
              </a:custGeom>
              <a:solidFill>
                <a:srgbClr val="D1D8BC"/>
              </a:solidFill>
              <a:ln w="12700">
                <a:noFill/>
                <a:round/>
                <a:headEnd/>
                <a:tailEnd/>
              </a:ln>
            </p:spPr>
            <p:txBody>
              <a:bodyPr lIns="45720" tIns="46800" rIns="45720" bIns="46800" anchor="ctr"/>
              <a:lstStyle/>
              <a:p>
                <a:pPr defTabSz="912546"/>
                <a:endParaRPr>
                  <a:solidFill>
                    <a:srgbClr val="000000"/>
                  </a:solidFill>
                </a:endParaRPr>
              </a:p>
            </p:txBody>
          </p:sp>
        </p:grpSp>
        <p:sp>
          <p:nvSpPr>
            <p:cNvPr id="441701" name="Freeform 668"/>
            <p:cNvSpPr>
              <a:spLocks/>
            </p:cNvSpPr>
            <p:nvPr/>
          </p:nvSpPr>
          <p:spPr bwMode="gray">
            <a:xfrm rot="-451309">
              <a:off x="718" y="3716"/>
              <a:ext cx="44" cy="39"/>
            </a:xfrm>
            <a:custGeom>
              <a:avLst/>
              <a:gdLst>
                <a:gd name="T0" fmla="*/ 1 w 64"/>
                <a:gd name="T1" fmla="*/ 1 h 56"/>
                <a:gd name="T2" fmla="*/ 1 w 64"/>
                <a:gd name="T3" fmla="*/ 1 h 56"/>
                <a:gd name="T4" fmla="*/ 1 w 64"/>
                <a:gd name="T5" fmla="*/ 1 h 56"/>
                <a:gd name="T6" fmla="*/ 0 w 64"/>
                <a:gd name="T7" fmla="*/ 0 h 56"/>
                <a:gd name="T8" fmla="*/ 1 w 64"/>
                <a:gd name="T9" fmla="*/ 1 h 56"/>
                <a:gd name="T10" fmla="*/ 1 w 64"/>
                <a:gd name="T11" fmla="*/ 1 h 56"/>
                <a:gd name="T12" fmla="*/ 1 w 64"/>
                <a:gd name="T13" fmla="*/ 1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64" y="52"/>
                  </a:moveTo>
                  <a:lnTo>
                    <a:pt x="50" y="44"/>
                  </a:lnTo>
                  <a:lnTo>
                    <a:pt x="50" y="20"/>
                  </a:lnTo>
                  <a:lnTo>
                    <a:pt x="0" y="0"/>
                  </a:lnTo>
                  <a:lnTo>
                    <a:pt x="2" y="56"/>
                  </a:lnTo>
                  <a:lnTo>
                    <a:pt x="64" y="50"/>
                  </a:lnTo>
                  <a:lnTo>
                    <a:pt x="64" y="52"/>
                  </a:lnTo>
                  <a:close/>
                </a:path>
              </a:pathLst>
            </a:custGeom>
            <a:gradFill rotWithShape="1">
              <a:gsLst>
                <a:gs pos="0">
                  <a:srgbClr val="000000"/>
                </a:gs>
                <a:gs pos="100000">
                  <a:srgbClr val="808080"/>
                </a:gs>
              </a:gsLst>
              <a:lin ang="27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02" name="Freeform 669"/>
            <p:cNvSpPr>
              <a:spLocks/>
            </p:cNvSpPr>
            <p:nvPr/>
          </p:nvSpPr>
          <p:spPr bwMode="gray">
            <a:xfrm rot="-451309">
              <a:off x="844" y="3688"/>
              <a:ext cx="43" cy="37"/>
            </a:xfrm>
            <a:custGeom>
              <a:avLst/>
              <a:gdLst>
                <a:gd name="T0" fmla="*/ 1 w 64"/>
                <a:gd name="T1" fmla="*/ 1 h 56"/>
                <a:gd name="T2" fmla="*/ 1 w 64"/>
                <a:gd name="T3" fmla="*/ 1 h 56"/>
                <a:gd name="T4" fmla="*/ 1 w 64"/>
                <a:gd name="T5" fmla="*/ 1 h 56"/>
                <a:gd name="T6" fmla="*/ 0 w 64"/>
                <a:gd name="T7" fmla="*/ 0 h 56"/>
                <a:gd name="T8" fmla="*/ 1 w 64"/>
                <a:gd name="T9" fmla="*/ 1 h 56"/>
                <a:gd name="T10" fmla="*/ 1 w 64"/>
                <a:gd name="T11" fmla="*/ 1 h 56"/>
                <a:gd name="T12" fmla="*/ 1 w 64"/>
                <a:gd name="T13" fmla="*/ 1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64" y="52"/>
                  </a:moveTo>
                  <a:lnTo>
                    <a:pt x="50" y="44"/>
                  </a:lnTo>
                  <a:lnTo>
                    <a:pt x="50" y="20"/>
                  </a:lnTo>
                  <a:lnTo>
                    <a:pt x="0" y="0"/>
                  </a:lnTo>
                  <a:lnTo>
                    <a:pt x="2" y="56"/>
                  </a:lnTo>
                  <a:lnTo>
                    <a:pt x="64" y="50"/>
                  </a:lnTo>
                  <a:lnTo>
                    <a:pt x="64" y="52"/>
                  </a:lnTo>
                  <a:close/>
                </a:path>
              </a:pathLst>
            </a:custGeom>
            <a:gradFill rotWithShape="1">
              <a:gsLst>
                <a:gs pos="0">
                  <a:srgbClr val="000000"/>
                </a:gs>
                <a:gs pos="100000">
                  <a:srgbClr val="808080"/>
                </a:gs>
              </a:gsLst>
              <a:lin ang="27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03" name="Freeform 670"/>
            <p:cNvSpPr>
              <a:spLocks/>
            </p:cNvSpPr>
            <p:nvPr/>
          </p:nvSpPr>
          <p:spPr bwMode="gray">
            <a:xfrm rot="-451309">
              <a:off x="962" y="3661"/>
              <a:ext cx="44" cy="38"/>
            </a:xfrm>
            <a:custGeom>
              <a:avLst/>
              <a:gdLst>
                <a:gd name="T0" fmla="*/ 1 w 64"/>
                <a:gd name="T1" fmla="*/ 1 h 56"/>
                <a:gd name="T2" fmla="*/ 1 w 64"/>
                <a:gd name="T3" fmla="*/ 1 h 56"/>
                <a:gd name="T4" fmla="*/ 1 w 64"/>
                <a:gd name="T5" fmla="*/ 1 h 56"/>
                <a:gd name="T6" fmla="*/ 0 w 64"/>
                <a:gd name="T7" fmla="*/ 0 h 56"/>
                <a:gd name="T8" fmla="*/ 1 w 64"/>
                <a:gd name="T9" fmla="*/ 1 h 56"/>
                <a:gd name="T10" fmla="*/ 1 w 64"/>
                <a:gd name="T11" fmla="*/ 1 h 56"/>
                <a:gd name="T12" fmla="*/ 1 w 64"/>
                <a:gd name="T13" fmla="*/ 1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64" y="52"/>
                  </a:moveTo>
                  <a:lnTo>
                    <a:pt x="50" y="44"/>
                  </a:lnTo>
                  <a:lnTo>
                    <a:pt x="50" y="20"/>
                  </a:lnTo>
                  <a:lnTo>
                    <a:pt x="0" y="0"/>
                  </a:lnTo>
                  <a:lnTo>
                    <a:pt x="2" y="56"/>
                  </a:lnTo>
                  <a:lnTo>
                    <a:pt x="64" y="50"/>
                  </a:lnTo>
                  <a:lnTo>
                    <a:pt x="64" y="52"/>
                  </a:lnTo>
                  <a:close/>
                </a:path>
              </a:pathLst>
            </a:custGeom>
            <a:gradFill rotWithShape="1">
              <a:gsLst>
                <a:gs pos="0">
                  <a:srgbClr val="000000"/>
                </a:gs>
                <a:gs pos="100000">
                  <a:srgbClr val="808080"/>
                </a:gs>
              </a:gsLst>
              <a:lin ang="27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04" name="Freeform 671"/>
            <p:cNvSpPr>
              <a:spLocks/>
            </p:cNvSpPr>
            <p:nvPr/>
          </p:nvSpPr>
          <p:spPr bwMode="gray">
            <a:xfrm rot="-451309">
              <a:off x="477" y="3738"/>
              <a:ext cx="63" cy="58"/>
            </a:xfrm>
            <a:custGeom>
              <a:avLst/>
              <a:gdLst>
                <a:gd name="T0" fmla="*/ 1 w 92"/>
                <a:gd name="T1" fmla="*/ 1 h 86"/>
                <a:gd name="T2" fmla="*/ 1 w 92"/>
                <a:gd name="T3" fmla="*/ 1 h 86"/>
                <a:gd name="T4" fmla="*/ 0 w 92"/>
                <a:gd name="T5" fmla="*/ 0 h 86"/>
                <a:gd name="T6" fmla="*/ 1 w 92"/>
                <a:gd name="T7" fmla="*/ 1 h 86"/>
                <a:gd name="T8" fmla="*/ 1 w 92"/>
                <a:gd name="T9" fmla="*/ 1 h 86"/>
                <a:gd name="T10" fmla="*/ 0 60000 65536"/>
                <a:gd name="T11" fmla="*/ 0 60000 65536"/>
                <a:gd name="T12" fmla="*/ 0 60000 65536"/>
                <a:gd name="T13" fmla="*/ 0 60000 65536"/>
                <a:gd name="T14" fmla="*/ 0 60000 65536"/>
                <a:gd name="T15" fmla="*/ 0 w 92"/>
                <a:gd name="T16" fmla="*/ 0 h 86"/>
                <a:gd name="T17" fmla="*/ 92 w 92"/>
                <a:gd name="T18" fmla="*/ 86 h 86"/>
              </a:gdLst>
              <a:ahLst/>
              <a:cxnLst>
                <a:cxn ang="T10">
                  <a:pos x="T0" y="T1"/>
                </a:cxn>
                <a:cxn ang="T11">
                  <a:pos x="T2" y="T3"/>
                </a:cxn>
                <a:cxn ang="T12">
                  <a:pos x="T4" y="T5"/>
                </a:cxn>
                <a:cxn ang="T13">
                  <a:pos x="T6" y="T7"/>
                </a:cxn>
                <a:cxn ang="T14">
                  <a:pos x="T8" y="T9"/>
                </a:cxn>
              </a:cxnLst>
              <a:rect l="T15" t="T16" r="T17" b="T18"/>
              <a:pathLst>
                <a:path w="92" h="86">
                  <a:moveTo>
                    <a:pt x="72" y="34"/>
                  </a:moveTo>
                  <a:lnTo>
                    <a:pt x="38" y="2"/>
                  </a:lnTo>
                  <a:lnTo>
                    <a:pt x="0" y="0"/>
                  </a:lnTo>
                  <a:cubicBezTo>
                    <a:pt x="26" y="26"/>
                    <a:pt x="80" y="80"/>
                    <a:pt x="92" y="86"/>
                  </a:cubicBezTo>
                  <a:lnTo>
                    <a:pt x="72" y="34"/>
                  </a:lnTo>
                  <a:close/>
                </a:path>
              </a:pathLst>
            </a:custGeom>
            <a:solidFill>
              <a:srgbClr val="D6D6D6"/>
            </a:solidFill>
            <a:ln w="12700">
              <a:noFill/>
              <a:round/>
              <a:headEnd/>
              <a:tailEnd/>
            </a:ln>
          </p:spPr>
          <p:txBody>
            <a:bodyPr lIns="45720" tIns="46800" rIns="45720" bIns="46800" anchor="ctr"/>
            <a:lstStyle/>
            <a:p>
              <a:pPr defTabSz="912546"/>
              <a:endParaRPr>
                <a:solidFill>
                  <a:srgbClr val="000000"/>
                </a:solidFill>
              </a:endParaRPr>
            </a:p>
          </p:txBody>
        </p:sp>
        <p:sp>
          <p:nvSpPr>
            <p:cNvPr id="441705" name="Freeform 672"/>
            <p:cNvSpPr>
              <a:spLocks/>
            </p:cNvSpPr>
            <p:nvPr/>
          </p:nvSpPr>
          <p:spPr bwMode="gray">
            <a:xfrm rot="-451309">
              <a:off x="522" y="3754"/>
              <a:ext cx="43" cy="40"/>
            </a:xfrm>
            <a:custGeom>
              <a:avLst/>
              <a:gdLst>
                <a:gd name="T0" fmla="*/ 0 w 62"/>
                <a:gd name="T1" fmla="*/ 0 h 58"/>
                <a:gd name="T2" fmla="*/ 1 w 62"/>
                <a:gd name="T3" fmla="*/ 0 h 58"/>
                <a:gd name="T4" fmla="*/ 1 w 62"/>
                <a:gd name="T5" fmla="*/ 1 h 58"/>
                <a:gd name="T6" fmla="*/ 1 w 62"/>
                <a:gd name="T7" fmla="*/ 1 h 58"/>
                <a:gd name="T8" fmla="*/ 0 w 62"/>
                <a:gd name="T9" fmla="*/ 0 h 58"/>
                <a:gd name="T10" fmla="*/ 0 w 62"/>
                <a:gd name="T11" fmla="*/ 0 h 58"/>
                <a:gd name="T12" fmla="*/ 0 60000 65536"/>
                <a:gd name="T13" fmla="*/ 0 60000 65536"/>
                <a:gd name="T14" fmla="*/ 0 60000 65536"/>
                <a:gd name="T15" fmla="*/ 0 60000 65536"/>
                <a:gd name="T16" fmla="*/ 0 60000 65536"/>
                <a:gd name="T17" fmla="*/ 0 60000 65536"/>
                <a:gd name="T18" fmla="*/ 0 w 62"/>
                <a:gd name="T19" fmla="*/ 0 h 58"/>
                <a:gd name="T20" fmla="*/ 62 w 62"/>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62" h="58">
                  <a:moveTo>
                    <a:pt x="0" y="0"/>
                  </a:moveTo>
                  <a:lnTo>
                    <a:pt x="32" y="0"/>
                  </a:lnTo>
                  <a:lnTo>
                    <a:pt x="62" y="56"/>
                  </a:lnTo>
                  <a:lnTo>
                    <a:pt x="28" y="58"/>
                  </a:lnTo>
                  <a:lnTo>
                    <a:pt x="0" y="0"/>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1706" name="Freeform 673"/>
            <p:cNvSpPr>
              <a:spLocks/>
            </p:cNvSpPr>
            <p:nvPr/>
          </p:nvSpPr>
          <p:spPr bwMode="gray">
            <a:xfrm rot="-451309">
              <a:off x="519" y="3706"/>
              <a:ext cx="19" cy="49"/>
            </a:xfrm>
            <a:custGeom>
              <a:avLst/>
              <a:gdLst>
                <a:gd name="T0" fmla="*/ 0 w 28"/>
                <a:gd name="T1" fmla="*/ 1 h 70"/>
                <a:gd name="T2" fmla="*/ 1 w 28"/>
                <a:gd name="T3" fmla="*/ 1 h 70"/>
                <a:gd name="T4" fmla="*/ 1 w 28"/>
                <a:gd name="T5" fmla="*/ 1 h 70"/>
                <a:gd name="T6" fmla="*/ 0 w 28"/>
                <a:gd name="T7" fmla="*/ 0 h 70"/>
                <a:gd name="T8" fmla="*/ 0 w 28"/>
                <a:gd name="T9" fmla="*/ 1 h 70"/>
                <a:gd name="T10" fmla="*/ 0 60000 65536"/>
                <a:gd name="T11" fmla="*/ 0 60000 65536"/>
                <a:gd name="T12" fmla="*/ 0 60000 65536"/>
                <a:gd name="T13" fmla="*/ 0 60000 65536"/>
                <a:gd name="T14" fmla="*/ 0 60000 65536"/>
                <a:gd name="T15" fmla="*/ 0 w 28"/>
                <a:gd name="T16" fmla="*/ 0 h 70"/>
                <a:gd name="T17" fmla="*/ 28 w 28"/>
                <a:gd name="T18" fmla="*/ 70 h 70"/>
              </a:gdLst>
              <a:ahLst/>
              <a:cxnLst>
                <a:cxn ang="T10">
                  <a:pos x="T0" y="T1"/>
                </a:cxn>
                <a:cxn ang="T11">
                  <a:pos x="T2" y="T3"/>
                </a:cxn>
                <a:cxn ang="T12">
                  <a:pos x="T4" y="T5"/>
                </a:cxn>
                <a:cxn ang="T13">
                  <a:pos x="T6" y="T7"/>
                </a:cxn>
                <a:cxn ang="T14">
                  <a:pos x="T8" y="T9"/>
                </a:cxn>
              </a:cxnLst>
              <a:rect l="T15" t="T16" r="T17" b="T18"/>
              <a:pathLst>
                <a:path w="28" h="70">
                  <a:moveTo>
                    <a:pt x="0" y="48"/>
                  </a:moveTo>
                  <a:lnTo>
                    <a:pt x="28" y="70"/>
                  </a:lnTo>
                  <a:lnTo>
                    <a:pt x="26" y="22"/>
                  </a:lnTo>
                  <a:lnTo>
                    <a:pt x="0" y="0"/>
                  </a:lnTo>
                  <a:lnTo>
                    <a:pt x="0" y="48"/>
                  </a:ln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707" name="Freeform 674"/>
            <p:cNvSpPr>
              <a:spLocks/>
            </p:cNvSpPr>
            <p:nvPr/>
          </p:nvSpPr>
          <p:spPr bwMode="gray">
            <a:xfrm rot="-451309">
              <a:off x="476" y="3735"/>
              <a:ext cx="66" cy="24"/>
            </a:xfrm>
            <a:custGeom>
              <a:avLst/>
              <a:gdLst>
                <a:gd name="T0" fmla="*/ 0 w 96"/>
                <a:gd name="T1" fmla="*/ 1 h 36"/>
                <a:gd name="T2" fmla="*/ 1 w 96"/>
                <a:gd name="T3" fmla="*/ 1 h 36"/>
                <a:gd name="T4" fmla="*/ 1 w 96"/>
                <a:gd name="T5" fmla="*/ 1 h 36"/>
                <a:gd name="T6" fmla="*/ 1 w 96"/>
                <a:gd name="T7" fmla="*/ 1 h 36"/>
                <a:gd name="T8" fmla="*/ 1 w 96"/>
                <a:gd name="T9" fmla="*/ 0 h 36"/>
                <a:gd name="T10" fmla="*/ 1 w 96"/>
                <a:gd name="T11" fmla="*/ 1 h 36"/>
                <a:gd name="T12" fmla="*/ 0 w 96"/>
                <a:gd name="T13" fmla="*/ 1 h 36"/>
                <a:gd name="T14" fmla="*/ 0 60000 65536"/>
                <a:gd name="T15" fmla="*/ 0 60000 65536"/>
                <a:gd name="T16" fmla="*/ 0 60000 65536"/>
                <a:gd name="T17" fmla="*/ 0 60000 65536"/>
                <a:gd name="T18" fmla="*/ 0 60000 65536"/>
                <a:gd name="T19" fmla="*/ 0 60000 65536"/>
                <a:gd name="T20" fmla="*/ 0 60000 65536"/>
                <a:gd name="T21" fmla="*/ 0 w 96"/>
                <a:gd name="T22" fmla="*/ 0 h 36"/>
                <a:gd name="T23" fmla="*/ 96 w 96"/>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36">
                  <a:moveTo>
                    <a:pt x="0" y="4"/>
                  </a:moveTo>
                  <a:lnTo>
                    <a:pt x="36" y="6"/>
                  </a:lnTo>
                  <a:lnTo>
                    <a:pt x="66" y="36"/>
                  </a:lnTo>
                  <a:lnTo>
                    <a:pt x="96" y="34"/>
                  </a:lnTo>
                  <a:lnTo>
                    <a:pt x="56" y="0"/>
                  </a:lnTo>
                  <a:lnTo>
                    <a:pt x="16" y="2"/>
                  </a:lnTo>
                  <a:lnTo>
                    <a:pt x="0" y="4"/>
                  </a:lnTo>
                  <a:close/>
                </a:path>
              </a:pathLst>
            </a:custGeom>
            <a:solidFill>
              <a:srgbClr val="E5E5E5"/>
            </a:solidFill>
            <a:ln w="12700">
              <a:noFill/>
              <a:round/>
              <a:headEnd/>
              <a:tailEnd/>
            </a:ln>
          </p:spPr>
          <p:txBody>
            <a:bodyPr lIns="45720" tIns="46800" rIns="45720" bIns="46800" anchor="ctr"/>
            <a:lstStyle/>
            <a:p>
              <a:pPr defTabSz="912546"/>
              <a:endParaRPr>
                <a:solidFill>
                  <a:srgbClr val="000000"/>
                </a:solidFill>
              </a:endParaRPr>
            </a:p>
          </p:txBody>
        </p:sp>
        <p:sp>
          <p:nvSpPr>
            <p:cNvPr id="441708" name="Freeform 675"/>
            <p:cNvSpPr>
              <a:spLocks/>
            </p:cNvSpPr>
            <p:nvPr/>
          </p:nvSpPr>
          <p:spPr bwMode="gray">
            <a:xfrm rot="-451309">
              <a:off x="435" y="3654"/>
              <a:ext cx="53" cy="84"/>
            </a:xfrm>
            <a:custGeom>
              <a:avLst/>
              <a:gdLst>
                <a:gd name="T0" fmla="*/ 0 w 76"/>
                <a:gd name="T1" fmla="*/ 0 h 122"/>
                <a:gd name="T2" fmla="*/ 1 w 76"/>
                <a:gd name="T3" fmla="*/ 1 h 122"/>
                <a:gd name="T4" fmla="*/ 1 w 76"/>
                <a:gd name="T5" fmla="*/ 1 h 122"/>
                <a:gd name="T6" fmla="*/ 1 w 76"/>
                <a:gd name="T7" fmla="*/ 1 h 122"/>
                <a:gd name="T8" fmla="*/ 1 w 76"/>
                <a:gd name="T9" fmla="*/ 1 h 122"/>
                <a:gd name="T10" fmla="*/ 0 w 76"/>
                <a:gd name="T11" fmla="*/ 0 h 122"/>
                <a:gd name="T12" fmla="*/ 0 60000 65536"/>
                <a:gd name="T13" fmla="*/ 0 60000 65536"/>
                <a:gd name="T14" fmla="*/ 0 60000 65536"/>
                <a:gd name="T15" fmla="*/ 0 60000 65536"/>
                <a:gd name="T16" fmla="*/ 0 60000 65536"/>
                <a:gd name="T17" fmla="*/ 0 60000 65536"/>
                <a:gd name="T18" fmla="*/ 0 w 76"/>
                <a:gd name="T19" fmla="*/ 0 h 122"/>
                <a:gd name="T20" fmla="*/ 76 w 76"/>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76" h="122">
                  <a:moveTo>
                    <a:pt x="0" y="0"/>
                  </a:moveTo>
                  <a:lnTo>
                    <a:pt x="72" y="64"/>
                  </a:lnTo>
                  <a:lnTo>
                    <a:pt x="76" y="122"/>
                  </a:lnTo>
                  <a:lnTo>
                    <a:pt x="4" y="50"/>
                  </a:lnTo>
                  <a:lnTo>
                    <a:pt x="6" y="52"/>
                  </a:lnTo>
                  <a:lnTo>
                    <a:pt x="0" y="0"/>
                  </a:ln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709" name="Freeform 676"/>
            <p:cNvSpPr>
              <a:spLocks/>
            </p:cNvSpPr>
            <p:nvPr/>
          </p:nvSpPr>
          <p:spPr bwMode="gray">
            <a:xfrm rot="-451309">
              <a:off x="398" y="3630"/>
              <a:ext cx="19" cy="51"/>
            </a:xfrm>
            <a:custGeom>
              <a:avLst/>
              <a:gdLst>
                <a:gd name="T0" fmla="*/ 1 w 29"/>
                <a:gd name="T1" fmla="*/ 1 h 73"/>
                <a:gd name="T2" fmla="*/ 1 w 29"/>
                <a:gd name="T3" fmla="*/ 1 h 73"/>
                <a:gd name="T4" fmla="*/ 1 w 29"/>
                <a:gd name="T5" fmla="*/ 1 h 73"/>
                <a:gd name="T6" fmla="*/ 0 w 29"/>
                <a:gd name="T7" fmla="*/ 0 h 73"/>
                <a:gd name="T8" fmla="*/ 1 w 29"/>
                <a:gd name="T9" fmla="*/ 1 h 73"/>
                <a:gd name="T10" fmla="*/ 0 60000 65536"/>
                <a:gd name="T11" fmla="*/ 0 60000 65536"/>
                <a:gd name="T12" fmla="*/ 0 60000 65536"/>
                <a:gd name="T13" fmla="*/ 0 60000 65536"/>
                <a:gd name="T14" fmla="*/ 0 60000 65536"/>
                <a:gd name="T15" fmla="*/ 0 w 29"/>
                <a:gd name="T16" fmla="*/ 0 h 73"/>
                <a:gd name="T17" fmla="*/ 29 w 29"/>
                <a:gd name="T18" fmla="*/ 73 h 73"/>
              </a:gdLst>
              <a:ahLst/>
              <a:cxnLst>
                <a:cxn ang="T10">
                  <a:pos x="T0" y="T1"/>
                </a:cxn>
                <a:cxn ang="T11">
                  <a:pos x="T2" y="T3"/>
                </a:cxn>
                <a:cxn ang="T12">
                  <a:pos x="T4" y="T5"/>
                </a:cxn>
                <a:cxn ang="T13">
                  <a:pos x="T6" y="T7"/>
                </a:cxn>
                <a:cxn ang="T14">
                  <a:pos x="T8" y="T9"/>
                </a:cxn>
              </a:cxnLst>
              <a:rect l="T15" t="T16" r="T17" b="T18"/>
              <a:pathLst>
                <a:path w="29" h="73">
                  <a:moveTo>
                    <a:pt x="24" y="22"/>
                  </a:moveTo>
                  <a:lnTo>
                    <a:pt x="29" y="73"/>
                  </a:lnTo>
                  <a:lnTo>
                    <a:pt x="6" y="50"/>
                  </a:lnTo>
                  <a:lnTo>
                    <a:pt x="0" y="0"/>
                  </a:lnTo>
                  <a:lnTo>
                    <a:pt x="24" y="22"/>
                  </a:ln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grpSp>
          <p:nvGrpSpPr>
            <p:cNvPr id="265140" name="Group 677"/>
            <p:cNvGrpSpPr>
              <a:grpSpLocks/>
            </p:cNvGrpSpPr>
            <p:nvPr/>
          </p:nvGrpSpPr>
          <p:grpSpPr bwMode="gray">
            <a:xfrm rot="-451309">
              <a:off x="863" y="3696"/>
              <a:ext cx="79" cy="96"/>
              <a:chOff x="872" y="1486"/>
              <a:chExt cx="335" cy="413"/>
            </a:xfrm>
          </p:grpSpPr>
          <p:sp>
            <p:nvSpPr>
              <p:cNvPr id="441746" name="Freeform 678"/>
              <p:cNvSpPr>
                <a:spLocks/>
              </p:cNvSpPr>
              <p:nvPr/>
            </p:nvSpPr>
            <p:spPr bwMode="gray">
              <a:xfrm>
                <a:off x="872" y="1609"/>
                <a:ext cx="314" cy="290"/>
              </a:xfrm>
              <a:custGeom>
                <a:avLst/>
                <a:gdLst>
                  <a:gd name="T0" fmla="*/ 12 w 314"/>
                  <a:gd name="T1" fmla="*/ 0 h 290"/>
                  <a:gd name="T2" fmla="*/ 8 w 314"/>
                  <a:gd name="T3" fmla="*/ 11 h 290"/>
                  <a:gd name="T4" fmla="*/ 17 w 314"/>
                  <a:gd name="T5" fmla="*/ 47 h 290"/>
                  <a:gd name="T6" fmla="*/ 32 w 314"/>
                  <a:gd name="T7" fmla="*/ 78 h 290"/>
                  <a:gd name="T8" fmla="*/ 47 w 314"/>
                  <a:gd name="T9" fmla="*/ 99 h 290"/>
                  <a:gd name="T10" fmla="*/ 80 w 314"/>
                  <a:gd name="T11" fmla="*/ 147 h 290"/>
                  <a:gd name="T12" fmla="*/ 89 w 314"/>
                  <a:gd name="T13" fmla="*/ 186 h 290"/>
                  <a:gd name="T14" fmla="*/ 110 w 314"/>
                  <a:gd name="T15" fmla="*/ 206 h 290"/>
                  <a:gd name="T16" fmla="*/ 129 w 314"/>
                  <a:gd name="T17" fmla="*/ 209 h 290"/>
                  <a:gd name="T18" fmla="*/ 155 w 314"/>
                  <a:gd name="T19" fmla="*/ 237 h 290"/>
                  <a:gd name="T20" fmla="*/ 165 w 314"/>
                  <a:gd name="T21" fmla="*/ 246 h 290"/>
                  <a:gd name="T22" fmla="*/ 167 w 314"/>
                  <a:gd name="T23" fmla="*/ 267 h 290"/>
                  <a:gd name="T24" fmla="*/ 195 w 314"/>
                  <a:gd name="T25" fmla="*/ 288 h 290"/>
                  <a:gd name="T26" fmla="*/ 219 w 314"/>
                  <a:gd name="T27" fmla="*/ 272 h 290"/>
                  <a:gd name="T28" fmla="*/ 248 w 314"/>
                  <a:gd name="T29" fmla="*/ 264 h 290"/>
                  <a:gd name="T30" fmla="*/ 258 w 314"/>
                  <a:gd name="T31" fmla="*/ 264 h 290"/>
                  <a:gd name="T32" fmla="*/ 270 w 314"/>
                  <a:gd name="T33" fmla="*/ 275 h 290"/>
                  <a:gd name="T34" fmla="*/ 311 w 314"/>
                  <a:gd name="T35" fmla="*/ 281 h 290"/>
                  <a:gd name="T36" fmla="*/ 314 w 314"/>
                  <a:gd name="T37" fmla="*/ 269 h 290"/>
                  <a:gd name="T38" fmla="*/ 309 w 314"/>
                  <a:gd name="T39" fmla="*/ 257 h 290"/>
                  <a:gd name="T40" fmla="*/ 294 w 314"/>
                  <a:gd name="T41" fmla="*/ 254 h 290"/>
                  <a:gd name="T42" fmla="*/ 273 w 314"/>
                  <a:gd name="T43" fmla="*/ 242 h 290"/>
                  <a:gd name="T44" fmla="*/ 231 w 314"/>
                  <a:gd name="T45" fmla="*/ 201 h 290"/>
                  <a:gd name="T46" fmla="*/ 213 w 314"/>
                  <a:gd name="T47" fmla="*/ 183 h 290"/>
                  <a:gd name="T48" fmla="*/ 179 w 314"/>
                  <a:gd name="T49" fmla="*/ 149 h 290"/>
                  <a:gd name="T50" fmla="*/ 153 w 314"/>
                  <a:gd name="T51" fmla="*/ 123 h 290"/>
                  <a:gd name="T52" fmla="*/ 123 w 314"/>
                  <a:gd name="T53" fmla="*/ 89 h 290"/>
                  <a:gd name="T54" fmla="*/ 81 w 314"/>
                  <a:gd name="T55" fmla="*/ 56 h 290"/>
                  <a:gd name="T56" fmla="*/ 35 w 314"/>
                  <a:gd name="T57" fmla="*/ 20 h 290"/>
                  <a:gd name="T58" fmla="*/ 12 w 314"/>
                  <a:gd name="T59" fmla="*/ 0 h 29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4"/>
                  <a:gd name="T91" fmla="*/ 0 h 290"/>
                  <a:gd name="T92" fmla="*/ 314 w 314"/>
                  <a:gd name="T93" fmla="*/ 290 h 29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4" h="290">
                    <a:moveTo>
                      <a:pt x="12" y="0"/>
                    </a:moveTo>
                    <a:cubicBezTo>
                      <a:pt x="15" y="6"/>
                      <a:pt x="14" y="8"/>
                      <a:pt x="8" y="11"/>
                    </a:cubicBezTo>
                    <a:cubicBezTo>
                      <a:pt x="0" y="26"/>
                      <a:pt x="10" y="36"/>
                      <a:pt x="17" y="47"/>
                    </a:cubicBezTo>
                    <a:cubicBezTo>
                      <a:pt x="18" y="56"/>
                      <a:pt x="15" y="78"/>
                      <a:pt x="32" y="78"/>
                    </a:cubicBezTo>
                    <a:cubicBezTo>
                      <a:pt x="32" y="98"/>
                      <a:pt x="38" y="102"/>
                      <a:pt x="47" y="99"/>
                    </a:cubicBezTo>
                    <a:cubicBezTo>
                      <a:pt x="55" y="111"/>
                      <a:pt x="73" y="133"/>
                      <a:pt x="80" y="147"/>
                    </a:cubicBezTo>
                    <a:cubicBezTo>
                      <a:pt x="82" y="158"/>
                      <a:pt x="75" y="170"/>
                      <a:pt x="89" y="186"/>
                    </a:cubicBezTo>
                    <a:cubicBezTo>
                      <a:pt x="96" y="188"/>
                      <a:pt x="93" y="203"/>
                      <a:pt x="110" y="206"/>
                    </a:cubicBezTo>
                    <a:cubicBezTo>
                      <a:pt x="116" y="201"/>
                      <a:pt x="123" y="204"/>
                      <a:pt x="129" y="209"/>
                    </a:cubicBezTo>
                    <a:cubicBezTo>
                      <a:pt x="130" y="216"/>
                      <a:pt x="150" y="231"/>
                      <a:pt x="155" y="237"/>
                    </a:cubicBezTo>
                    <a:cubicBezTo>
                      <a:pt x="157" y="246"/>
                      <a:pt x="157" y="245"/>
                      <a:pt x="165" y="246"/>
                    </a:cubicBezTo>
                    <a:cubicBezTo>
                      <a:pt x="167" y="254"/>
                      <a:pt x="165" y="259"/>
                      <a:pt x="167" y="267"/>
                    </a:cubicBezTo>
                    <a:cubicBezTo>
                      <a:pt x="169" y="283"/>
                      <a:pt x="178" y="285"/>
                      <a:pt x="195" y="288"/>
                    </a:cubicBezTo>
                    <a:cubicBezTo>
                      <a:pt x="210" y="286"/>
                      <a:pt x="204" y="275"/>
                      <a:pt x="219" y="272"/>
                    </a:cubicBezTo>
                    <a:cubicBezTo>
                      <a:pt x="228" y="268"/>
                      <a:pt x="238" y="267"/>
                      <a:pt x="248" y="264"/>
                    </a:cubicBezTo>
                    <a:cubicBezTo>
                      <a:pt x="256" y="266"/>
                      <a:pt x="251" y="260"/>
                      <a:pt x="258" y="264"/>
                    </a:cubicBezTo>
                    <a:cubicBezTo>
                      <a:pt x="264" y="272"/>
                      <a:pt x="259" y="273"/>
                      <a:pt x="270" y="275"/>
                    </a:cubicBezTo>
                    <a:cubicBezTo>
                      <a:pt x="279" y="290"/>
                      <a:pt x="304" y="286"/>
                      <a:pt x="311" y="281"/>
                    </a:cubicBezTo>
                    <a:cubicBezTo>
                      <a:pt x="314" y="276"/>
                      <a:pt x="312" y="275"/>
                      <a:pt x="314" y="269"/>
                    </a:cubicBezTo>
                    <a:cubicBezTo>
                      <a:pt x="314" y="267"/>
                      <a:pt x="312" y="258"/>
                      <a:pt x="309" y="257"/>
                    </a:cubicBezTo>
                    <a:cubicBezTo>
                      <a:pt x="304" y="255"/>
                      <a:pt x="294" y="254"/>
                      <a:pt x="294" y="254"/>
                    </a:cubicBezTo>
                    <a:cubicBezTo>
                      <a:pt x="286" y="250"/>
                      <a:pt x="280" y="247"/>
                      <a:pt x="273" y="242"/>
                    </a:cubicBezTo>
                    <a:cubicBezTo>
                      <a:pt x="261" y="223"/>
                      <a:pt x="247" y="215"/>
                      <a:pt x="231" y="201"/>
                    </a:cubicBezTo>
                    <a:cubicBezTo>
                      <a:pt x="224" y="195"/>
                      <a:pt x="221" y="188"/>
                      <a:pt x="213" y="183"/>
                    </a:cubicBezTo>
                    <a:cubicBezTo>
                      <a:pt x="203" y="170"/>
                      <a:pt x="191" y="161"/>
                      <a:pt x="179" y="149"/>
                    </a:cubicBezTo>
                    <a:cubicBezTo>
                      <a:pt x="171" y="141"/>
                      <a:pt x="163" y="129"/>
                      <a:pt x="153" y="123"/>
                    </a:cubicBezTo>
                    <a:cubicBezTo>
                      <a:pt x="144" y="112"/>
                      <a:pt x="134" y="98"/>
                      <a:pt x="123" y="89"/>
                    </a:cubicBezTo>
                    <a:cubicBezTo>
                      <a:pt x="114" y="75"/>
                      <a:pt x="94" y="66"/>
                      <a:pt x="81" y="56"/>
                    </a:cubicBezTo>
                    <a:cubicBezTo>
                      <a:pt x="66" y="45"/>
                      <a:pt x="49" y="33"/>
                      <a:pt x="35" y="20"/>
                    </a:cubicBezTo>
                    <a:cubicBezTo>
                      <a:pt x="26" y="12"/>
                      <a:pt x="24" y="5"/>
                      <a:pt x="12" y="0"/>
                    </a:cubicBez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747" name="Freeform 679"/>
              <p:cNvSpPr>
                <a:spLocks/>
              </p:cNvSpPr>
              <p:nvPr/>
            </p:nvSpPr>
            <p:spPr bwMode="gray">
              <a:xfrm>
                <a:off x="875" y="1486"/>
                <a:ext cx="103" cy="299"/>
              </a:xfrm>
              <a:custGeom>
                <a:avLst/>
                <a:gdLst>
                  <a:gd name="T0" fmla="*/ 98 w 103"/>
                  <a:gd name="T1" fmla="*/ 147 h 299"/>
                  <a:gd name="T2" fmla="*/ 101 w 103"/>
                  <a:gd name="T3" fmla="*/ 299 h 299"/>
                  <a:gd name="T4" fmla="*/ 6 w 103"/>
                  <a:gd name="T5" fmla="*/ 140 h 299"/>
                  <a:gd name="T6" fmla="*/ 0 w 103"/>
                  <a:gd name="T7" fmla="*/ 0 h 299"/>
                  <a:gd name="T8" fmla="*/ 98 w 103"/>
                  <a:gd name="T9" fmla="*/ 147 h 299"/>
                  <a:gd name="T10" fmla="*/ 0 60000 65536"/>
                  <a:gd name="T11" fmla="*/ 0 60000 65536"/>
                  <a:gd name="T12" fmla="*/ 0 60000 65536"/>
                  <a:gd name="T13" fmla="*/ 0 60000 65536"/>
                  <a:gd name="T14" fmla="*/ 0 60000 65536"/>
                  <a:gd name="T15" fmla="*/ 0 w 103"/>
                  <a:gd name="T16" fmla="*/ 0 h 299"/>
                  <a:gd name="T17" fmla="*/ 103 w 103"/>
                  <a:gd name="T18" fmla="*/ 299 h 299"/>
                </a:gdLst>
                <a:ahLst/>
                <a:cxnLst>
                  <a:cxn ang="T10">
                    <a:pos x="T0" y="T1"/>
                  </a:cxn>
                  <a:cxn ang="T11">
                    <a:pos x="T2" y="T3"/>
                  </a:cxn>
                  <a:cxn ang="T12">
                    <a:pos x="T4" y="T5"/>
                  </a:cxn>
                  <a:cxn ang="T13">
                    <a:pos x="T6" y="T7"/>
                  </a:cxn>
                  <a:cxn ang="T14">
                    <a:pos x="T8" y="T9"/>
                  </a:cxn>
                </a:cxnLst>
                <a:rect l="T15" t="T16" r="T17" b="T18"/>
                <a:pathLst>
                  <a:path w="103" h="299">
                    <a:moveTo>
                      <a:pt x="98" y="147"/>
                    </a:moveTo>
                    <a:cubicBezTo>
                      <a:pt x="98" y="179"/>
                      <a:pt x="103" y="237"/>
                      <a:pt x="101" y="299"/>
                    </a:cubicBezTo>
                    <a:cubicBezTo>
                      <a:pt x="77" y="249"/>
                      <a:pt x="23" y="193"/>
                      <a:pt x="6" y="140"/>
                    </a:cubicBezTo>
                    <a:lnTo>
                      <a:pt x="0" y="0"/>
                    </a:lnTo>
                    <a:lnTo>
                      <a:pt x="98" y="147"/>
                    </a:lnTo>
                    <a:close/>
                  </a:path>
                </a:pathLst>
              </a:custGeom>
              <a:gradFill rotWithShape="1">
                <a:gsLst>
                  <a:gs pos="0">
                    <a:srgbClr val="C5C5C5"/>
                  </a:gs>
                  <a:gs pos="100000">
                    <a:srgbClr val="BABABA"/>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48" name="Freeform 680"/>
              <p:cNvSpPr>
                <a:spLocks/>
              </p:cNvSpPr>
              <p:nvPr/>
            </p:nvSpPr>
            <p:spPr bwMode="gray">
              <a:xfrm>
                <a:off x="877" y="1486"/>
                <a:ext cx="262" cy="148"/>
              </a:xfrm>
              <a:custGeom>
                <a:avLst/>
                <a:gdLst>
                  <a:gd name="T0" fmla="*/ 116 w 262"/>
                  <a:gd name="T1" fmla="*/ 2 h 148"/>
                  <a:gd name="T2" fmla="*/ 262 w 262"/>
                  <a:gd name="T3" fmla="*/ 144 h 148"/>
                  <a:gd name="T4" fmla="*/ 98 w 262"/>
                  <a:gd name="T5" fmla="*/ 148 h 148"/>
                  <a:gd name="T6" fmla="*/ 0 w 262"/>
                  <a:gd name="T7" fmla="*/ 0 h 148"/>
                  <a:gd name="T8" fmla="*/ 0 60000 65536"/>
                  <a:gd name="T9" fmla="*/ 0 60000 65536"/>
                  <a:gd name="T10" fmla="*/ 0 60000 65536"/>
                  <a:gd name="T11" fmla="*/ 0 60000 65536"/>
                  <a:gd name="T12" fmla="*/ 0 w 262"/>
                  <a:gd name="T13" fmla="*/ 0 h 148"/>
                  <a:gd name="T14" fmla="*/ 262 w 262"/>
                  <a:gd name="T15" fmla="*/ 148 h 148"/>
                </a:gdLst>
                <a:ahLst/>
                <a:cxnLst>
                  <a:cxn ang="T8">
                    <a:pos x="T0" y="T1"/>
                  </a:cxn>
                  <a:cxn ang="T9">
                    <a:pos x="T2" y="T3"/>
                  </a:cxn>
                  <a:cxn ang="T10">
                    <a:pos x="T4" y="T5"/>
                  </a:cxn>
                  <a:cxn ang="T11">
                    <a:pos x="T6" y="T7"/>
                  </a:cxn>
                </a:cxnLst>
                <a:rect l="T12" t="T13" r="T14" b="T15"/>
                <a:pathLst>
                  <a:path w="262" h="148">
                    <a:moveTo>
                      <a:pt x="116" y="2"/>
                    </a:moveTo>
                    <a:lnTo>
                      <a:pt x="262" y="144"/>
                    </a:lnTo>
                    <a:lnTo>
                      <a:pt x="98" y="148"/>
                    </a:lnTo>
                    <a:lnTo>
                      <a:pt x="0" y="0"/>
                    </a:lnTo>
                  </a:path>
                </a:pathLst>
              </a:custGeom>
              <a:solidFill>
                <a:srgbClr val="EAEAEA"/>
              </a:solidFill>
              <a:ln w="12700">
                <a:noFill/>
                <a:round/>
                <a:headEnd/>
                <a:tailEnd/>
              </a:ln>
            </p:spPr>
            <p:txBody>
              <a:bodyPr lIns="45720" tIns="46800" rIns="45720" bIns="46800" anchor="ctr"/>
              <a:lstStyle/>
              <a:p>
                <a:pPr defTabSz="912546"/>
                <a:endParaRPr>
                  <a:solidFill>
                    <a:srgbClr val="000000"/>
                  </a:solidFill>
                </a:endParaRPr>
              </a:p>
            </p:txBody>
          </p:sp>
          <p:sp>
            <p:nvSpPr>
              <p:cNvPr id="441749" name="Freeform 681"/>
              <p:cNvSpPr>
                <a:spLocks/>
              </p:cNvSpPr>
              <p:nvPr/>
            </p:nvSpPr>
            <p:spPr bwMode="gray">
              <a:xfrm>
                <a:off x="974" y="1630"/>
                <a:ext cx="162" cy="152"/>
              </a:xfrm>
              <a:custGeom>
                <a:avLst/>
                <a:gdLst>
                  <a:gd name="T0" fmla="*/ 162 w 162"/>
                  <a:gd name="T1" fmla="*/ 0 h 152"/>
                  <a:gd name="T2" fmla="*/ 160 w 162"/>
                  <a:gd name="T3" fmla="*/ 144 h 152"/>
                  <a:gd name="T4" fmla="*/ 3 w 162"/>
                  <a:gd name="T5" fmla="*/ 152 h 152"/>
                  <a:gd name="T6" fmla="*/ 0 w 162"/>
                  <a:gd name="T7" fmla="*/ 3 h 152"/>
                  <a:gd name="T8" fmla="*/ 0 60000 65536"/>
                  <a:gd name="T9" fmla="*/ 0 60000 65536"/>
                  <a:gd name="T10" fmla="*/ 0 60000 65536"/>
                  <a:gd name="T11" fmla="*/ 0 60000 65536"/>
                  <a:gd name="T12" fmla="*/ 0 w 162"/>
                  <a:gd name="T13" fmla="*/ 0 h 152"/>
                  <a:gd name="T14" fmla="*/ 162 w 162"/>
                  <a:gd name="T15" fmla="*/ 152 h 152"/>
                </a:gdLst>
                <a:ahLst/>
                <a:cxnLst>
                  <a:cxn ang="T8">
                    <a:pos x="T0" y="T1"/>
                  </a:cxn>
                  <a:cxn ang="T9">
                    <a:pos x="T2" y="T3"/>
                  </a:cxn>
                  <a:cxn ang="T10">
                    <a:pos x="T4" y="T5"/>
                  </a:cxn>
                  <a:cxn ang="T11">
                    <a:pos x="T6" y="T7"/>
                  </a:cxn>
                </a:cxnLst>
                <a:rect l="T12" t="T13" r="T14" b="T15"/>
                <a:pathLst>
                  <a:path w="162" h="152">
                    <a:moveTo>
                      <a:pt x="162" y="0"/>
                    </a:moveTo>
                    <a:lnTo>
                      <a:pt x="160" y="144"/>
                    </a:lnTo>
                    <a:lnTo>
                      <a:pt x="3" y="152"/>
                    </a:lnTo>
                    <a:lnTo>
                      <a:pt x="0" y="3"/>
                    </a:lnTo>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1750" name="Freeform 682"/>
              <p:cNvSpPr>
                <a:spLocks/>
              </p:cNvSpPr>
              <p:nvPr/>
            </p:nvSpPr>
            <p:spPr bwMode="gray">
              <a:xfrm>
                <a:off x="972" y="1637"/>
                <a:ext cx="162" cy="152"/>
              </a:xfrm>
              <a:custGeom>
                <a:avLst/>
                <a:gdLst>
                  <a:gd name="T0" fmla="*/ 34 w 162"/>
                  <a:gd name="T1" fmla="*/ 8 h 152"/>
                  <a:gd name="T2" fmla="*/ 25 w 162"/>
                  <a:gd name="T3" fmla="*/ 14 h 152"/>
                  <a:gd name="T4" fmla="*/ 17 w 162"/>
                  <a:gd name="T5" fmla="*/ 41 h 152"/>
                  <a:gd name="T6" fmla="*/ 37 w 162"/>
                  <a:gd name="T7" fmla="*/ 152 h 152"/>
                  <a:gd name="T8" fmla="*/ 55 w 162"/>
                  <a:gd name="T9" fmla="*/ 142 h 152"/>
                  <a:gd name="T10" fmla="*/ 82 w 162"/>
                  <a:gd name="T11" fmla="*/ 133 h 152"/>
                  <a:gd name="T12" fmla="*/ 106 w 162"/>
                  <a:gd name="T13" fmla="*/ 121 h 152"/>
                  <a:gd name="T14" fmla="*/ 136 w 162"/>
                  <a:gd name="T15" fmla="*/ 106 h 152"/>
                  <a:gd name="T16" fmla="*/ 160 w 162"/>
                  <a:gd name="T17" fmla="*/ 91 h 152"/>
                  <a:gd name="T18" fmla="*/ 158 w 162"/>
                  <a:gd name="T19" fmla="*/ 76 h 152"/>
                  <a:gd name="T20" fmla="*/ 154 w 162"/>
                  <a:gd name="T21" fmla="*/ 26 h 152"/>
                  <a:gd name="T22" fmla="*/ 145 w 162"/>
                  <a:gd name="T23" fmla="*/ 13 h 152"/>
                  <a:gd name="T24" fmla="*/ 143 w 162"/>
                  <a:gd name="T25" fmla="*/ 34 h 152"/>
                  <a:gd name="T26" fmla="*/ 139 w 162"/>
                  <a:gd name="T27" fmla="*/ 37 h 152"/>
                  <a:gd name="T28" fmla="*/ 131 w 162"/>
                  <a:gd name="T29" fmla="*/ 74 h 152"/>
                  <a:gd name="T30" fmla="*/ 73 w 162"/>
                  <a:gd name="T31" fmla="*/ 83 h 152"/>
                  <a:gd name="T32" fmla="*/ 43 w 162"/>
                  <a:gd name="T33" fmla="*/ 80 h 152"/>
                  <a:gd name="T34" fmla="*/ 41 w 162"/>
                  <a:gd name="T35" fmla="*/ 35 h 152"/>
                  <a:gd name="T36" fmla="*/ 35 w 162"/>
                  <a:gd name="T37" fmla="*/ 34 h 152"/>
                  <a:gd name="T38" fmla="*/ 34 w 162"/>
                  <a:gd name="T39" fmla="*/ 8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2"/>
                  <a:gd name="T61" fmla="*/ 0 h 152"/>
                  <a:gd name="T62" fmla="*/ 162 w 162"/>
                  <a:gd name="T63" fmla="*/ 152 h 1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2" h="152">
                    <a:moveTo>
                      <a:pt x="34" y="8"/>
                    </a:moveTo>
                    <a:cubicBezTo>
                      <a:pt x="26" y="6"/>
                      <a:pt x="22" y="5"/>
                      <a:pt x="25" y="14"/>
                    </a:cubicBezTo>
                    <a:cubicBezTo>
                      <a:pt x="22" y="43"/>
                      <a:pt x="24" y="26"/>
                      <a:pt x="17" y="41"/>
                    </a:cubicBezTo>
                    <a:cubicBezTo>
                      <a:pt x="22" y="67"/>
                      <a:pt x="0" y="146"/>
                      <a:pt x="37" y="152"/>
                    </a:cubicBezTo>
                    <a:cubicBezTo>
                      <a:pt x="46" y="151"/>
                      <a:pt x="46" y="144"/>
                      <a:pt x="55" y="142"/>
                    </a:cubicBezTo>
                    <a:cubicBezTo>
                      <a:pt x="63" y="138"/>
                      <a:pt x="73" y="134"/>
                      <a:pt x="82" y="133"/>
                    </a:cubicBezTo>
                    <a:cubicBezTo>
                      <a:pt x="89" y="128"/>
                      <a:pt x="97" y="122"/>
                      <a:pt x="106" y="121"/>
                    </a:cubicBezTo>
                    <a:cubicBezTo>
                      <a:pt x="116" y="116"/>
                      <a:pt x="125" y="108"/>
                      <a:pt x="136" y="106"/>
                    </a:cubicBezTo>
                    <a:cubicBezTo>
                      <a:pt x="143" y="101"/>
                      <a:pt x="152" y="96"/>
                      <a:pt x="160" y="91"/>
                    </a:cubicBezTo>
                    <a:cubicBezTo>
                      <a:pt x="161" y="85"/>
                      <a:pt x="161" y="81"/>
                      <a:pt x="158" y="76"/>
                    </a:cubicBezTo>
                    <a:cubicBezTo>
                      <a:pt x="161" y="61"/>
                      <a:pt x="162" y="40"/>
                      <a:pt x="154" y="26"/>
                    </a:cubicBezTo>
                    <a:cubicBezTo>
                      <a:pt x="153" y="20"/>
                      <a:pt x="153" y="0"/>
                      <a:pt x="145" y="13"/>
                    </a:cubicBezTo>
                    <a:cubicBezTo>
                      <a:pt x="144" y="20"/>
                      <a:pt x="145" y="27"/>
                      <a:pt x="143" y="34"/>
                    </a:cubicBezTo>
                    <a:cubicBezTo>
                      <a:pt x="143" y="36"/>
                      <a:pt x="139" y="35"/>
                      <a:pt x="139" y="37"/>
                    </a:cubicBezTo>
                    <a:cubicBezTo>
                      <a:pt x="138" y="45"/>
                      <a:pt x="144" y="71"/>
                      <a:pt x="131" y="74"/>
                    </a:cubicBezTo>
                    <a:cubicBezTo>
                      <a:pt x="115" y="82"/>
                      <a:pt x="90" y="81"/>
                      <a:pt x="73" y="83"/>
                    </a:cubicBezTo>
                    <a:cubicBezTo>
                      <a:pt x="64" y="87"/>
                      <a:pt x="52" y="82"/>
                      <a:pt x="43" y="80"/>
                    </a:cubicBezTo>
                    <a:cubicBezTo>
                      <a:pt x="42" y="65"/>
                      <a:pt x="44" y="50"/>
                      <a:pt x="41" y="35"/>
                    </a:cubicBezTo>
                    <a:cubicBezTo>
                      <a:pt x="41" y="33"/>
                      <a:pt x="36" y="36"/>
                      <a:pt x="35" y="34"/>
                    </a:cubicBezTo>
                    <a:cubicBezTo>
                      <a:pt x="34" y="30"/>
                      <a:pt x="34" y="16"/>
                      <a:pt x="34" y="8"/>
                    </a:cubicBez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51" name="Freeform 683"/>
              <p:cNvSpPr>
                <a:spLocks/>
              </p:cNvSpPr>
              <p:nvPr/>
            </p:nvSpPr>
            <p:spPr bwMode="gray">
              <a:xfrm>
                <a:off x="997" y="1694"/>
                <a:ext cx="209" cy="181"/>
              </a:xfrm>
              <a:custGeom>
                <a:avLst/>
                <a:gdLst>
                  <a:gd name="T0" fmla="*/ 8 w 209"/>
                  <a:gd name="T1" fmla="*/ 14 h 181"/>
                  <a:gd name="T2" fmla="*/ 4 w 209"/>
                  <a:gd name="T3" fmla="*/ 116 h 181"/>
                  <a:gd name="T4" fmla="*/ 36 w 209"/>
                  <a:gd name="T5" fmla="*/ 154 h 181"/>
                  <a:gd name="T6" fmla="*/ 44 w 209"/>
                  <a:gd name="T7" fmla="*/ 136 h 181"/>
                  <a:gd name="T8" fmla="*/ 66 w 209"/>
                  <a:gd name="T9" fmla="*/ 176 h 181"/>
                  <a:gd name="T10" fmla="*/ 80 w 209"/>
                  <a:gd name="T11" fmla="*/ 180 h 181"/>
                  <a:gd name="T12" fmla="*/ 190 w 209"/>
                  <a:gd name="T13" fmla="*/ 174 h 181"/>
                  <a:gd name="T14" fmla="*/ 204 w 209"/>
                  <a:gd name="T15" fmla="*/ 140 h 181"/>
                  <a:gd name="T16" fmla="*/ 170 w 209"/>
                  <a:gd name="T17" fmla="*/ 88 h 181"/>
                  <a:gd name="T18" fmla="*/ 154 w 209"/>
                  <a:gd name="T19" fmla="*/ 72 h 181"/>
                  <a:gd name="T20" fmla="*/ 134 w 209"/>
                  <a:gd name="T21" fmla="*/ 6 h 181"/>
                  <a:gd name="T22" fmla="*/ 8 w 209"/>
                  <a:gd name="T23" fmla="*/ 14 h 1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9"/>
                  <a:gd name="T37" fmla="*/ 0 h 181"/>
                  <a:gd name="T38" fmla="*/ 209 w 209"/>
                  <a:gd name="T39" fmla="*/ 181 h 1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9" h="181">
                    <a:moveTo>
                      <a:pt x="8" y="14"/>
                    </a:moveTo>
                    <a:cubicBezTo>
                      <a:pt x="5" y="30"/>
                      <a:pt x="0" y="94"/>
                      <a:pt x="4" y="116"/>
                    </a:cubicBezTo>
                    <a:cubicBezTo>
                      <a:pt x="9" y="135"/>
                      <a:pt x="29" y="151"/>
                      <a:pt x="36" y="154"/>
                    </a:cubicBezTo>
                    <a:cubicBezTo>
                      <a:pt x="41" y="150"/>
                      <a:pt x="40" y="141"/>
                      <a:pt x="44" y="136"/>
                    </a:cubicBezTo>
                    <a:cubicBezTo>
                      <a:pt x="67" y="141"/>
                      <a:pt x="55" y="163"/>
                      <a:pt x="66" y="176"/>
                    </a:cubicBezTo>
                    <a:cubicBezTo>
                      <a:pt x="69" y="180"/>
                      <a:pt x="75" y="179"/>
                      <a:pt x="80" y="180"/>
                    </a:cubicBezTo>
                    <a:cubicBezTo>
                      <a:pt x="102" y="180"/>
                      <a:pt x="169" y="181"/>
                      <a:pt x="190" y="174"/>
                    </a:cubicBezTo>
                    <a:cubicBezTo>
                      <a:pt x="209" y="170"/>
                      <a:pt x="204" y="164"/>
                      <a:pt x="204" y="140"/>
                    </a:cubicBezTo>
                    <a:cubicBezTo>
                      <a:pt x="202" y="127"/>
                      <a:pt x="202" y="114"/>
                      <a:pt x="170" y="88"/>
                    </a:cubicBezTo>
                    <a:cubicBezTo>
                      <a:pt x="166" y="75"/>
                      <a:pt x="159" y="86"/>
                      <a:pt x="154" y="72"/>
                    </a:cubicBezTo>
                    <a:cubicBezTo>
                      <a:pt x="152" y="45"/>
                      <a:pt x="152" y="22"/>
                      <a:pt x="134" y="6"/>
                    </a:cubicBezTo>
                    <a:cubicBezTo>
                      <a:pt x="108" y="0"/>
                      <a:pt x="14" y="4"/>
                      <a:pt x="8" y="14"/>
                    </a:cubicBezTo>
                    <a:close/>
                  </a:path>
                </a:pathLst>
              </a:custGeom>
              <a:solidFill>
                <a:srgbClr val="C5362B"/>
              </a:solidFill>
              <a:ln w="12700">
                <a:noFill/>
                <a:round/>
                <a:headEnd/>
                <a:tailEnd/>
              </a:ln>
            </p:spPr>
            <p:txBody>
              <a:bodyPr lIns="45720" tIns="46800" rIns="45720" bIns="46800" anchor="ctr"/>
              <a:lstStyle/>
              <a:p>
                <a:pPr defTabSz="912546"/>
                <a:endParaRPr>
                  <a:solidFill>
                    <a:srgbClr val="000000"/>
                  </a:solidFill>
                </a:endParaRPr>
              </a:p>
            </p:txBody>
          </p:sp>
          <p:sp>
            <p:nvSpPr>
              <p:cNvPr id="441752" name="Freeform 684"/>
              <p:cNvSpPr>
                <a:spLocks/>
              </p:cNvSpPr>
              <p:nvPr/>
            </p:nvSpPr>
            <p:spPr bwMode="gray">
              <a:xfrm>
                <a:off x="1043" y="1729"/>
                <a:ext cx="108" cy="43"/>
              </a:xfrm>
              <a:custGeom>
                <a:avLst/>
                <a:gdLst>
                  <a:gd name="T0" fmla="*/ 4 w 108"/>
                  <a:gd name="T1" fmla="*/ 43 h 43"/>
                  <a:gd name="T2" fmla="*/ 2 w 108"/>
                  <a:gd name="T3" fmla="*/ 5 h 43"/>
                  <a:gd name="T4" fmla="*/ 104 w 108"/>
                  <a:gd name="T5" fmla="*/ 5 h 43"/>
                  <a:gd name="T6" fmla="*/ 108 w 108"/>
                  <a:gd name="T7" fmla="*/ 39 h 43"/>
                  <a:gd name="T8" fmla="*/ 4 w 108"/>
                  <a:gd name="T9" fmla="*/ 43 h 43"/>
                  <a:gd name="T10" fmla="*/ 0 60000 65536"/>
                  <a:gd name="T11" fmla="*/ 0 60000 65536"/>
                  <a:gd name="T12" fmla="*/ 0 60000 65536"/>
                  <a:gd name="T13" fmla="*/ 0 60000 65536"/>
                  <a:gd name="T14" fmla="*/ 0 60000 65536"/>
                  <a:gd name="T15" fmla="*/ 0 w 108"/>
                  <a:gd name="T16" fmla="*/ 0 h 43"/>
                  <a:gd name="T17" fmla="*/ 108 w 108"/>
                  <a:gd name="T18" fmla="*/ 43 h 43"/>
                </a:gdLst>
                <a:ahLst/>
                <a:cxnLst>
                  <a:cxn ang="T10">
                    <a:pos x="T0" y="T1"/>
                  </a:cxn>
                  <a:cxn ang="T11">
                    <a:pos x="T2" y="T3"/>
                  </a:cxn>
                  <a:cxn ang="T12">
                    <a:pos x="T4" y="T5"/>
                  </a:cxn>
                  <a:cxn ang="T13">
                    <a:pos x="T6" y="T7"/>
                  </a:cxn>
                  <a:cxn ang="T14">
                    <a:pos x="T8" y="T9"/>
                  </a:cxn>
                </a:cxnLst>
                <a:rect l="T15" t="T16" r="T17" b="T18"/>
                <a:pathLst>
                  <a:path w="108" h="43">
                    <a:moveTo>
                      <a:pt x="4" y="43"/>
                    </a:moveTo>
                    <a:cubicBezTo>
                      <a:pt x="4" y="25"/>
                      <a:pt x="0" y="15"/>
                      <a:pt x="2" y="5"/>
                    </a:cubicBezTo>
                    <a:cubicBezTo>
                      <a:pt x="20" y="3"/>
                      <a:pt x="86" y="0"/>
                      <a:pt x="104" y="5"/>
                    </a:cubicBezTo>
                    <a:lnTo>
                      <a:pt x="108" y="39"/>
                    </a:lnTo>
                    <a:lnTo>
                      <a:pt x="4" y="43"/>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1753" name="Freeform 685"/>
              <p:cNvSpPr>
                <a:spLocks/>
              </p:cNvSpPr>
              <p:nvPr/>
            </p:nvSpPr>
            <p:spPr bwMode="gray">
              <a:xfrm>
                <a:off x="1009" y="1712"/>
                <a:ext cx="28" cy="56"/>
              </a:xfrm>
              <a:custGeom>
                <a:avLst/>
                <a:gdLst>
                  <a:gd name="T0" fmla="*/ 4 w 28"/>
                  <a:gd name="T1" fmla="*/ 0 h 56"/>
                  <a:gd name="T2" fmla="*/ 28 w 28"/>
                  <a:gd name="T3" fmla="*/ 14 h 56"/>
                  <a:gd name="T4" fmla="*/ 28 w 28"/>
                  <a:gd name="T5" fmla="*/ 56 h 56"/>
                  <a:gd name="T6" fmla="*/ 0 w 28"/>
                  <a:gd name="T7" fmla="*/ 32 h 56"/>
                  <a:gd name="T8" fmla="*/ 4 w 28"/>
                  <a:gd name="T9" fmla="*/ 0 h 56"/>
                  <a:gd name="T10" fmla="*/ 0 60000 65536"/>
                  <a:gd name="T11" fmla="*/ 0 60000 65536"/>
                  <a:gd name="T12" fmla="*/ 0 60000 65536"/>
                  <a:gd name="T13" fmla="*/ 0 60000 65536"/>
                  <a:gd name="T14" fmla="*/ 0 60000 65536"/>
                  <a:gd name="T15" fmla="*/ 0 w 28"/>
                  <a:gd name="T16" fmla="*/ 0 h 56"/>
                  <a:gd name="T17" fmla="*/ 28 w 28"/>
                  <a:gd name="T18" fmla="*/ 56 h 56"/>
                </a:gdLst>
                <a:ahLst/>
                <a:cxnLst>
                  <a:cxn ang="T10">
                    <a:pos x="T0" y="T1"/>
                  </a:cxn>
                  <a:cxn ang="T11">
                    <a:pos x="T2" y="T3"/>
                  </a:cxn>
                  <a:cxn ang="T12">
                    <a:pos x="T4" y="T5"/>
                  </a:cxn>
                  <a:cxn ang="T13">
                    <a:pos x="T6" y="T7"/>
                  </a:cxn>
                  <a:cxn ang="T14">
                    <a:pos x="T8" y="T9"/>
                  </a:cxn>
                </a:cxnLst>
                <a:rect l="T15" t="T16" r="T17" b="T18"/>
                <a:pathLst>
                  <a:path w="28" h="56">
                    <a:moveTo>
                      <a:pt x="4" y="0"/>
                    </a:moveTo>
                    <a:lnTo>
                      <a:pt x="28" y="14"/>
                    </a:lnTo>
                    <a:lnTo>
                      <a:pt x="28" y="56"/>
                    </a:lnTo>
                    <a:lnTo>
                      <a:pt x="0" y="32"/>
                    </a:lnTo>
                    <a:lnTo>
                      <a:pt x="4" y="0"/>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1754" name="Freeform 686"/>
              <p:cNvSpPr>
                <a:spLocks/>
              </p:cNvSpPr>
              <p:nvPr/>
            </p:nvSpPr>
            <p:spPr bwMode="gray">
              <a:xfrm>
                <a:off x="1005" y="1730"/>
                <a:ext cx="16" cy="48"/>
              </a:xfrm>
              <a:custGeom>
                <a:avLst/>
                <a:gdLst>
                  <a:gd name="T0" fmla="*/ 16 w 16"/>
                  <a:gd name="T1" fmla="*/ 2 h 48"/>
                  <a:gd name="T2" fmla="*/ 0 w 16"/>
                  <a:gd name="T3" fmla="*/ 0 h 48"/>
                  <a:gd name="T4" fmla="*/ 0 w 16"/>
                  <a:gd name="T5" fmla="*/ 48 h 48"/>
                  <a:gd name="T6" fmla="*/ 14 w 16"/>
                  <a:gd name="T7" fmla="*/ 48 h 48"/>
                  <a:gd name="T8" fmla="*/ 14 w 16"/>
                  <a:gd name="T9" fmla="*/ 2 h 48"/>
                  <a:gd name="T10" fmla="*/ 16 w 16"/>
                  <a:gd name="T11" fmla="*/ 2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16" y="2"/>
                    </a:moveTo>
                    <a:lnTo>
                      <a:pt x="0" y="0"/>
                    </a:lnTo>
                    <a:lnTo>
                      <a:pt x="0" y="48"/>
                    </a:lnTo>
                    <a:lnTo>
                      <a:pt x="14" y="48"/>
                    </a:lnTo>
                    <a:lnTo>
                      <a:pt x="14" y="2"/>
                    </a:lnTo>
                    <a:lnTo>
                      <a:pt x="16" y="2"/>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55" name="Freeform 687"/>
              <p:cNvSpPr>
                <a:spLocks/>
              </p:cNvSpPr>
              <p:nvPr/>
            </p:nvSpPr>
            <p:spPr bwMode="gray">
              <a:xfrm>
                <a:off x="1163" y="1725"/>
                <a:ext cx="16" cy="46"/>
              </a:xfrm>
              <a:custGeom>
                <a:avLst/>
                <a:gdLst>
                  <a:gd name="T0" fmla="*/ 16 w 16"/>
                  <a:gd name="T1" fmla="*/ 0 h 46"/>
                  <a:gd name="T2" fmla="*/ 2 w 16"/>
                  <a:gd name="T3" fmla="*/ 1 h 46"/>
                  <a:gd name="T4" fmla="*/ 0 w 16"/>
                  <a:gd name="T5" fmla="*/ 46 h 46"/>
                  <a:gd name="T6" fmla="*/ 14 w 16"/>
                  <a:gd name="T7" fmla="*/ 46 h 46"/>
                  <a:gd name="T8" fmla="*/ 14 w 16"/>
                  <a:gd name="T9" fmla="*/ 0 h 46"/>
                  <a:gd name="T10" fmla="*/ 16 w 16"/>
                  <a:gd name="T11" fmla="*/ 0 h 46"/>
                  <a:gd name="T12" fmla="*/ 0 60000 65536"/>
                  <a:gd name="T13" fmla="*/ 0 60000 65536"/>
                  <a:gd name="T14" fmla="*/ 0 60000 65536"/>
                  <a:gd name="T15" fmla="*/ 0 60000 65536"/>
                  <a:gd name="T16" fmla="*/ 0 60000 65536"/>
                  <a:gd name="T17" fmla="*/ 0 60000 65536"/>
                  <a:gd name="T18" fmla="*/ 0 w 16"/>
                  <a:gd name="T19" fmla="*/ 0 h 46"/>
                  <a:gd name="T20" fmla="*/ 16 w 16"/>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16" h="46">
                    <a:moveTo>
                      <a:pt x="16" y="0"/>
                    </a:moveTo>
                    <a:lnTo>
                      <a:pt x="2" y="1"/>
                    </a:lnTo>
                    <a:lnTo>
                      <a:pt x="0" y="46"/>
                    </a:lnTo>
                    <a:lnTo>
                      <a:pt x="14" y="46"/>
                    </a:lnTo>
                    <a:lnTo>
                      <a:pt x="14" y="0"/>
                    </a:lnTo>
                    <a:lnTo>
                      <a:pt x="16" y="0"/>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56" name="Freeform 688"/>
              <p:cNvSpPr>
                <a:spLocks/>
              </p:cNvSpPr>
              <p:nvPr/>
            </p:nvSpPr>
            <p:spPr bwMode="gray">
              <a:xfrm>
                <a:off x="111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57" name="Freeform 689"/>
              <p:cNvSpPr>
                <a:spLocks/>
              </p:cNvSpPr>
              <p:nvPr/>
            </p:nvSpPr>
            <p:spPr bwMode="gray">
              <a:xfrm>
                <a:off x="108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58" name="Freeform 690"/>
              <p:cNvSpPr>
                <a:spLocks/>
              </p:cNvSpPr>
              <p:nvPr/>
            </p:nvSpPr>
            <p:spPr bwMode="gray">
              <a:xfrm>
                <a:off x="1051" y="1707"/>
                <a:ext cx="21" cy="20"/>
              </a:xfrm>
              <a:custGeom>
                <a:avLst/>
                <a:gdLst>
                  <a:gd name="T0" fmla="*/ 5 w 21"/>
                  <a:gd name="T1" fmla="*/ 13 h 20"/>
                  <a:gd name="T2" fmla="*/ 19 w 21"/>
                  <a:gd name="T3" fmla="*/ 11 h 20"/>
                  <a:gd name="T4" fmla="*/ 5 w 21"/>
                  <a:gd name="T5" fmla="*/ 13 h 20"/>
                  <a:gd name="T6" fmla="*/ 0 60000 65536"/>
                  <a:gd name="T7" fmla="*/ 0 60000 65536"/>
                  <a:gd name="T8" fmla="*/ 0 60000 65536"/>
                  <a:gd name="T9" fmla="*/ 0 w 21"/>
                  <a:gd name="T10" fmla="*/ 0 h 20"/>
                  <a:gd name="T11" fmla="*/ 21 w 21"/>
                  <a:gd name="T12" fmla="*/ 20 h 20"/>
                </a:gdLst>
                <a:ahLst/>
                <a:cxnLst>
                  <a:cxn ang="T6">
                    <a:pos x="T0" y="T1"/>
                  </a:cxn>
                  <a:cxn ang="T7">
                    <a:pos x="T2" y="T3"/>
                  </a:cxn>
                  <a:cxn ang="T8">
                    <a:pos x="T4" y="T5"/>
                  </a:cxn>
                </a:cxnLst>
                <a:rect l="T9" t="T10" r="T11" b="T12"/>
                <a:pathLst>
                  <a:path w="21" h="20">
                    <a:moveTo>
                      <a:pt x="5" y="13"/>
                    </a:moveTo>
                    <a:cubicBezTo>
                      <a:pt x="0" y="5"/>
                      <a:pt x="1" y="0"/>
                      <a:pt x="19" y="11"/>
                    </a:cubicBezTo>
                    <a:cubicBezTo>
                      <a:pt x="21" y="20"/>
                      <a:pt x="10" y="15"/>
                      <a:pt x="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59" name="Freeform 691"/>
              <p:cNvSpPr>
                <a:spLocks/>
              </p:cNvSpPr>
              <p:nvPr/>
            </p:nvSpPr>
            <p:spPr bwMode="gray">
              <a:xfrm>
                <a:off x="1046" y="1770"/>
                <a:ext cx="120" cy="42"/>
              </a:xfrm>
              <a:custGeom>
                <a:avLst/>
                <a:gdLst>
                  <a:gd name="T0" fmla="*/ 1 w 120"/>
                  <a:gd name="T1" fmla="*/ 2 h 42"/>
                  <a:gd name="T2" fmla="*/ 53 w 120"/>
                  <a:gd name="T3" fmla="*/ 42 h 42"/>
                  <a:gd name="T4" fmla="*/ 120 w 120"/>
                  <a:gd name="T5" fmla="*/ 39 h 42"/>
                  <a:gd name="T6" fmla="*/ 114 w 120"/>
                  <a:gd name="T7" fmla="*/ 3 h 42"/>
                  <a:gd name="T8" fmla="*/ 105 w 120"/>
                  <a:gd name="T9" fmla="*/ 0 h 42"/>
                  <a:gd name="T10" fmla="*/ 1 w 120"/>
                  <a:gd name="T11" fmla="*/ 2 h 42"/>
                  <a:gd name="T12" fmla="*/ 0 60000 65536"/>
                  <a:gd name="T13" fmla="*/ 0 60000 65536"/>
                  <a:gd name="T14" fmla="*/ 0 60000 65536"/>
                  <a:gd name="T15" fmla="*/ 0 60000 65536"/>
                  <a:gd name="T16" fmla="*/ 0 60000 65536"/>
                  <a:gd name="T17" fmla="*/ 0 60000 65536"/>
                  <a:gd name="T18" fmla="*/ 0 w 120"/>
                  <a:gd name="T19" fmla="*/ 0 h 42"/>
                  <a:gd name="T20" fmla="*/ 120 w 120"/>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20" h="42">
                    <a:moveTo>
                      <a:pt x="1" y="2"/>
                    </a:moveTo>
                    <a:cubicBezTo>
                      <a:pt x="0" y="7"/>
                      <a:pt x="33" y="36"/>
                      <a:pt x="53" y="42"/>
                    </a:cubicBezTo>
                    <a:lnTo>
                      <a:pt x="120" y="39"/>
                    </a:lnTo>
                    <a:lnTo>
                      <a:pt x="114" y="3"/>
                    </a:lnTo>
                    <a:lnTo>
                      <a:pt x="105" y="0"/>
                    </a:lnTo>
                    <a:lnTo>
                      <a:pt x="1" y="2"/>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60" name="Freeform 692"/>
              <p:cNvSpPr>
                <a:spLocks/>
              </p:cNvSpPr>
              <p:nvPr/>
            </p:nvSpPr>
            <p:spPr bwMode="gray">
              <a:xfrm>
                <a:off x="1171" y="1790"/>
                <a:ext cx="23" cy="36"/>
              </a:xfrm>
              <a:custGeom>
                <a:avLst/>
                <a:gdLst>
                  <a:gd name="T0" fmla="*/ 1 w 23"/>
                  <a:gd name="T1" fmla="*/ 36 h 36"/>
                  <a:gd name="T2" fmla="*/ 1 w 23"/>
                  <a:gd name="T3" fmla="*/ 6 h 36"/>
                  <a:gd name="T4" fmla="*/ 8 w 23"/>
                  <a:gd name="T5" fmla="*/ 5 h 36"/>
                  <a:gd name="T6" fmla="*/ 23 w 23"/>
                  <a:gd name="T7" fmla="*/ 35 h 36"/>
                  <a:gd name="T8" fmla="*/ 13 w 23"/>
                  <a:gd name="T9" fmla="*/ 35 h 36"/>
                  <a:gd name="T10" fmla="*/ 1 w 23"/>
                  <a:gd name="T11" fmla="*/ 36 h 36"/>
                  <a:gd name="T12" fmla="*/ 0 60000 65536"/>
                  <a:gd name="T13" fmla="*/ 0 60000 65536"/>
                  <a:gd name="T14" fmla="*/ 0 60000 65536"/>
                  <a:gd name="T15" fmla="*/ 0 60000 65536"/>
                  <a:gd name="T16" fmla="*/ 0 60000 65536"/>
                  <a:gd name="T17" fmla="*/ 0 60000 65536"/>
                  <a:gd name="T18" fmla="*/ 0 w 23"/>
                  <a:gd name="T19" fmla="*/ 0 h 36"/>
                  <a:gd name="T20" fmla="*/ 23 w 23"/>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23" h="36">
                    <a:moveTo>
                      <a:pt x="1" y="36"/>
                    </a:moveTo>
                    <a:lnTo>
                      <a:pt x="1" y="6"/>
                    </a:lnTo>
                    <a:cubicBezTo>
                      <a:pt x="0" y="9"/>
                      <a:pt x="4" y="0"/>
                      <a:pt x="8" y="5"/>
                    </a:cubicBezTo>
                    <a:cubicBezTo>
                      <a:pt x="12" y="10"/>
                      <a:pt x="22" y="30"/>
                      <a:pt x="23" y="35"/>
                    </a:cubicBezTo>
                    <a:cubicBezTo>
                      <a:pt x="9" y="35"/>
                      <a:pt x="17" y="35"/>
                      <a:pt x="13" y="35"/>
                    </a:cubicBezTo>
                    <a:lnTo>
                      <a:pt x="1" y="36"/>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61" name="Freeform 693"/>
              <p:cNvSpPr>
                <a:spLocks/>
              </p:cNvSpPr>
              <p:nvPr/>
            </p:nvSpPr>
            <p:spPr bwMode="gray">
              <a:xfrm>
                <a:off x="1033" y="1804"/>
                <a:ext cx="54" cy="29"/>
              </a:xfrm>
              <a:custGeom>
                <a:avLst/>
                <a:gdLst>
                  <a:gd name="T0" fmla="*/ 6 w 54"/>
                  <a:gd name="T1" fmla="*/ 12 h 29"/>
                  <a:gd name="T2" fmla="*/ 1 w 54"/>
                  <a:gd name="T3" fmla="*/ 6 h 29"/>
                  <a:gd name="T4" fmla="*/ 15 w 54"/>
                  <a:gd name="T5" fmla="*/ 3 h 29"/>
                  <a:gd name="T6" fmla="*/ 54 w 54"/>
                  <a:gd name="T7" fmla="*/ 26 h 29"/>
                  <a:gd name="T8" fmla="*/ 25 w 54"/>
                  <a:gd name="T9" fmla="*/ 26 h 29"/>
                  <a:gd name="T10" fmla="*/ 6 w 54"/>
                  <a:gd name="T11" fmla="*/ 12 h 29"/>
                  <a:gd name="T12" fmla="*/ 0 60000 65536"/>
                  <a:gd name="T13" fmla="*/ 0 60000 65536"/>
                  <a:gd name="T14" fmla="*/ 0 60000 65536"/>
                  <a:gd name="T15" fmla="*/ 0 60000 65536"/>
                  <a:gd name="T16" fmla="*/ 0 60000 65536"/>
                  <a:gd name="T17" fmla="*/ 0 60000 65536"/>
                  <a:gd name="T18" fmla="*/ 0 w 54"/>
                  <a:gd name="T19" fmla="*/ 0 h 29"/>
                  <a:gd name="T20" fmla="*/ 54 w 54"/>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4" h="29">
                    <a:moveTo>
                      <a:pt x="6" y="12"/>
                    </a:moveTo>
                    <a:lnTo>
                      <a:pt x="1" y="6"/>
                    </a:lnTo>
                    <a:cubicBezTo>
                      <a:pt x="0" y="9"/>
                      <a:pt x="6" y="0"/>
                      <a:pt x="15" y="3"/>
                    </a:cubicBezTo>
                    <a:cubicBezTo>
                      <a:pt x="24" y="6"/>
                      <a:pt x="52" y="22"/>
                      <a:pt x="54" y="26"/>
                    </a:cubicBezTo>
                    <a:cubicBezTo>
                      <a:pt x="40" y="26"/>
                      <a:pt x="33" y="29"/>
                      <a:pt x="25" y="26"/>
                    </a:cubicBezTo>
                    <a:lnTo>
                      <a:pt x="6" y="12"/>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62" name="Freeform 694"/>
              <p:cNvSpPr>
                <a:spLocks/>
              </p:cNvSpPr>
              <p:nvPr/>
            </p:nvSpPr>
            <p:spPr bwMode="gray">
              <a:xfrm>
                <a:off x="1052" y="1848"/>
                <a:ext cx="155" cy="39"/>
              </a:xfrm>
              <a:custGeom>
                <a:avLst/>
                <a:gdLst>
                  <a:gd name="T0" fmla="*/ 2 w 155"/>
                  <a:gd name="T1" fmla="*/ 4 h 39"/>
                  <a:gd name="T2" fmla="*/ 15 w 155"/>
                  <a:gd name="T3" fmla="*/ 15 h 39"/>
                  <a:gd name="T4" fmla="*/ 146 w 155"/>
                  <a:gd name="T5" fmla="*/ 12 h 39"/>
                  <a:gd name="T6" fmla="*/ 153 w 155"/>
                  <a:gd name="T7" fmla="*/ 0 h 39"/>
                  <a:gd name="T8" fmla="*/ 153 w 155"/>
                  <a:gd name="T9" fmla="*/ 24 h 39"/>
                  <a:gd name="T10" fmla="*/ 140 w 155"/>
                  <a:gd name="T11" fmla="*/ 36 h 39"/>
                  <a:gd name="T12" fmla="*/ 14 w 155"/>
                  <a:gd name="T13" fmla="*/ 37 h 39"/>
                  <a:gd name="T14" fmla="*/ 0 w 155"/>
                  <a:gd name="T15" fmla="*/ 25 h 39"/>
                  <a:gd name="T16" fmla="*/ 2 w 155"/>
                  <a:gd name="T17" fmla="*/ 4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39"/>
                  <a:gd name="T29" fmla="*/ 155 w 155"/>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39">
                    <a:moveTo>
                      <a:pt x="2" y="4"/>
                    </a:moveTo>
                    <a:cubicBezTo>
                      <a:pt x="5" y="10"/>
                      <a:pt x="6" y="15"/>
                      <a:pt x="15" y="15"/>
                    </a:cubicBezTo>
                    <a:cubicBezTo>
                      <a:pt x="40" y="17"/>
                      <a:pt x="122" y="14"/>
                      <a:pt x="146" y="12"/>
                    </a:cubicBezTo>
                    <a:cubicBezTo>
                      <a:pt x="150" y="6"/>
                      <a:pt x="152" y="6"/>
                      <a:pt x="153" y="0"/>
                    </a:cubicBezTo>
                    <a:cubicBezTo>
                      <a:pt x="153" y="13"/>
                      <a:pt x="155" y="11"/>
                      <a:pt x="153" y="24"/>
                    </a:cubicBezTo>
                    <a:cubicBezTo>
                      <a:pt x="152" y="28"/>
                      <a:pt x="140" y="36"/>
                      <a:pt x="140" y="36"/>
                    </a:cubicBezTo>
                    <a:cubicBezTo>
                      <a:pt x="98" y="39"/>
                      <a:pt x="63" y="37"/>
                      <a:pt x="14" y="37"/>
                    </a:cubicBezTo>
                    <a:cubicBezTo>
                      <a:pt x="6" y="37"/>
                      <a:pt x="2" y="30"/>
                      <a:pt x="0" y="25"/>
                    </a:cubicBezTo>
                    <a:lnTo>
                      <a:pt x="2" y="4"/>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1763" name="Freeform 695"/>
              <p:cNvSpPr>
                <a:spLocks/>
              </p:cNvSpPr>
              <p:nvPr/>
            </p:nvSpPr>
            <p:spPr bwMode="gray">
              <a:xfrm>
                <a:off x="1105" y="1815"/>
                <a:ext cx="58" cy="41"/>
              </a:xfrm>
              <a:custGeom>
                <a:avLst/>
                <a:gdLst>
                  <a:gd name="T0" fmla="*/ 57 w 58"/>
                  <a:gd name="T1" fmla="*/ 0 h 41"/>
                  <a:gd name="T2" fmla="*/ 58 w 58"/>
                  <a:gd name="T3" fmla="*/ 39 h 41"/>
                  <a:gd name="T4" fmla="*/ 3 w 58"/>
                  <a:gd name="T5" fmla="*/ 41 h 41"/>
                  <a:gd name="T6" fmla="*/ 0 w 58"/>
                  <a:gd name="T7" fmla="*/ 3 h 41"/>
                  <a:gd name="T8" fmla="*/ 57 w 58"/>
                  <a:gd name="T9" fmla="*/ 0 h 41"/>
                  <a:gd name="T10" fmla="*/ 0 60000 65536"/>
                  <a:gd name="T11" fmla="*/ 0 60000 65536"/>
                  <a:gd name="T12" fmla="*/ 0 60000 65536"/>
                  <a:gd name="T13" fmla="*/ 0 60000 65536"/>
                  <a:gd name="T14" fmla="*/ 0 60000 65536"/>
                  <a:gd name="T15" fmla="*/ 0 w 58"/>
                  <a:gd name="T16" fmla="*/ 0 h 41"/>
                  <a:gd name="T17" fmla="*/ 58 w 58"/>
                  <a:gd name="T18" fmla="*/ 41 h 41"/>
                </a:gdLst>
                <a:ahLst/>
                <a:cxnLst>
                  <a:cxn ang="T10">
                    <a:pos x="T0" y="T1"/>
                  </a:cxn>
                  <a:cxn ang="T11">
                    <a:pos x="T2" y="T3"/>
                  </a:cxn>
                  <a:cxn ang="T12">
                    <a:pos x="T4" y="T5"/>
                  </a:cxn>
                  <a:cxn ang="T13">
                    <a:pos x="T6" y="T7"/>
                  </a:cxn>
                  <a:cxn ang="T14">
                    <a:pos x="T8" y="T9"/>
                  </a:cxn>
                </a:cxnLst>
                <a:rect l="T15" t="T16" r="T17" b="T18"/>
                <a:pathLst>
                  <a:path w="58" h="41">
                    <a:moveTo>
                      <a:pt x="57" y="0"/>
                    </a:moveTo>
                    <a:lnTo>
                      <a:pt x="58" y="39"/>
                    </a:lnTo>
                    <a:lnTo>
                      <a:pt x="3" y="41"/>
                    </a:lnTo>
                    <a:lnTo>
                      <a:pt x="0" y="3"/>
                    </a:lnTo>
                    <a:lnTo>
                      <a:pt x="57" y="0"/>
                    </a:lnTo>
                    <a:close/>
                  </a:path>
                </a:pathLst>
              </a:custGeom>
              <a:solidFill>
                <a:srgbClr val="972921"/>
              </a:solidFill>
              <a:ln w="12700">
                <a:noFill/>
                <a:round/>
                <a:headEnd/>
                <a:tailEnd/>
              </a:ln>
            </p:spPr>
            <p:txBody>
              <a:bodyPr lIns="45720" tIns="46800" rIns="45720" bIns="46800" anchor="ctr"/>
              <a:lstStyle/>
              <a:p>
                <a:pPr defTabSz="912546"/>
                <a:endParaRPr>
                  <a:solidFill>
                    <a:srgbClr val="000000"/>
                  </a:solidFill>
                </a:endParaRPr>
              </a:p>
            </p:txBody>
          </p:sp>
          <p:sp>
            <p:nvSpPr>
              <p:cNvPr id="441764" name="Freeform 696"/>
              <p:cNvSpPr>
                <a:spLocks/>
              </p:cNvSpPr>
              <p:nvPr/>
            </p:nvSpPr>
            <p:spPr bwMode="gray">
              <a:xfrm>
                <a:off x="1068" y="1841"/>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1765" name="Freeform 697"/>
              <p:cNvSpPr>
                <a:spLocks/>
              </p:cNvSpPr>
              <p:nvPr/>
            </p:nvSpPr>
            <p:spPr bwMode="gray">
              <a:xfrm>
                <a:off x="1175" y="1838"/>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41" name="Group 698"/>
            <p:cNvGrpSpPr>
              <a:grpSpLocks/>
            </p:cNvGrpSpPr>
            <p:nvPr/>
          </p:nvGrpSpPr>
          <p:grpSpPr bwMode="gray">
            <a:xfrm rot="-451309">
              <a:off x="687" y="3734"/>
              <a:ext cx="69" cy="105"/>
              <a:chOff x="113" y="1480"/>
              <a:chExt cx="276" cy="416"/>
            </a:xfrm>
          </p:grpSpPr>
          <p:sp>
            <p:nvSpPr>
              <p:cNvPr id="441726" name="Freeform 699"/>
              <p:cNvSpPr>
                <a:spLocks/>
              </p:cNvSpPr>
              <p:nvPr/>
            </p:nvSpPr>
            <p:spPr bwMode="gray">
              <a:xfrm>
                <a:off x="129" y="1618"/>
                <a:ext cx="258" cy="278"/>
              </a:xfrm>
              <a:custGeom>
                <a:avLst/>
                <a:gdLst>
                  <a:gd name="T0" fmla="*/ 243 w 258"/>
                  <a:gd name="T1" fmla="*/ 5 h 278"/>
                  <a:gd name="T2" fmla="*/ 240 w 258"/>
                  <a:gd name="T3" fmla="*/ 18 h 278"/>
                  <a:gd name="T4" fmla="*/ 251 w 258"/>
                  <a:gd name="T5" fmla="*/ 14 h 278"/>
                  <a:gd name="T6" fmla="*/ 258 w 258"/>
                  <a:gd name="T7" fmla="*/ 23 h 278"/>
                  <a:gd name="T8" fmla="*/ 245 w 258"/>
                  <a:gd name="T9" fmla="*/ 51 h 278"/>
                  <a:gd name="T10" fmla="*/ 240 w 258"/>
                  <a:gd name="T11" fmla="*/ 63 h 278"/>
                  <a:gd name="T12" fmla="*/ 231 w 258"/>
                  <a:gd name="T13" fmla="*/ 93 h 278"/>
                  <a:gd name="T14" fmla="*/ 222 w 258"/>
                  <a:gd name="T15" fmla="*/ 111 h 278"/>
                  <a:gd name="T16" fmla="*/ 218 w 258"/>
                  <a:gd name="T17" fmla="*/ 105 h 278"/>
                  <a:gd name="T18" fmla="*/ 206 w 258"/>
                  <a:gd name="T19" fmla="*/ 125 h 278"/>
                  <a:gd name="T20" fmla="*/ 195 w 258"/>
                  <a:gd name="T21" fmla="*/ 164 h 278"/>
                  <a:gd name="T22" fmla="*/ 191 w 258"/>
                  <a:gd name="T23" fmla="*/ 182 h 278"/>
                  <a:gd name="T24" fmla="*/ 180 w 258"/>
                  <a:gd name="T25" fmla="*/ 195 h 278"/>
                  <a:gd name="T26" fmla="*/ 150 w 258"/>
                  <a:gd name="T27" fmla="*/ 225 h 278"/>
                  <a:gd name="T28" fmla="*/ 138 w 258"/>
                  <a:gd name="T29" fmla="*/ 272 h 278"/>
                  <a:gd name="T30" fmla="*/ 108 w 258"/>
                  <a:gd name="T31" fmla="*/ 266 h 278"/>
                  <a:gd name="T32" fmla="*/ 83 w 258"/>
                  <a:gd name="T33" fmla="*/ 246 h 278"/>
                  <a:gd name="T34" fmla="*/ 42 w 258"/>
                  <a:gd name="T35" fmla="*/ 249 h 278"/>
                  <a:gd name="T36" fmla="*/ 26 w 258"/>
                  <a:gd name="T37" fmla="*/ 272 h 278"/>
                  <a:gd name="T38" fmla="*/ 14 w 258"/>
                  <a:gd name="T39" fmla="*/ 273 h 278"/>
                  <a:gd name="T40" fmla="*/ 0 w 258"/>
                  <a:gd name="T41" fmla="*/ 263 h 278"/>
                  <a:gd name="T42" fmla="*/ 14 w 258"/>
                  <a:gd name="T43" fmla="*/ 242 h 278"/>
                  <a:gd name="T44" fmla="*/ 90 w 258"/>
                  <a:gd name="T45" fmla="*/ 168 h 278"/>
                  <a:gd name="T46" fmla="*/ 173 w 258"/>
                  <a:gd name="T47" fmla="*/ 89 h 278"/>
                  <a:gd name="T48" fmla="*/ 239 w 258"/>
                  <a:gd name="T49" fmla="*/ 12 h 278"/>
                  <a:gd name="T50" fmla="*/ 243 w 258"/>
                  <a:gd name="T51" fmla="*/ 5 h 2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8"/>
                  <a:gd name="T79" fmla="*/ 0 h 278"/>
                  <a:gd name="T80" fmla="*/ 258 w 258"/>
                  <a:gd name="T81" fmla="*/ 278 h 2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8" h="278">
                    <a:moveTo>
                      <a:pt x="243" y="5"/>
                    </a:moveTo>
                    <a:cubicBezTo>
                      <a:pt x="246" y="11"/>
                      <a:pt x="243" y="13"/>
                      <a:pt x="240" y="18"/>
                    </a:cubicBezTo>
                    <a:cubicBezTo>
                      <a:pt x="238" y="29"/>
                      <a:pt x="245" y="15"/>
                      <a:pt x="251" y="14"/>
                    </a:cubicBezTo>
                    <a:cubicBezTo>
                      <a:pt x="258" y="10"/>
                      <a:pt x="257" y="17"/>
                      <a:pt x="258" y="23"/>
                    </a:cubicBezTo>
                    <a:cubicBezTo>
                      <a:pt x="258" y="28"/>
                      <a:pt x="248" y="44"/>
                      <a:pt x="245" y="51"/>
                    </a:cubicBezTo>
                    <a:cubicBezTo>
                      <a:pt x="249" y="56"/>
                      <a:pt x="239" y="57"/>
                      <a:pt x="240" y="63"/>
                    </a:cubicBezTo>
                    <a:cubicBezTo>
                      <a:pt x="239" y="81"/>
                      <a:pt x="245" y="87"/>
                      <a:pt x="231" y="93"/>
                    </a:cubicBezTo>
                    <a:cubicBezTo>
                      <a:pt x="230" y="101"/>
                      <a:pt x="231" y="109"/>
                      <a:pt x="222" y="111"/>
                    </a:cubicBezTo>
                    <a:cubicBezTo>
                      <a:pt x="214" y="107"/>
                      <a:pt x="222" y="112"/>
                      <a:pt x="218" y="105"/>
                    </a:cubicBezTo>
                    <a:cubicBezTo>
                      <a:pt x="216" y="114"/>
                      <a:pt x="209" y="117"/>
                      <a:pt x="206" y="125"/>
                    </a:cubicBezTo>
                    <a:cubicBezTo>
                      <a:pt x="204" y="138"/>
                      <a:pt x="210" y="158"/>
                      <a:pt x="195" y="164"/>
                    </a:cubicBezTo>
                    <a:cubicBezTo>
                      <a:pt x="188" y="160"/>
                      <a:pt x="199" y="172"/>
                      <a:pt x="191" y="182"/>
                    </a:cubicBezTo>
                    <a:cubicBezTo>
                      <a:pt x="186" y="189"/>
                      <a:pt x="185" y="188"/>
                      <a:pt x="180" y="195"/>
                    </a:cubicBezTo>
                    <a:cubicBezTo>
                      <a:pt x="178" y="205"/>
                      <a:pt x="158" y="219"/>
                      <a:pt x="150" y="225"/>
                    </a:cubicBezTo>
                    <a:cubicBezTo>
                      <a:pt x="148" y="247"/>
                      <a:pt x="155" y="252"/>
                      <a:pt x="138" y="272"/>
                    </a:cubicBezTo>
                    <a:cubicBezTo>
                      <a:pt x="129" y="278"/>
                      <a:pt x="114" y="276"/>
                      <a:pt x="108" y="266"/>
                    </a:cubicBezTo>
                    <a:cubicBezTo>
                      <a:pt x="99" y="250"/>
                      <a:pt x="101" y="251"/>
                      <a:pt x="83" y="246"/>
                    </a:cubicBezTo>
                    <a:cubicBezTo>
                      <a:pt x="74" y="248"/>
                      <a:pt x="51" y="247"/>
                      <a:pt x="42" y="249"/>
                    </a:cubicBezTo>
                    <a:cubicBezTo>
                      <a:pt x="35" y="258"/>
                      <a:pt x="38" y="270"/>
                      <a:pt x="26" y="272"/>
                    </a:cubicBezTo>
                    <a:cubicBezTo>
                      <a:pt x="17" y="276"/>
                      <a:pt x="24" y="274"/>
                      <a:pt x="14" y="273"/>
                    </a:cubicBezTo>
                    <a:cubicBezTo>
                      <a:pt x="7" y="270"/>
                      <a:pt x="3" y="269"/>
                      <a:pt x="0" y="263"/>
                    </a:cubicBezTo>
                    <a:cubicBezTo>
                      <a:pt x="2" y="252"/>
                      <a:pt x="2" y="244"/>
                      <a:pt x="14" y="242"/>
                    </a:cubicBezTo>
                    <a:cubicBezTo>
                      <a:pt x="45" y="227"/>
                      <a:pt x="68" y="193"/>
                      <a:pt x="90" y="168"/>
                    </a:cubicBezTo>
                    <a:cubicBezTo>
                      <a:pt x="115" y="140"/>
                      <a:pt x="150" y="120"/>
                      <a:pt x="173" y="89"/>
                    </a:cubicBezTo>
                    <a:cubicBezTo>
                      <a:pt x="196" y="57"/>
                      <a:pt x="203" y="34"/>
                      <a:pt x="239" y="12"/>
                    </a:cubicBezTo>
                    <a:cubicBezTo>
                      <a:pt x="240" y="10"/>
                      <a:pt x="243" y="0"/>
                      <a:pt x="243" y="5"/>
                    </a:cubicBez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727" name="Freeform 700"/>
              <p:cNvSpPr>
                <a:spLocks/>
              </p:cNvSpPr>
              <p:nvPr/>
            </p:nvSpPr>
            <p:spPr bwMode="gray">
              <a:xfrm>
                <a:off x="288" y="1480"/>
                <a:ext cx="101" cy="288"/>
              </a:xfrm>
              <a:custGeom>
                <a:avLst/>
                <a:gdLst>
                  <a:gd name="T0" fmla="*/ 95 w 101"/>
                  <a:gd name="T1" fmla="*/ 150 h 288"/>
                  <a:gd name="T2" fmla="*/ 18 w 101"/>
                  <a:gd name="T3" fmla="*/ 288 h 288"/>
                  <a:gd name="T4" fmla="*/ 13 w 101"/>
                  <a:gd name="T5" fmla="*/ 148 h 288"/>
                  <a:gd name="T6" fmla="*/ 101 w 101"/>
                  <a:gd name="T7" fmla="*/ 0 h 288"/>
                  <a:gd name="T8" fmla="*/ 95 w 101"/>
                  <a:gd name="T9" fmla="*/ 150 h 288"/>
                  <a:gd name="T10" fmla="*/ 0 60000 65536"/>
                  <a:gd name="T11" fmla="*/ 0 60000 65536"/>
                  <a:gd name="T12" fmla="*/ 0 60000 65536"/>
                  <a:gd name="T13" fmla="*/ 0 60000 65536"/>
                  <a:gd name="T14" fmla="*/ 0 60000 65536"/>
                  <a:gd name="T15" fmla="*/ 0 w 101"/>
                  <a:gd name="T16" fmla="*/ 0 h 288"/>
                  <a:gd name="T17" fmla="*/ 101 w 101"/>
                  <a:gd name="T18" fmla="*/ 288 h 288"/>
                </a:gdLst>
                <a:ahLst/>
                <a:cxnLst>
                  <a:cxn ang="T10">
                    <a:pos x="T0" y="T1"/>
                  </a:cxn>
                  <a:cxn ang="T11">
                    <a:pos x="T2" y="T3"/>
                  </a:cxn>
                  <a:cxn ang="T12">
                    <a:pos x="T4" y="T5"/>
                  </a:cxn>
                  <a:cxn ang="T13">
                    <a:pos x="T6" y="T7"/>
                  </a:cxn>
                  <a:cxn ang="T14">
                    <a:pos x="T8" y="T9"/>
                  </a:cxn>
                </a:cxnLst>
                <a:rect l="T15" t="T16" r="T17" b="T18"/>
                <a:pathLst>
                  <a:path w="101" h="288">
                    <a:moveTo>
                      <a:pt x="95" y="150"/>
                    </a:moveTo>
                    <a:cubicBezTo>
                      <a:pt x="74" y="189"/>
                      <a:pt x="46" y="242"/>
                      <a:pt x="18" y="288"/>
                    </a:cubicBezTo>
                    <a:cubicBezTo>
                      <a:pt x="17" y="200"/>
                      <a:pt x="0" y="196"/>
                      <a:pt x="13" y="148"/>
                    </a:cubicBezTo>
                    <a:lnTo>
                      <a:pt x="101" y="0"/>
                    </a:lnTo>
                    <a:lnTo>
                      <a:pt x="95" y="150"/>
                    </a:lnTo>
                    <a:close/>
                  </a:path>
                </a:pathLst>
              </a:custGeom>
              <a:gradFill rotWithShape="1">
                <a:gsLst>
                  <a:gs pos="0">
                    <a:srgbClr val="BABABA"/>
                  </a:gs>
                  <a:gs pos="100000">
                    <a:srgbClr val="A0A0A0"/>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28" name="Freeform 701"/>
              <p:cNvSpPr>
                <a:spLocks/>
              </p:cNvSpPr>
              <p:nvPr/>
            </p:nvSpPr>
            <p:spPr bwMode="gray">
              <a:xfrm>
                <a:off x="143" y="1482"/>
                <a:ext cx="246" cy="150"/>
              </a:xfrm>
              <a:custGeom>
                <a:avLst/>
                <a:gdLst>
                  <a:gd name="T0" fmla="*/ 246 w 246"/>
                  <a:gd name="T1" fmla="*/ 0 h 150"/>
                  <a:gd name="T2" fmla="*/ 156 w 246"/>
                  <a:gd name="T3" fmla="*/ 150 h 150"/>
                  <a:gd name="T4" fmla="*/ 0 w 246"/>
                  <a:gd name="T5" fmla="*/ 146 h 150"/>
                  <a:gd name="T6" fmla="*/ 142 w 246"/>
                  <a:gd name="T7" fmla="*/ 0 h 150"/>
                  <a:gd name="T8" fmla="*/ 0 60000 65536"/>
                  <a:gd name="T9" fmla="*/ 0 60000 65536"/>
                  <a:gd name="T10" fmla="*/ 0 60000 65536"/>
                  <a:gd name="T11" fmla="*/ 0 60000 65536"/>
                  <a:gd name="T12" fmla="*/ 0 w 246"/>
                  <a:gd name="T13" fmla="*/ 0 h 150"/>
                  <a:gd name="T14" fmla="*/ 246 w 246"/>
                  <a:gd name="T15" fmla="*/ 150 h 150"/>
                </a:gdLst>
                <a:ahLst/>
                <a:cxnLst>
                  <a:cxn ang="T8">
                    <a:pos x="T0" y="T1"/>
                  </a:cxn>
                  <a:cxn ang="T9">
                    <a:pos x="T2" y="T3"/>
                  </a:cxn>
                  <a:cxn ang="T10">
                    <a:pos x="T4" y="T5"/>
                  </a:cxn>
                  <a:cxn ang="T11">
                    <a:pos x="T6" y="T7"/>
                  </a:cxn>
                </a:cxnLst>
                <a:rect l="T12" t="T13" r="T14" b="T15"/>
                <a:pathLst>
                  <a:path w="246" h="150">
                    <a:moveTo>
                      <a:pt x="246" y="0"/>
                    </a:moveTo>
                    <a:lnTo>
                      <a:pt x="156" y="150"/>
                    </a:lnTo>
                    <a:lnTo>
                      <a:pt x="0" y="146"/>
                    </a:lnTo>
                    <a:lnTo>
                      <a:pt x="142" y="0"/>
                    </a:lnTo>
                  </a:path>
                </a:pathLst>
              </a:custGeom>
              <a:solidFill>
                <a:srgbClr val="EAEAEA"/>
              </a:solidFill>
              <a:ln w="12700">
                <a:noFill/>
                <a:round/>
                <a:headEnd/>
                <a:tailEnd/>
              </a:ln>
            </p:spPr>
            <p:txBody>
              <a:bodyPr lIns="45720" tIns="46800" rIns="45720" bIns="46800" anchor="ctr"/>
              <a:lstStyle/>
              <a:p>
                <a:pPr defTabSz="912546"/>
                <a:endParaRPr>
                  <a:solidFill>
                    <a:srgbClr val="000000"/>
                  </a:solidFill>
                </a:endParaRPr>
              </a:p>
            </p:txBody>
          </p:sp>
          <p:sp>
            <p:nvSpPr>
              <p:cNvPr id="441729" name="Freeform 702"/>
              <p:cNvSpPr>
                <a:spLocks/>
              </p:cNvSpPr>
              <p:nvPr/>
            </p:nvSpPr>
            <p:spPr bwMode="gray">
              <a:xfrm>
                <a:off x="149" y="1626"/>
                <a:ext cx="158" cy="142"/>
              </a:xfrm>
              <a:custGeom>
                <a:avLst/>
                <a:gdLst>
                  <a:gd name="T0" fmla="*/ 150 w 158"/>
                  <a:gd name="T1" fmla="*/ 2 h 142"/>
                  <a:gd name="T2" fmla="*/ 158 w 158"/>
                  <a:gd name="T3" fmla="*/ 142 h 142"/>
                  <a:gd name="T4" fmla="*/ 10 w 158"/>
                  <a:gd name="T5" fmla="*/ 128 h 142"/>
                  <a:gd name="T6" fmla="*/ 0 w 158"/>
                  <a:gd name="T7" fmla="*/ 0 h 142"/>
                  <a:gd name="T8" fmla="*/ 0 60000 65536"/>
                  <a:gd name="T9" fmla="*/ 0 60000 65536"/>
                  <a:gd name="T10" fmla="*/ 0 60000 65536"/>
                  <a:gd name="T11" fmla="*/ 0 60000 65536"/>
                  <a:gd name="T12" fmla="*/ 0 w 158"/>
                  <a:gd name="T13" fmla="*/ 0 h 142"/>
                  <a:gd name="T14" fmla="*/ 158 w 158"/>
                  <a:gd name="T15" fmla="*/ 142 h 142"/>
                </a:gdLst>
                <a:ahLst/>
                <a:cxnLst>
                  <a:cxn ang="T8">
                    <a:pos x="T0" y="T1"/>
                  </a:cxn>
                  <a:cxn ang="T9">
                    <a:pos x="T2" y="T3"/>
                  </a:cxn>
                  <a:cxn ang="T10">
                    <a:pos x="T4" y="T5"/>
                  </a:cxn>
                  <a:cxn ang="T11">
                    <a:pos x="T6" y="T7"/>
                  </a:cxn>
                </a:cxnLst>
                <a:rect l="T12" t="T13" r="T14" b="T15"/>
                <a:pathLst>
                  <a:path w="158" h="142">
                    <a:moveTo>
                      <a:pt x="150" y="2"/>
                    </a:moveTo>
                    <a:lnTo>
                      <a:pt x="158" y="142"/>
                    </a:lnTo>
                    <a:lnTo>
                      <a:pt x="10" y="128"/>
                    </a:lnTo>
                    <a:lnTo>
                      <a:pt x="0" y="0"/>
                    </a:lnTo>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1730" name="Freeform 703"/>
              <p:cNvSpPr>
                <a:spLocks/>
              </p:cNvSpPr>
              <p:nvPr/>
            </p:nvSpPr>
            <p:spPr bwMode="gray">
              <a:xfrm>
                <a:off x="159" y="1638"/>
                <a:ext cx="138" cy="126"/>
              </a:xfrm>
              <a:custGeom>
                <a:avLst/>
                <a:gdLst>
                  <a:gd name="T0" fmla="*/ 6 w 138"/>
                  <a:gd name="T1" fmla="*/ 64 h 126"/>
                  <a:gd name="T2" fmla="*/ 8 w 138"/>
                  <a:gd name="T3" fmla="*/ 28 h 126"/>
                  <a:gd name="T4" fmla="*/ 9 w 138"/>
                  <a:gd name="T5" fmla="*/ 4 h 126"/>
                  <a:gd name="T6" fmla="*/ 14 w 138"/>
                  <a:gd name="T7" fmla="*/ 4 h 126"/>
                  <a:gd name="T8" fmla="*/ 20 w 138"/>
                  <a:gd name="T9" fmla="*/ 28 h 126"/>
                  <a:gd name="T10" fmla="*/ 44 w 138"/>
                  <a:gd name="T11" fmla="*/ 70 h 126"/>
                  <a:gd name="T12" fmla="*/ 60 w 138"/>
                  <a:gd name="T13" fmla="*/ 75 h 126"/>
                  <a:gd name="T14" fmla="*/ 114 w 138"/>
                  <a:gd name="T15" fmla="*/ 69 h 126"/>
                  <a:gd name="T16" fmla="*/ 116 w 138"/>
                  <a:gd name="T17" fmla="*/ 33 h 126"/>
                  <a:gd name="T18" fmla="*/ 120 w 138"/>
                  <a:gd name="T19" fmla="*/ 9 h 126"/>
                  <a:gd name="T20" fmla="*/ 125 w 138"/>
                  <a:gd name="T21" fmla="*/ 4 h 126"/>
                  <a:gd name="T22" fmla="*/ 131 w 138"/>
                  <a:gd name="T23" fmla="*/ 28 h 126"/>
                  <a:gd name="T24" fmla="*/ 137 w 138"/>
                  <a:gd name="T25" fmla="*/ 75 h 126"/>
                  <a:gd name="T26" fmla="*/ 132 w 138"/>
                  <a:gd name="T27" fmla="*/ 111 h 126"/>
                  <a:gd name="T28" fmla="*/ 104 w 138"/>
                  <a:gd name="T29" fmla="*/ 118 h 126"/>
                  <a:gd name="T30" fmla="*/ 90 w 138"/>
                  <a:gd name="T31" fmla="*/ 114 h 126"/>
                  <a:gd name="T32" fmla="*/ 74 w 138"/>
                  <a:gd name="T33" fmla="*/ 108 h 126"/>
                  <a:gd name="T34" fmla="*/ 57 w 138"/>
                  <a:gd name="T35" fmla="*/ 102 h 126"/>
                  <a:gd name="T36" fmla="*/ 33 w 138"/>
                  <a:gd name="T37" fmla="*/ 91 h 126"/>
                  <a:gd name="T38" fmla="*/ 6 w 138"/>
                  <a:gd name="T39" fmla="*/ 72 h 126"/>
                  <a:gd name="T40" fmla="*/ 6 w 138"/>
                  <a:gd name="T41" fmla="*/ 64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126"/>
                  <a:gd name="T65" fmla="*/ 138 w 138"/>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126">
                    <a:moveTo>
                      <a:pt x="6" y="64"/>
                    </a:moveTo>
                    <a:cubicBezTo>
                      <a:pt x="5" y="54"/>
                      <a:pt x="0" y="29"/>
                      <a:pt x="8" y="28"/>
                    </a:cubicBezTo>
                    <a:cubicBezTo>
                      <a:pt x="9" y="20"/>
                      <a:pt x="7" y="8"/>
                      <a:pt x="9" y="4"/>
                    </a:cubicBezTo>
                    <a:cubicBezTo>
                      <a:pt x="10" y="0"/>
                      <a:pt x="12" y="3"/>
                      <a:pt x="14" y="4"/>
                    </a:cubicBezTo>
                    <a:cubicBezTo>
                      <a:pt x="15" y="12"/>
                      <a:pt x="18" y="25"/>
                      <a:pt x="20" y="28"/>
                    </a:cubicBezTo>
                    <a:cubicBezTo>
                      <a:pt x="23" y="55"/>
                      <a:pt x="18" y="66"/>
                      <a:pt x="44" y="70"/>
                    </a:cubicBezTo>
                    <a:cubicBezTo>
                      <a:pt x="49" y="72"/>
                      <a:pt x="55" y="72"/>
                      <a:pt x="60" y="75"/>
                    </a:cubicBezTo>
                    <a:cubicBezTo>
                      <a:pt x="78" y="73"/>
                      <a:pt x="96" y="72"/>
                      <a:pt x="114" y="69"/>
                    </a:cubicBezTo>
                    <a:cubicBezTo>
                      <a:pt x="118" y="59"/>
                      <a:pt x="118" y="43"/>
                      <a:pt x="116" y="33"/>
                    </a:cubicBezTo>
                    <a:cubicBezTo>
                      <a:pt x="121" y="29"/>
                      <a:pt x="123" y="16"/>
                      <a:pt x="120" y="9"/>
                    </a:cubicBezTo>
                    <a:cubicBezTo>
                      <a:pt x="120" y="9"/>
                      <a:pt x="120" y="4"/>
                      <a:pt x="125" y="4"/>
                    </a:cubicBezTo>
                    <a:cubicBezTo>
                      <a:pt x="134" y="7"/>
                      <a:pt x="117" y="25"/>
                      <a:pt x="131" y="28"/>
                    </a:cubicBezTo>
                    <a:cubicBezTo>
                      <a:pt x="138" y="39"/>
                      <a:pt x="136" y="62"/>
                      <a:pt x="137" y="75"/>
                    </a:cubicBezTo>
                    <a:cubicBezTo>
                      <a:pt x="136" y="87"/>
                      <a:pt x="137" y="100"/>
                      <a:pt x="132" y="111"/>
                    </a:cubicBezTo>
                    <a:cubicBezTo>
                      <a:pt x="130" y="126"/>
                      <a:pt x="118" y="119"/>
                      <a:pt x="104" y="118"/>
                    </a:cubicBezTo>
                    <a:cubicBezTo>
                      <a:pt x="99" y="117"/>
                      <a:pt x="95" y="115"/>
                      <a:pt x="90" y="114"/>
                    </a:cubicBezTo>
                    <a:cubicBezTo>
                      <a:pt x="85" y="110"/>
                      <a:pt x="80" y="109"/>
                      <a:pt x="74" y="108"/>
                    </a:cubicBezTo>
                    <a:cubicBezTo>
                      <a:pt x="68" y="105"/>
                      <a:pt x="63" y="103"/>
                      <a:pt x="57" y="102"/>
                    </a:cubicBezTo>
                    <a:cubicBezTo>
                      <a:pt x="49" y="98"/>
                      <a:pt x="41" y="96"/>
                      <a:pt x="33" y="91"/>
                    </a:cubicBezTo>
                    <a:cubicBezTo>
                      <a:pt x="24" y="85"/>
                      <a:pt x="17" y="74"/>
                      <a:pt x="6" y="72"/>
                    </a:cubicBezTo>
                    <a:cubicBezTo>
                      <a:pt x="3" y="67"/>
                      <a:pt x="10" y="63"/>
                      <a:pt x="6" y="64"/>
                    </a:cubicBez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31" name="Freeform 704"/>
              <p:cNvSpPr>
                <a:spLocks/>
              </p:cNvSpPr>
              <p:nvPr/>
            </p:nvSpPr>
            <p:spPr bwMode="gray">
              <a:xfrm>
                <a:off x="119" y="1679"/>
                <a:ext cx="187" cy="194"/>
              </a:xfrm>
              <a:custGeom>
                <a:avLst/>
                <a:gdLst>
                  <a:gd name="T0" fmla="*/ 156 w 187"/>
                  <a:gd name="T1" fmla="*/ 13 h 194"/>
                  <a:gd name="T2" fmla="*/ 58 w 187"/>
                  <a:gd name="T3" fmla="*/ 13 h 194"/>
                  <a:gd name="T4" fmla="*/ 41 w 187"/>
                  <a:gd name="T5" fmla="*/ 28 h 194"/>
                  <a:gd name="T6" fmla="*/ 31 w 187"/>
                  <a:gd name="T7" fmla="*/ 46 h 194"/>
                  <a:gd name="T8" fmla="*/ 27 w 187"/>
                  <a:gd name="T9" fmla="*/ 58 h 194"/>
                  <a:gd name="T10" fmla="*/ 24 w 187"/>
                  <a:gd name="T11" fmla="*/ 121 h 194"/>
                  <a:gd name="T12" fmla="*/ 6 w 187"/>
                  <a:gd name="T13" fmla="*/ 134 h 194"/>
                  <a:gd name="T14" fmla="*/ 0 w 187"/>
                  <a:gd name="T15" fmla="*/ 158 h 194"/>
                  <a:gd name="T16" fmla="*/ 33 w 187"/>
                  <a:gd name="T17" fmla="*/ 192 h 194"/>
                  <a:gd name="T18" fmla="*/ 145 w 187"/>
                  <a:gd name="T19" fmla="*/ 184 h 194"/>
                  <a:gd name="T20" fmla="*/ 157 w 187"/>
                  <a:gd name="T21" fmla="*/ 146 h 194"/>
                  <a:gd name="T22" fmla="*/ 171 w 187"/>
                  <a:gd name="T23" fmla="*/ 158 h 194"/>
                  <a:gd name="T24" fmla="*/ 187 w 187"/>
                  <a:gd name="T25" fmla="*/ 132 h 194"/>
                  <a:gd name="T26" fmla="*/ 181 w 187"/>
                  <a:gd name="T27" fmla="*/ 104 h 194"/>
                  <a:gd name="T28" fmla="*/ 181 w 187"/>
                  <a:gd name="T29" fmla="*/ 104 h 194"/>
                  <a:gd name="T30" fmla="*/ 177 w 187"/>
                  <a:gd name="T31" fmla="*/ 84 h 194"/>
                  <a:gd name="T32" fmla="*/ 156 w 187"/>
                  <a:gd name="T33" fmla="*/ 13 h 19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7"/>
                  <a:gd name="T52" fmla="*/ 0 h 194"/>
                  <a:gd name="T53" fmla="*/ 187 w 187"/>
                  <a:gd name="T54" fmla="*/ 194 h 19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7" h="194">
                    <a:moveTo>
                      <a:pt x="156" y="13"/>
                    </a:moveTo>
                    <a:cubicBezTo>
                      <a:pt x="132" y="13"/>
                      <a:pt x="71" y="11"/>
                      <a:pt x="58" y="13"/>
                    </a:cubicBezTo>
                    <a:cubicBezTo>
                      <a:pt x="56" y="14"/>
                      <a:pt x="41" y="28"/>
                      <a:pt x="41" y="28"/>
                    </a:cubicBezTo>
                    <a:cubicBezTo>
                      <a:pt x="37" y="33"/>
                      <a:pt x="34" y="40"/>
                      <a:pt x="31" y="46"/>
                    </a:cubicBezTo>
                    <a:cubicBezTo>
                      <a:pt x="29" y="50"/>
                      <a:pt x="27" y="58"/>
                      <a:pt x="27" y="58"/>
                    </a:cubicBezTo>
                    <a:cubicBezTo>
                      <a:pt x="30" y="85"/>
                      <a:pt x="25" y="94"/>
                      <a:pt x="24" y="121"/>
                    </a:cubicBezTo>
                    <a:lnTo>
                      <a:pt x="6" y="134"/>
                    </a:lnTo>
                    <a:cubicBezTo>
                      <a:pt x="2" y="142"/>
                      <a:pt x="2" y="147"/>
                      <a:pt x="0" y="158"/>
                    </a:cubicBezTo>
                    <a:cubicBezTo>
                      <a:pt x="0" y="184"/>
                      <a:pt x="6" y="188"/>
                      <a:pt x="33" y="192"/>
                    </a:cubicBezTo>
                    <a:cubicBezTo>
                      <a:pt x="71" y="190"/>
                      <a:pt x="125" y="194"/>
                      <a:pt x="145" y="184"/>
                    </a:cubicBezTo>
                    <a:cubicBezTo>
                      <a:pt x="149" y="171"/>
                      <a:pt x="147" y="152"/>
                      <a:pt x="157" y="146"/>
                    </a:cubicBezTo>
                    <a:cubicBezTo>
                      <a:pt x="168" y="150"/>
                      <a:pt x="161" y="155"/>
                      <a:pt x="171" y="158"/>
                    </a:cubicBezTo>
                    <a:cubicBezTo>
                      <a:pt x="175" y="147"/>
                      <a:pt x="184" y="142"/>
                      <a:pt x="187" y="132"/>
                    </a:cubicBezTo>
                    <a:lnTo>
                      <a:pt x="181" y="104"/>
                    </a:lnTo>
                    <a:cubicBezTo>
                      <a:pt x="181" y="104"/>
                      <a:pt x="181" y="104"/>
                      <a:pt x="181" y="104"/>
                    </a:cubicBezTo>
                    <a:cubicBezTo>
                      <a:pt x="180" y="97"/>
                      <a:pt x="177" y="84"/>
                      <a:pt x="177" y="84"/>
                    </a:cubicBezTo>
                    <a:cubicBezTo>
                      <a:pt x="179" y="0"/>
                      <a:pt x="162" y="14"/>
                      <a:pt x="156" y="13"/>
                    </a:cubicBezTo>
                    <a:close/>
                  </a:path>
                </a:pathLst>
              </a:custGeom>
              <a:solidFill>
                <a:srgbClr val="C5362B"/>
              </a:solidFill>
              <a:ln w="12700">
                <a:noFill/>
                <a:round/>
                <a:headEnd/>
                <a:tailEnd/>
              </a:ln>
            </p:spPr>
            <p:txBody>
              <a:bodyPr lIns="45720" tIns="46800" rIns="45720" bIns="46800" anchor="ctr"/>
              <a:lstStyle/>
              <a:p>
                <a:pPr defTabSz="912546"/>
                <a:endParaRPr>
                  <a:solidFill>
                    <a:srgbClr val="000000"/>
                  </a:solidFill>
                </a:endParaRPr>
              </a:p>
            </p:txBody>
          </p:sp>
          <p:sp>
            <p:nvSpPr>
              <p:cNvPr id="441732" name="Freeform 705"/>
              <p:cNvSpPr>
                <a:spLocks/>
              </p:cNvSpPr>
              <p:nvPr/>
            </p:nvSpPr>
            <p:spPr bwMode="gray">
              <a:xfrm>
                <a:off x="153" y="1724"/>
                <a:ext cx="106" cy="34"/>
              </a:xfrm>
              <a:custGeom>
                <a:avLst/>
                <a:gdLst>
                  <a:gd name="T0" fmla="*/ 0 w 106"/>
                  <a:gd name="T1" fmla="*/ 32 h 34"/>
                  <a:gd name="T2" fmla="*/ 2 w 106"/>
                  <a:gd name="T3" fmla="*/ 0 h 34"/>
                  <a:gd name="T4" fmla="*/ 104 w 106"/>
                  <a:gd name="T5" fmla="*/ 0 h 34"/>
                  <a:gd name="T6" fmla="*/ 106 w 106"/>
                  <a:gd name="T7" fmla="*/ 34 h 34"/>
                  <a:gd name="T8" fmla="*/ 0 w 106"/>
                  <a:gd name="T9" fmla="*/ 32 h 34"/>
                  <a:gd name="T10" fmla="*/ 0 60000 65536"/>
                  <a:gd name="T11" fmla="*/ 0 60000 65536"/>
                  <a:gd name="T12" fmla="*/ 0 60000 65536"/>
                  <a:gd name="T13" fmla="*/ 0 60000 65536"/>
                  <a:gd name="T14" fmla="*/ 0 60000 65536"/>
                  <a:gd name="T15" fmla="*/ 0 w 106"/>
                  <a:gd name="T16" fmla="*/ 0 h 34"/>
                  <a:gd name="T17" fmla="*/ 106 w 106"/>
                  <a:gd name="T18" fmla="*/ 34 h 34"/>
                </a:gdLst>
                <a:ahLst/>
                <a:cxnLst>
                  <a:cxn ang="T10">
                    <a:pos x="T0" y="T1"/>
                  </a:cxn>
                  <a:cxn ang="T11">
                    <a:pos x="T2" y="T3"/>
                  </a:cxn>
                  <a:cxn ang="T12">
                    <a:pos x="T4" y="T5"/>
                  </a:cxn>
                  <a:cxn ang="T13">
                    <a:pos x="T6" y="T7"/>
                  </a:cxn>
                  <a:cxn ang="T14">
                    <a:pos x="T8" y="T9"/>
                  </a:cxn>
                </a:cxnLst>
                <a:rect l="T15" t="T16" r="T17" b="T18"/>
                <a:pathLst>
                  <a:path w="106" h="34">
                    <a:moveTo>
                      <a:pt x="0" y="32"/>
                    </a:moveTo>
                    <a:cubicBezTo>
                      <a:pt x="0" y="23"/>
                      <a:pt x="2" y="9"/>
                      <a:pt x="2" y="0"/>
                    </a:cubicBezTo>
                    <a:lnTo>
                      <a:pt x="104" y="0"/>
                    </a:lnTo>
                    <a:lnTo>
                      <a:pt x="106" y="34"/>
                    </a:lnTo>
                    <a:lnTo>
                      <a:pt x="0" y="32"/>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1733" name="Freeform 706"/>
              <p:cNvSpPr>
                <a:spLocks/>
              </p:cNvSpPr>
              <p:nvPr/>
            </p:nvSpPr>
            <p:spPr bwMode="gray">
              <a:xfrm>
                <a:off x="264" y="1703"/>
                <a:ext cx="22" cy="54"/>
              </a:xfrm>
              <a:custGeom>
                <a:avLst/>
                <a:gdLst>
                  <a:gd name="T0" fmla="*/ 22 w 22"/>
                  <a:gd name="T1" fmla="*/ 0 h 54"/>
                  <a:gd name="T2" fmla="*/ 6 w 22"/>
                  <a:gd name="T3" fmla="*/ 14 h 54"/>
                  <a:gd name="T4" fmla="*/ 0 w 22"/>
                  <a:gd name="T5" fmla="*/ 22 h 54"/>
                  <a:gd name="T6" fmla="*/ 2 w 22"/>
                  <a:gd name="T7" fmla="*/ 54 h 54"/>
                  <a:gd name="T8" fmla="*/ 22 w 22"/>
                  <a:gd name="T9" fmla="*/ 32 h 54"/>
                  <a:gd name="T10" fmla="*/ 22 w 22"/>
                  <a:gd name="T11" fmla="*/ 0 h 54"/>
                  <a:gd name="T12" fmla="*/ 0 60000 65536"/>
                  <a:gd name="T13" fmla="*/ 0 60000 65536"/>
                  <a:gd name="T14" fmla="*/ 0 60000 65536"/>
                  <a:gd name="T15" fmla="*/ 0 60000 65536"/>
                  <a:gd name="T16" fmla="*/ 0 60000 65536"/>
                  <a:gd name="T17" fmla="*/ 0 60000 65536"/>
                  <a:gd name="T18" fmla="*/ 0 w 22"/>
                  <a:gd name="T19" fmla="*/ 0 h 54"/>
                  <a:gd name="T20" fmla="*/ 22 w 22"/>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22" h="54">
                    <a:moveTo>
                      <a:pt x="22" y="0"/>
                    </a:moveTo>
                    <a:cubicBezTo>
                      <a:pt x="15" y="4"/>
                      <a:pt x="13" y="10"/>
                      <a:pt x="6" y="14"/>
                    </a:cubicBezTo>
                    <a:cubicBezTo>
                      <a:pt x="1" y="21"/>
                      <a:pt x="4" y="18"/>
                      <a:pt x="0" y="22"/>
                    </a:cubicBezTo>
                    <a:lnTo>
                      <a:pt x="2" y="54"/>
                    </a:lnTo>
                    <a:lnTo>
                      <a:pt x="22" y="32"/>
                    </a:lnTo>
                    <a:lnTo>
                      <a:pt x="22" y="0"/>
                    </a:lnTo>
                    <a:close/>
                  </a:path>
                </a:pathLst>
              </a:custGeom>
              <a:solidFill>
                <a:srgbClr val="5A7F8A"/>
              </a:solidFill>
              <a:ln w="12700">
                <a:noFill/>
                <a:round/>
                <a:headEnd/>
                <a:tailEnd/>
              </a:ln>
            </p:spPr>
            <p:txBody>
              <a:bodyPr lIns="45720" tIns="46800" rIns="45720" bIns="46800" anchor="ctr"/>
              <a:lstStyle/>
              <a:p>
                <a:pPr defTabSz="912546"/>
                <a:endParaRPr>
                  <a:solidFill>
                    <a:srgbClr val="000000"/>
                  </a:solidFill>
                </a:endParaRPr>
              </a:p>
            </p:txBody>
          </p:sp>
          <p:sp>
            <p:nvSpPr>
              <p:cNvPr id="441734" name="Freeform 707"/>
              <p:cNvSpPr>
                <a:spLocks/>
              </p:cNvSpPr>
              <p:nvPr/>
            </p:nvSpPr>
            <p:spPr bwMode="gray">
              <a:xfrm>
                <a:off x="125" y="1726"/>
                <a:ext cx="16" cy="48"/>
              </a:xfrm>
              <a:custGeom>
                <a:avLst/>
                <a:gdLst>
                  <a:gd name="T0" fmla="*/ 16 w 16"/>
                  <a:gd name="T1" fmla="*/ 2 h 48"/>
                  <a:gd name="T2" fmla="*/ 0 w 16"/>
                  <a:gd name="T3" fmla="*/ 0 h 48"/>
                  <a:gd name="T4" fmla="*/ 0 w 16"/>
                  <a:gd name="T5" fmla="*/ 44 h 48"/>
                  <a:gd name="T6" fmla="*/ 14 w 16"/>
                  <a:gd name="T7" fmla="*/ 48 h 48"/>
                  <a:gd name="T8" fmla="*/ 14 w 16"/>
                  <a:gd name="T9" fmla="*/ 2 h 48"/>
                  <a:gd name="T10" fmla="*/ 16 w 16"/>
                  <a:gd name="T11" fmla="*/ 2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16" y="2"/>
                    </a:moveTo>
                    <a:lnTo>
                      <a:pt x="0" y="0"/>
                    </a:lnTo>
                    <a:lnTo>
                      <a:pt x="0" y="44"/>
                    </a:lnTo>
                    <a:lnTo>
                      <a:pt x="14" y="48"/>
                    </a:lnTo>
                    <a:lnTo>
                      <a:pt x="14" y="2"/>
                    </a:lnTo>
                    <a:lnTo>
                      <a:pt x="16" y="2"/>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35" name="Freeform 708"/>
              <p:cNvSpPr>
                <a:spLocks/>
              </p:cNvSpPr>
              <p:nvPr/>
            </p:nvSpPr>
            <p:spPr bwMode="gray">
              <a:xfrm>
                <a:off x="285" y="1724"/>
                <a:ext cx="16" cy="48"/>
              </a:xfrm>
              <a:custGeom>
                <a:avLst/>
                <a:gdLst>
                  <a:gd name="T0" fmla="*/ 2 w 16"/>
                  <a:gd name="T1" fmla="*/ 2 h 48"/>
                  <a:gd name="T2" fmla="*/ 0 w 16"/>
                  <a:gd name="T3" fmla="*/ 48 h 48"/>
                  <a:gd name="T4" fmla="*/ 14 w 16"/>
                  <a:gd name="T5" fmla="*/ 48 h 48"/>
                  <a:gd name="T6" fmla="*/ 16 w 16"/>
                  <a:gd name="T7" fmla="*/ 0 h 48"/>
                  <a:gd name="T8" fmla="*/ 2 w 16"/>
                  <a:gd name="T9" fmla="*/ 2 h 48"/>
                  <a:gd name="T10" fmla="*/ 0 60000 65536"/>
                  <a:gd name="T11" fmla="*/ 0 60000 65536"/>
                  <a:gd name="T12" fmla="*/ 0 60000 65536"/>
                  <a:gd name="T13" fmla="*/ 0 60000 65536"/>
                  <a:gd name="T14" fmla="*/ 0 60000 65536"/>
                  <a:gd name="T15" fmla="*/ 0 w 16"/>
                  <a:gd name="T16" fmla="*/ 0 h 48"/>
                  <a:gd name="T17" fmla="*/ 16 w 16"/>
                  <a:gd name="T18" fmla="*/ 48 h 48"/>
                </a:gdLst>
                <a:ahLst/>
                <a:cxnLst>
                  <a:cxn ang="T10">
                    <a:pos x="T0" y="T1"/>
                  </a:cxn>
                  <a:cxn ang="T11">
                    <a:pos x="T2" y="T3"/>
                  </a:cxn>
                  <a:cxn ang="T12">
                    <a:pos x="T4" y="T5"/>
                  </a:cxn>
                  <a:cxn ang="T13">
                    <a:pos x="T6" y="T7"/>
                  </a:cxn>
                  <a:cxn ang="T14">
                    <a:pos x="T8" y="T9"/>
                  </a:cxn>
                </a:cxnLst>
                <a:rect l="T15" t="T16" r="T17" b="T18"/>
                <a:pathLst>
                  <a:path w="16" h="48">
                    <a:moveTo>
                      <a:pt x="2" y="2"/>
                    </a:moveTo>
                    <a:lnTo>
                      <a:pt x="0" y="48"/>
                    </a:lnTo>
                    <a:lnTo>
                      <a:pt x="14" y="48"/>
                    </a:lnTo>
                    <a:lnTo>
                      <a:pt x="16" y="0"/>
                    </a:lnTo>
                    <a:lnTo>
                      <a:pt x="2" y="2"/>
                    </a:lnTo>
                    <a:close/>
                  </a:path>
                </a:pathLst>
              </a:custGeom>
              <a:solidFill>
                <a:srgbClr val="A3A3A3"/>
              </a:solidFill>
              <a:ln w="12700">
                <a:noFill/>
                <a:round/>
                <a:headEnd/>
                <a:tailEnd/>
              </a:ln>
            </p:spPr>
            <p:txBody>
              <a:bodyPr lIns="45720" tIns="46800" rIns="45720" bIns="46800" anchor="ctr"/>
              <a:lstStyle/>
              <a:p>
                <a:pPr defTabSz="912546"/>
                <a:endParaRPr>
                  <a:solidFill>
                    <a:srgbClr val="000000"/>
                  </a:solidFill>
                </a:endParaRPr>
              </a:p>
            </p:txBody>
          </p:sp>
          <p:sp>
            <p:nvSpPr>
              <p:cNvPr id="441736" name="Freeform 709"/>
              <p:cNvSpPr>
                <a:spLocks/>
              </p:cNvSpPr>
              <p:nvPr/>
            </p:nvSpPr>
            <p:spPr bwMode="gray">
              <a:xfrm>
                <a:off x="238" y="1697"/>
                <a:ext cx="24" cy="21"/>
              </a:xfrm>
              <a:custGeom>
                <a:avLst/>
                <a:gdLst>
                  <a:gd name="T0" fmla="*/ 15 w 24"/>
                  <a:gd name="T1" fmla="*/ 13 h 21"/>
                  <a:gd name="T2" fmla="*/ 5 w 24"/>
                  <a:gd name="T3" fmla="*/ 7 h 21"/>
                  <a:gd name="T4" fmla="*/ 15 w 24"/>
                  <a:gd name="T5" fmla="*/ 13 h 21"/>
                  <a:gd name="T6" fmla="*/ 0 60000 65536"/>
                  <a:gd name="T7" fmla="*/ 0 60000 65536"/>
                  <a:gd name="T8" fmla="*/ 0 60000 65536"/>
                  <a:gd name="T9" fmla="*/ 0 w 24"/>
                  <a:gd name="T10" fmla="*/ 0 h 21"/>
                  <a:gd name="T11" fmla="*/ 24 w 24"/>
                  <a:gd name="T12" fmla="*/ 21 h 21"/>
                </a:gdLst>
                <a:ahLst/>
                <a:cxnLst>
                  <a:cxn ang="T6">
                    <a:pos x="T0" y="T1"/>
                  </a:cxn>
                  <a:cxn ang="T7">
                    <a:pos x="T2" y="T3"/>
                  </a:cxn>
                  <a:cxn ang="T8">
                    <a:pos x="T4" y="T5"/>
                  </a:cxn>
                </a:cxnLst>
                <a:rect l="T9" t="T10" r="T11" b="T12"/>
                <a:pathLst>
                  <a:path w="24" h="21">
                    <a:moveTo>
                      <a:pt x="15" y="13"/>
                    </a:moveTo>
                    <a:cubicBezTo>
                      <a:pt x="24" y="0"/>
                      <a:pt x="17" y="5"/>
                      <a:pt x="5" y="7"/>
                    </a:cubicBezTo>
                    <a:cubicBezTo>
                      <a:pt x="0" y="21"/>
                      <a:pt x="15" y="18"/>
                      <a:pt x="1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37" name="Freeform 710"/>
              <p:cNvSpPr>
                <a:spLocks/>
              </p:cNvSpPr>
              <p:nvPr/>
            </p:nvSpPr>
            <p:spPr bwMode="gray">
              <a:xfrm>
                <a:off x="205" y="1697"/>
                <a:ext cx="24" cy="21"/>
              </a:xfrm>
              <a:custGeom>
                <a:avLst/>
                <a:gdLst>
                  <a:gd name="T0" fmla="*/ 15 w 24"/>
                  <a:gd name="T1" fmla="*/ 13 h 21"/>
                  <a:gd name="T2" fmla="*/ 5 w 24"/>
                  <a:gd name="T3" fmla="*/ 7 h 21"/>
                  <a:gd name="T4" fmla="*/ 15 w 24"/>
                  <a:gd name="T5" fmla="*/ 13 h 21"/>
                  <a:gd name="T6" fmla="*/ 0 60000 65536"/>
                  <a:gd name="T7" fmla="*/ 0 60000 65536"/>
                  <a:gd name="T8" fmla="*/ 0 60000 65536"/>
                  <a:gd name="T9" fmla="*/ 0 w 24"/>
                  <a:gd name="T10" fmla="*/ 0 h 21"/>
                  <a:gd name="T11" fmla="*/ 24 w 24"/>
                  <a:gd name="T12" fmla="*/ 21 h 21"/>
                </a:gdLst>
                <a:ahLst/>
                <a:cxnLst>
                  <a:cxn ang="T6">
                    <a:pos x="T0" y="T1"/>
                  </a:cxn>
                  <a:cxn ang="T7">
                    <a:pos x="T2" y="T3"/>
                  </a:cxn>
                  <a:cxn ang="T8">
                    <a:pos x="T4" y="T5"/>
                  </a:cxn>
                </a:cxnLst>
                <a:rect l="T9" t="T10" r="T11" b="T12"/>
                <a:pathLst>
                  <a:path w="24" h="21">
                    <a:moveTo>
                      <a:pt x="15" y="13"/>
                    </a:moveTo>
                    <a:cubicBezTo>
                      <a:pt x="24" y="0"/>
                      <a:pt x="17" y="5"/>
                      <a:pt x="5" y="7"/>
                    </a:cubicBezTo>
                    <a:cubicBezTo>
                      <a:pt x="0" y="21"/>
                      <a:pt x="15" y="18"/>
                      <a:pt x="1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38" name="Freeform 711"/>
              <p:cNvSpPr>
                <a:spLocks/>
              </p:cNvSpPr>
              <p:nvPr/>
            </p:nvSpPr>
            <p:spPr bwMode="gray">
              <a:xfrm>
                <a:off x="172" y="1697"/>
                <a:ext cx="24" cy="21"/>
              </a:xfrm>
              <a:custGeom>
                <a:avLst/>
                <a:gdLst>
                  <a:gd name="T0" fmla="*/ 15 w 24"/>
                  <a:gd name="T1" fmla="*/ 13 h 21"/>
                  <a:gd name="T2" fmla="*/ 5 w 24"/>
                  <a:gd name="T3" fmla="*/ 7 h 21"/>
                  <a:gd name="T4" fmla="*/ 15 w 24"/>
                  <a:gd name="T5" fmla="*/ 13 h 21"/>
                  <a:gd name="T6" fmla="*/ 0 60000 65536"/>
                  <a:gd name="T7" fmla="*/ 0 60000 65536"/>
                  <a:gd name="T8" fmla="*/ 0 60000 65536"/>
                  <a:gd name="T9" fmla="*/ 0 w 24"/>
                  <a:gd name="T10" fmla="*/ 0 h 21"/>
                  <a:gd name="T11" fmla="*/ 24 w 24"/>
                  <a:gd name="T12" fmla="*/ 21 h 21"/>
                </a:gdLst>
                <a:ahLst/>
                <a:cxnLst>
                  <a:cxn ang="T6">
                    <a:pos x="T0" y="T1"/>
                  </a:cxn>
                  <a:cxn ang="T7">
                    <a:pos x="T2" y="T3"/>
                  </a:cxn>
                  <a:cxn ang="T8">
                    <a:pos x="T4" y="T5"/>
                  </a:cxn>
                </a:cxnLst>
                <a:rect l="T9" t="T10" r="T11" b="T12"/>
                <a:pathLst>
                  <a:path w="24" h="21">
                    <a:moveTo>
                      <a:pt x="15" y="13"/>
                    </a:moveTo>
                    <a:cubicBezTo>
                      <a:pt x="24" y="0"/>
                      <a:pt x="17" y="5"/>
                      <a:pt x="5" y="7"/>
                    </a:cubicBezTo>
                    <a:cubicBezTo>
                      <a:pt x="0" y="21"/>
                      <a:pt x="15" y="18"/>
                      <a:pt x="15" y="13"/>
                    </a:cubicBez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39" name="Freeform 712"/>
              <p:cNvSpPr>
                <a:spLocks/>
              </p:cNvSpPr>
              <p:nvPr/>
            </p:nvSpPr>
            <p:spPr bwMode="gray">
              <a:xfrm>
                <a:off x="147" y="1759"/>
                <a:ext cx="114" cy="45"/>
              </a:xfrm>
              <a:custGeom>
                <a:avLst/>
                <a:gdLst>
                  <a:gd name="T0" fmla="*/ 3 w 114"/>
                  <a:gd name="T1" fmla="*/ 0 h 45"/>
                  <a:gd name="T2" fmla="*/ 0 w 114"/>
                  <a:gd name="T3" fmla="*/ 14 h 45"/>
                  <a:gd name="T4" fmla="*/ 8 w 114"/>
                  <a:gd name="T5" fmla="*/ 45 h 45"/>
                  <a:gd name="T6" fmla="*/ 66 w 114"/>
                  <a:gd name="T7" fmla="*/ 45 h 45"/>
                  <a:gd name="T8" fmla="*/ 114 w 114"/>
                  <a:gd name="T9" fmla="*/ 3 h 45"/>
                  <a:gd name="T10" fmla="*/ 3 w 114"/>
                  <a:gd name="T11" fmla="*/ 0 h 45"/>
                  <a:gd name="T12" fmla="*/ 0 60000 65536"/>
                  <a:gd name="T13" fmla="*/ 0 60000 65536"/>
                  <a:gd name="T14" fmla="*/ 0 60000 65536"/>
                  <a:gd name="T15" fmla="*/ 0 60000 65536"/>
                  <a:gd name="T16" fmla="*/ 0 60000 65536"/>
                  <a:gd name="T17" fmla="*/ 0 60000 65536"/>
                  <a:gd name="T18" fmla="*/ 0 w 114"/>
                  <a:gd name="T19" fmla="*/ 0 h 45"/>
                  <a:gd name="T20" fmla="*/ 114 w 114"/>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14" h="45">
                    <a:moveTo>
                      <a:pt x="3" y="0"/>
                    </a:moveTo>
                    <a:cubicBezTo>
                      <a:pt x="2" y="5"/>
                      <a:pt x="0" y="9"/>
                      <a:pt x="0" y="14"/>
                    </a:cubicBezTo>
                    <a:lnTo>
                      <a:pt x="8" y="45"/>
                    </a:lnTo>
                    <a:lnTo>
                      <a:pt x="66" y="45"/>
                    </a:lnTo>
                    <a:lnTo>
                      <a:pt x="114" y="3"/>
                    </a:lnTo>
                    <a:lnTo>
                      <a:pt x="3" y="0"/>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40" name="Freeform 713"/>
              <p:cNvSpPr>
                <a:spLocks/>
              </p:cNvSpPr>
              <p:nvPr/>
            </p:nvSpPr>
            <p:spPr bwMode="gray">
              <a:xfrm>
                <a:off x="224" y="1798"/>
                <a:ext cx="55" cy="27"/>
              </a:xfrm>
              <a:custGeom>
                <a:avLst/>
                <a:gdLst>
                  <a:gd name="T0" fmla="*/ 37 w 55"/>
                  <a:gd name="T1" fmla="*/ 5 h 27"/>
                  <a:gd name="T2" fmla="*/ 0 w 55"/>
                  <a:gd name="T3" fmla="*/ 24 h 27"/>
                  <a:gd name="T4" fmla="*/ 40 w 55"/>
                  <a:gd name="T5" fmla="*/ 21 h 27"/>
                  <a:gd name="T6" fmla="*/ 55 w 55"/>
                  <a:gd name="T7" fmla="*/ 5 h 27"/>
                  <a:gd name="T8" fmla="*/ 37 w 55"/>
                  <a:gd name="T9" fmla="*/ 5 h 27"/>
                  <a:gd name="T10" fmla="*/ 0 60000 65536"/>
                  <a:gd name="T11" fmla="*/ 0 60000 65536"/>
                  <a:gd name="T12" fmla="*/ 0 60000 65536"/>
                  <a:gd name="T13" fmla="*/ 0 60000 65536"/>
                  <a:gd name="T14" fmla="*/ 0 60000 65536"/>
                  <a:gd name="T15" fmla="*/ 0 w 55"/>
                  <a:gd name="T16" fmla="*/ 0 h 27"/>
                  <a:gd name="T17" fmla="*/ 55 w 55"/>
                  <a:gd name="T18" fmla="*/ 27 h 27"/>
                </a:gdLst>
                <a:ahLst/>
                <a:cxnLst>
                  <a:cxn ang="T10">
                    <a:pos x="T0" y="T1"/>
                  </a:cxn>
                  <a:cxn ang="T11">
                    <a:pos x="T2" y="T3"/>
                  </a:cxn>
                  <a:cxn ang="T12">
                    <a:pos x="T4" y="T5"/>
                  </a:cxn>
                  <a:cxn ang="T13">
                    <a:pos x="T6" y="T7"/>
                  </a:cxn>
                  <a:cxn ang="T14">
                    <a:pos x="T8" y="T9"/>
                  </a:cxn>
                </a:cxnLst>
                <a:rect l="T15" t="T16" r="T17" b="T18"/>
                <a:pathLst>
                  <a:path w="55" h="27">
                    <a:moveTo>
                      <a:pt x="37" y="5"/>
                    </a:moveTo>
                    <a:lnTo>
                      <a:pt x="0" y="24"/>
                    </a:lnTo>
                    <a:cubicBezTo>
                      <a:pt x="43" y="27"/>
                      <a:pt x="25" y="23"/>
                      <a:pt x="40" y="21"/>
                    </a:cubicBezTo>
                    <a:cubicBezTo>
                      <a:pt x="54" y="0"/>
                      <a:pt x="55" y="8"/>
                      <a:pt x="55" y="5"/>
                    </a:cubicBezTo>
                    <a:lnTo>
                      <a:pt x="37" y="5"/>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41" name="Freeform 714"/>
              <p:cNvSpPr>
                <a:spLocks/>
              </p:cNvSpPr>
              <p:nvPr/>
            </p:nvSpPr>
            <p:spPr bwMode="gray">
              <a:xfrm>
                <a:off x="120" y="1800"/>
                <a:ext cx="28" cy="25"/>
              </a:xfrm>
              <a:custGeom>
                <a:avLst/>
                <a:gdLst>
                  <a:gd name="T0" fmla="*/ 12 w 28"/>
                  <a:gd name="T1" fmla="*/ 3 h 25"/>
                  <a:gd name="T2" fmla="*/ 23 w 28"/>
                  <a:gd name="T3" fmla="*/ 0 h 25"/>
                  <a:gd name="T4" fmla="*/ 24 w 28"/>
                  <a:gd name="T5" fmla="*/ 24 h 25"/>
                  <a:gd name="T6" fmla="*/ 0 w 28"/>
                  <a:gd name="T7" fmla="*/ 22 h 25"/>
                  <a:gd name="T8" fmla="*/ 12 w 28"/>
                  <a:gd name="T9" fmla="*/ 3 h 25"/>
                  <a:gd name="T10" fmla="*/ 0 60000 65536"/>
                  <a:gd name="T11" fmla="*/ 0 60000 65536"/>
                  <a:gd name="T12" fmla="*/ 0 60000 65536"/>
                  <a:gd name="T13" fmla="*/ 0 60000 65536"/>
                  <a:gd name="T14" fmla="*/ 0 60000 65536"/>
                  <a:gd name="T15" fmla="*/ 0 w 28"/>
                  <a:gd name="T16" fmla="*/ 0 h 25"/>
                  <a:gd name="T17" fmla="*/ 28 w 28"/>
                  <a:gd name="T18" fmla="*/ 25 h 25"/>
                </a:gdLst>
                <a:ahLst/>
                <a:cxnLst>
                  <a:cxn ang="T10">
                    <a:pos x="T0" y="T1"/>
                  </a:cxn>
                  <a:cxn ang="T11">
                    <a:pos x="T2" y="T3"/>
                  </a:cxn>
                  <a:cxn ang="T12">
                    <a:pos x="T4" y="T5"/>
                  </a:cxn>
                  <a:cxn ang="T13">
                    <a:pos x="T6" y="T7"/>
                  </a:cxn>
                  <a:cxn ang="T14">
                    <a:pos x="T8" y="T9"/>
                  </a:cxn>
                </a:cxnLst>
                <a:rect l="T15" t="T16" r="T17" b="T18"/>
                <a:pathLst>
                  <a:path w="28" h="25">
                    <a:moveTo>
                      <a:pt x="12" y="3"/>
                    </a:moveTo>
                    <a:lnTo>
                      <a:pt x="23" y="0"/>
                    </a:lnTo>
                    <a:cubicBezTo>
                      <a:pt x="25" y="3"/>
                      <a:pt x="28" y="20"/>
                      <a:pt x="24" y="24"/>
                    </a:cubicBezTo>
                    <a:cubicBezTo>
                      <a:pt x="10" y="24"/>
                      <a:pt x="2" y="25"/>
                      <a:pt x="0" y="22"/>
                    </a:cubicBezTo>
                    <a:lnTo>
                      <a:pt x="12" y="3"/>
                    </a:lnTo>
                    <a:close/>
                  </a:path>
                </a:pathLst>
              </a:custGeom>
              <a:solidFill>
                <a:srgbClr val="D95B51"/>
              </a:solidFill>
              <a:ln w="12700">
                <a:noFill/>
                <a:round/>
                <a:headEnd/>
                <a:tailEnd/>
              </a:ln>
            </p:spPr>
            <p:txBody>
              <a:bodyPr lIns="45720" tIns="46800" rIns="45720" bIns="46800" anchor="ctr"/>
              <a:lstStyle/>
              <a:p>
                <a:pPr defTabSz="912546"/>
                <a:endParaRPr>
                  <a:solidFill>
                    <a:srgbClr val="000000"/>
                  </a:solidFill>
                </a:endParaRPr>
              </a:p>
            </p:txBody>
          </p:sp>
          <p:sp>
            <p:nvSpPr>
              <p:cNvPr id="441742" name="Freeform 715"/>
              <p:cNvSpPr>
                <a:spLocks/>
              </p:cNvSpPr>
              <p:nvPr/>
            </p:nvSpPr>
            <p:spPr bwMode="gray">
              <a:xfrm>
                <a:off x="113" y="1839"/>
                <a:ext cx="159" cy="42"/>
              </a:xfrm>
              <a:custGeom>
                <a:avLst/>
                <a:gdLst>
                  <a:gd name="T0" fmla="*/ 1 w 159"/>
                  <a:gd name="T1" fmla="*/ 0 h 42"/>
                  <a:gd name="T2" fmla="*/ 13 w 159"/>
                  <a:gd name="T3" fmla="*/ 15 h 42"/>
                  <a:gd name="T4" fmla="*/ 144 w 159"/>
                  <a:gd name="T5" fmla="*/ 18 h 42"/>
                  <a:gd name="T6" fmla="*/ 157 w 159"/>
                  <a:gd name="T7" fmla="*/ 6 h 42"/>
                  <a:gd name="T8" fmla="*/ 157 w 159"/>
                  <a:gd name="T9" fmla="*/ 30 h 42"/>
                  <a:gd name="T10" fmla="*/ 144 w 159"/>
                  <a:gd name="T11" fmla="*/ 42 h 42"/>
                  <a:gd name="T12" fmla="*/ 10 w 159"/>
                  <a:gd name="T13" fmla="*/ 39 h 42"/>
                  <a:gd name="T14" fmla="*/ 0 w 159"/>
                  <a:gd name="T15" fmla="*/ 22 h 42"/>
                  <a:gd name="T16" fmla="*/ 1 w 159"/>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
                  <a:gd name="T28" fmla="*/ 0 h 42"/>
                  <a:gd name="T29" fmla="*/ 159 w 159"/>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 h="42">
                    <a:moveTo>
                      <a:pt x="1" y="0"/>
                    </a:moveTo>
                    <a:cubicBezTo>
                      <a:pt x="4" y="6"/>
                      <a:pt x="4" y="15"/>
                      <a:pt x="13" y="15"/>
                    </a:cubicBezTo>
                    <a:cubicBezTo>
                      <a:pt x="38" y="17"/>
                      <a:pt x="120" y="20"/>
                      <a:pt x="144" y="18"/>
                    </a:cubicBezTo>
                    <a:cubicBezTo>
                      <a:pt x="148" y="12"/>
                      <a:pt x="156" y="12"/>
                      <a:pt x="157" y="6"/>
                    </a:cubicBezTo>
                    <a:cubicBezTo>
                      <a:pt x="157" y="19"/>
                      <a:pt x="159" y="17"/>
                      <a:pt x="157" y="30"/>
                    </a:cubicBezTo>
                    <a:cubicBezTo>
                      <a:pt x="156" y="34"/>
                      <a:pt x="144" y="42"/>
                      <a:pt x="144" y="42"/>
                    </a:cubicBezTo>
                    <a:cubicBezTo>
                      <a:pt x="99" y="40"/>
                      <a:pt x="55" y="41"/>
                      <a:pt x="10" y="39"/>
                    </a:cubicBezTo>
                    <a:cubicBezTo>
                      <a:pt x="2" y="39"/>
                      <a:pt x="1" y="29"/>
                      <a:pt x="0" y="22"/>
                    </a:cubicBezTo>
                    <a:lnTo>
                      <a:pt x="1" y="0"/>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1743" name="Freeform 716"/>
              <p:cNvSpPr>
                <a:spLocks/>
              </p:cNvSpPr>
              <p:nvPr/>
            </p:nvSpPr>
            <p:spPr bwMode="gray">
              <a:xfrm>
                <a:off x="155" y="1809"/>
                <a:ext cx="55" cy="40"/>
              </a:xfrm>
              <a:custGeom>
                <a:avLst/>
                <a:gdLst>
                  <a:gd name="T0" fmla="*/ 55 w 55"/>
                  <a:gd name="T1" fmla="*/ 1 h 40"/>
                  <a:gd name="T2" fmla="*/ 55 w 55"/>
                  <a:gd name="T3" fmla="*/ 40 h 40"/>
                  <a:gd name="T4" fmla="*/ 1 w 55"/>
                  <a:gd name="T5" fmla="*/ 39 h 40"/>
                  <a:gd name="T6" fmla="*/ 0 w 55"/>
                  <a:gd name="T7" fmla="*/ 0 h 40"/>
                  <a:gd name="T8" fmla="*/ 55 w 55"/>
                  <a:gd name="T9" fmla="*/ 1 h 40"/>
                  <a:gd name="T10" fmla="*/ 0 60000 65536"/>
                  <a:gd name="T11" fmla="*/ 0 60000 65536"/>
                  <a:gd name="T12" fmla="*/ 0 60000 65536"/>
                  <a:gd name="T13" fmla="*/ 0 60000 65536"/>
                  <a:gd name="T14" fmla="*/ 0 60000 65536"/>
                  <a:gd name="T15" fmla="*/ 0 w 55"/>
                  <a:gd name="T16" fmla="*/ 0 h 40"/>
                  <a:gd name="T17" fmla="*/ 55 w 55"/>
                  <a:gd name="T18" fmla="*/ 40 h 40"/>
                </a:gdLst>
                <a:ahLst/>
                <a:cxnLst>
                  <a:cxn ang="T10">
                    <a:pos x="T0" y="T1"/>
                  </a:cxn>
                  <a:cxn ang="T11">
                    <a:pos x="T2" y="T3"/>
                  </a:cxn>
                  <a:cxn ang="T12">
                    <a:pos x="T4" y="T5"/>
                  </a:cxn>
                  <a:cxn ang="T13">
                    <a:pos x="T6" y="T7"/>
                  </a:cxn>
                  <a:cxn ang="T14">
                    <a:pos x="T8" y="T9"/>
                  </a:cxn>
                </a:cxnLst>
                <a:rect l="T15" t="T16" r="T17" b="T18"/>
                <a:pathLst>
                  <a:path w="55" h="40">
                    <a:moveTo>
                      <a:pt x="55" y="1"/>
                    </a:moveTo>
                    <a:lnTo>
                      <a:pt x="55" y="40"/>
                    </a:lnTo>
                    <a:lnTo>
                      <a:pt x="1" y="39"/>
                    </a:lnTo>
                    <a:lnTo>
                      <a:pt x="0" y="0"/>
                    </a:lnTo>
                    <a:lnTo>
                      <a:pt x="55" y="1"/>
                    </a:lnTo>
                    <a:close/>
                  </a:path>
                </a:pathLst>
              </a:custGeom>
              <a:solidFill>
                <a:srgbClr val="972921"/>
              </a:solidFill>
              <a:ln w="12700">
                <a:noFill/>
                <a:round/>
                <a:headEnd/>
                <a:tailEnd/>
              </a:ln>
            </p:spPr>
            <p:txBody>
              <a:bodyPr lIns="45720" tIns="46800" rIns="45720" bIns="46800" anchor="ctr"/>
              <a:lstStyle/>
              <a:p>
                <a:pPr defTabSz="912546"/>
                <a:endParaRPr>
                  <a:solidFill>
                    <a:srgbClr val="000000"/>
                  </a:solidFill>
                </a:endParaRPr>
              </a:p>
            </p:txBody>
          </p:sp>
          <p:sp>
            <p:nvSpPr>
              <p:cNvPr id="441744" name="Freeform 717"/>
              <p:cNvSpPr>
                <a:spLocks/>
              </p:cNvSpPr>
              <p:nvPr/>
            </p:nvSpPr>
            <p:spPr bwMode="gray">
              <a:xfrm>
                <a:off x="123" y="1833"/>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sp>
            <p:nvSpPr>
              <p:cNvPr id="441745" name="Freeform 718"/>
              <p:cNvSpPr>
                <a:spLocks/>
              </p:cNvSpPr>
              <p:nvPr/>
            </p:nvSpPr>
            <p:spPr bwMode="gray">
              <a:xfrm>
                <a:off x="230" y="1836"/>
                <a:ext cx="24" cy="13"/>
              </a:xfrm>
              <a:custGeom>
                <a:avLst/>
                <a:gdLst>
                  <a:gd name="T0" fmla="*/ 0 w 24"/>
                  <a:gd name="T1" fmla="*/ 0 h 13"/>
                  <a:gd name="T2" fmla="*/ 0 w 24"/>
                  <a:gd name="T3" fmla="*/ 13 h 13"/>
                  <a:gd name="T4" fmla="*/ 24 w 24"/>
                  <a:gd name="T5" fmla="*/ 13 h 13"/>
                  <a:gd name="T6" fmla="*/ 23 w 24"/>
                  <a:gd name="T7" fmla="*/ 1 h 13"/>
                  <a:gd name="T8" fmla="*/ 0 w 24"/>
                  <a:gd name="T9" fmla="*/ 0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0" y="0"/>
                    </a:moveTo>
                    <a:lnTo>
                      <a:pt x="0" y="13"/>
                    </a:lnTo>
                    <a:lnTo>
                      <a:pt x="24" y="13"/>
                    </a:lnTo>
                    <a:lnTo>
                      <a:pt x="23" y="1"/>
                    </a:lnTo>
                    <a:lnTo>
                      <a:pt x="0" y="0"/>
                    </a:lnTo>
                    <a:close/>
                  </a:path>
                </a:pathLst>
              </a:custGeom>
              <a:solidFill>
                <a:srgbClr val="D2D2D2"/>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42" name="Group 719"/>
            <p:cNvGrpSpPr>
              <a:grpSpLocks/>
            </p:cNvGrpSpPr>
            <p:nvPr/>
          </p:nvGrpSpPr>
          <p:grpSpPr bwMode="gray">
            <a:xfrm rot="-451309">
              <a:off x="353" y="3691"/>
              <a:ext cx="122" cy="59"/>
              <a:chOff x="1878" y="3183"/>
              <a:chExt cx="322" cy="137"/>
            </a:xfrm>
          </p:grpSpPr>
          <p:sp>
            <p:nvSpPr>
              <p:cNvPr id="441713" name="Freeform 720"/>
              <p:cNvSpPr>
                <a:spLocks/>
              </p:cNvSpPr>
              <p:nvPr/>
            </p:nvSpPr>
            <p:spPr bwMode="gray">
              <a:xfrm>
                <a:off x="1880" y="3189"/>
                <a:ext cx="320" cy="131"/>
              </a:xfrm>
              <a:custGeom>
                <a:avLst/>
                <a:gdLst>
                  <a:gd name="T0" fmla="*/ 320 w 320"/>
                  <a:gd name="T1" fmla="*/ 21 h 131"/>
                  <a:gd name="T2" fmla="*/ 313 w 320"/>
                  <a:gd name="T3" fmla="*/ 78 h 131"/>
                  <a:gd name="T4" fmla="*/ 297 w 320"/>
                  <a:gd name="T5" fmla="*/ 80 h 131"/>
                  <a:gd name="T6" fmla="*/ 282 w 320"/>
                  <a:gd name="T7" fmla="*/ 102 h 131"/>
                  <a:gd name="T8" fmla="*/ 266 w 320"/>
                  <a:gd name="T9" fmla="*/ 93 h 131"/>
                  <a:gd name="T10" fmla="*/ 250 w 320"/>
                  <a:gd name="T11" fmla="*/ 104 h 131"/>
                  <a:gd name="T12" fmla="*/ 225 w 320"/>
                  <a:gd name="T13" fmla="*/ 84 h 131"/>
                  <a:gd name="T14" fmla="*/ 160 w 320"/>
                  <a:gd name="T15" fmla="*/ 92 h 131"/>
                  <a:gd name="T16" fmla="*/ 142 w 320"/>
                  <a:gd name="T17" fmla="*/ 113 h 131"/>
                  <a:gd name="T18" fmla="*/ 129 w 320"/>
                  <a:gd name="T19" fmla="*/ 112 h 131"/>
                  <a:gd name="T20" fmla="*/ 124 w 320"/>
                  <a:gd name="T21" fmla="*/ 115 h 131"/>
                  <a:gd name="T22" fmla="*/ 100 w 320"/>
                  <a:gd name="T23" fmla="*/ 103 h 131"/>
                  <a:gd name="T24" fmla="*/ 60 w 320"/>
                  <a:gd name="T25" fmla="*/ 111 h 131"/>
                  <a:gd name="T26" fmla="*/ 19 w 320"/>
                  <a:gd name="T27" fmla="*/ 111 h 131"/>
                  <a:gd name="T28" fmla="*/ 5 w 320"/>
                  <a:gd name="T29" fmla="*/ 73 h 131"/>
                  <a:gd name="T30" fmla="*/ 22 w 320"/>
                  <a:gd name="T31" fmla="*/ 64 h 131"/>
                  <a:gd name="T32" fmla="*/ 41 w 320"/>
                  <a:gd name="T33" fmla="*/ 56 h 131"/>
                  <a:gd name="T34" fmla="*/ 76 w 320"/>
                  <a:gd name="T35" fmla="*/ 34 h 131"/>
                  <a:gd name="T36" fmla="*/ 84 w 320"/>
                  <a:gd name="T37" fmla="*/ 35 h 131"/>
                  <a:gd name="T38" fmla="*/ 85 w 320"/>
                  <a:gd name="T39" fmla="*/ 39 h 131"/>
                  <a:gd name="T40" fmla="*/ 93 w 320"/>
                  <a:gd name="T41" fmla="*/ 42 h 131"/>
                  <a:gd name="T42" fmla="*/ 99 w 320"/>
                  <a:gd name="T43" fmla="*/ 11 h 131"/>
                  <a:gd name="T44" fmla="*/ 291 w 320"/>
                  <a:gd name="T45" fmla="*/ 0 h 131"/>
                  <a:gd name="T46" fmla="*/ 320 w 320"/>
                  <a:gd name="T47" fmla="*/ 21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131"/>
                  <a:gd name="T74" fmla="*/ 320 w 320"/>
                  <a:gd name="T75" fmla="*/ 131 h 1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131">
                    <a:moveTo>
                      <a:pt x="320" y="21"/>
                    </a:moveTo>
                    <a:lnTo>
                      <a:pt x="313" y="78"/>
                    </a:lnTo>
                    <a:cubicBezTo>
                      <a:pt x="306" y="78"/>
                      <a:pt x="304" y="79"/>
                      <a:pt x="297" y="80"/>
                    </a:cubicBezTo>
                    <a:cubicBezTo>
                      <a:pt x="295" y="93"/>
                      <a:pt x="292" y="99"/>
                      <a:pt x="282" y="102"/>
                    </a:cubicBezTo>
                    <a:cubicBezTo>
                      <a:pt x="273" y="100"/>
                      <a:pt x="269" y="100"/>
                      <a:pt x="266" y="93"/>
                    </a:cubicBezTo>
                    <a:cubicBezTo>
                      <a:pt x="263" y="99"/>
                      <a:pt x="257" y="101"/>
                      <a:pt x="250" y="104"/>
                    </a:cubicBezTo>
                    <a:cubicBezTo>
                      <a:pt x="232" y="101"/>
                      <a:pt x="235" y="98"/>
                      <a:pt x="225" y="84"/>
                    </a:cubicBezTo>
                    <a:cubicBezTo>
                      <a:pt x="195" y="85"/>
                      <a:pt x="189" y="89"/>
                      <a:pt x="160" y="92"/>
                    </a:cubicBezTo>
                    <a:cubicBezTo>
                      <a:pt x="156" y="108"/>
                      <a:pt x="156" y="108"/>
                      <a:pt x="142" y="113"/>
                    </a:cubicBezTo>
                    <a:cubicBezTo>
                      <a:pt x="138" y="114"/>
                      <a:pt x="131" y="112"/>
                      <a:pt x="129" y="112"/>
                    </a:cubicBezTo>
                    <a:cubicBezTo>
                      <a:pt x="128" y="114"/>
                      <a:pt x="126" y="114"/>
                      <a:pt x="124" y="115"/>
                    </a:cubicBezTo>
                    <a:cubicBezTo>
                      <a:pt x="111" y="113"/>
                      <a:pt x="112" y="117"/>
                      <a:pt x="100" y="103"/>
                    </a:cubicBezTo>
                    <a:cubicBezTo>
                      <a:pt x="83" y="106"/>
                      <a:pt x="77" y="105"/>
                      <a:pt x="60" y="111"/>
                    </a:cubicBezTo>
                    <a:cubicBezTo>
                      <a:pt x="46" y="131"/>
                      <a:pt x="31" y="119"/>
                      <a:pt x="19" y="111"/>
                    </a:cubicBezTo>
                    <a:cubicBezTo>
                      <a:pt x="6" y="96"/>
                      <a:pt x="5" y="82"/>
                      <a:pt x="5" y="73"/>
                    </a:cubicBezTo>
                    <a:cubicBezTo>
                      <a:pt x="0" y="78"/>
                      <a:pt x="14" y="65"/>
                      <a:pt x="22" y="64"/>
                    </a:cubicBezTo>
                    <a:cubicBezTo>
                      <a:pt x="39" y="59"/>
                      <a:pt x="31" y="56"/>
                      <a:pt x="41" y="56"/>
                    </a:cubicBezTo>
                    <a:cubicBezTo>
                      <a:pt x="51" y="33"/>
                      <a:pt x="51" y="40"/>
                      <a:pt x="76" y="34"/>
                    </a:cubicBezTo>
                    <a:cubicBezTo>
                      <a:pt x="75" y="21"/>
                      <a:pt x="87" y="15"/>
                      <a:pt x="84" y="35"/>
                    </a:cubicBezTo>
                    <a:cubicBezTo>
                      <a:pt x="84" y="36"/>
                      <a:pt x="84" y="38"/>
                      <a:pt x="85" y="39"/>
                    </a:cubicBezTo>
                    <a:cubicBezTo>
                      <a:pt x="87" y="41"/>
                      <a:pt x="93" y="42"/>
                      <a:pt x="93" y="42"/>
                    </a:cubicBezTo>
                    <a:lnTo>
                      <a:pt x="99" y="11"/>
                    </a:lnTo>
                    <a:lnTo>
                      <a:pt x="291" y="0"/>
                    </a:lnTo>
                    <a:lnTo>
                      <a:pt x="320" y="21"/>
                    </a:lnTo>
                    <a:close/>
                  </a:path>
                </a:pathLst>
              </a:custGeom>
              <a:solidFill>
                <a:schemeClr val="tx2"/>
              </a:solidFill>
              <a:ln w="12700">
                <a:noFill/>
                <a:round/>
                <a:headEnd/>
                <a:tailEnd/>
              </a:ln>
            </p:spPr>
            <p:txBody>
              <a:bodyPr lIns="45720" tIns="46800" rIns="45720" bIns="46800" anchor="ctr"/>
              <a:lstStyle/>
              <a:p>
                <a:pPr defTabSz="912546"/>
                <a:endParaRPr>
                  <a:solidFill>
                    <a:srgbClr val="000000"/>
                  </a:solidFill>
                </a:endParaRPr>
              </a:p>
            </p:txBody>
          </p:sp>
          <p:sp>
            <p:nvSpPr>
              <p:cNvPr id="441714" name="Freeform 721"/>
              <p:cNvSpPr>
                <a:spLocks/>
              </p:cNvSpPr>
              <p:nvPr/>
            </p:nvSpPr>
            <p:spPr bwMode="gray">
              <a:xfrm>
                <a:off x="1977" y="3188"/>
                <a:ext cx="221" cy="31"/>
              </a:xfrm>
              <a:custGeom>
                <a:avLst/>
                <a:gdLst>
                  <a:gd name="T0" fmla="*/ 0 w 221"/>
                  <a:gd name="T1" fmla="*/ 12 h 31"/>
                  <a:gd name="T2" fmla="*/ 29 w 221"/>
                  <a:gd name="T3" fmla="*/ 31 h 31"/>
                  <a:gd name="T4" fmla="*/ 221 w 221"/>
                  <a:gd name="T5" fmla="*/ 19 h 31"/>
                  <a:gd name="T6" fmla="*/ 195 w 221"/>
                  <a:gd name="T7" fmla="*/ 0 h 31"/>
                  <a:gd name="T8" fmla="*/ 0 w 221"/>
                  <a:gd name="T9" fmla="*/ 12 h 31"/>
                  <a:gd name="T10" fmla="*/ 0 60000 65536"/>
                  <a:gd name="T11" fmla="*/ 0 60000 65536"/>
                  <a:gd name="T12" fmla="*/ 0 60000 65536"/>
                  <a:gd name="T13" fmla="*/ 0 60000 65536"/>
                  <a:gd name="T14" fmla="*/ 0 60000 65536"/>
                  <a:gd name="T15" fmla="*/ 0 w 221"/>
                  <a:gd name="T16" fmla="*/ 0 h 31"/>
                  <a:gd name="T17" fmla="*/ 221 w 221"/>
                  <a:gd name="T18" fmla="*/ 31 h 31"/>
                </a:gdLst>
                <a:ahLst/>
                <a:cxnLst>
                  <a:cxn ang="T10">
                    <a:pos x="T0" y="T1"/>
                  </a:cxn>
                  <a:cxn ang="T11">
                    <a:pos x="T2" y="T3"/>
                  </a:cxn>
                  <a:cxn ang="T12">
                    <a:pos x="T4" y="T5"/>
                  </a:cxn>
                  <a:cxn ang="T13">
                    <a:pos x="T6" y="T7"/>
                  </a:cxn>
                  <a:cxn ang="T14">
                    <a:pos x="T8" y="T9"/>
                  </a:cxn>
                </a:cxnLst>
                <a:rect l="T15" t="T16" r="T17" b="T18"/>
                <a:pathLst>
                  <a:path w="221" h="31">
                    <a:moveTo>
                      <a:pt x="0" y="12"/>
                    </a:moveTo>
                    <a:lnTo>
                      <a:pt x="29" y="31"/>
                    </a:lnTo>
                    <a:lnTo>
                      <a:pt x="221" y="19"/>
                    </a:lnTo>
                    <a:lnTo>
                      <a:pt x="195" y="0"/>
                    </a:lnTo>
                    <a:lnTo>
                      <a:pt x="0" y="12"/>
                    </a:lnTo>
                    <a:close/>
                  </a:path>
                </a:pathLst>
              </a:custGeom>
              <a:solidFill>
                <a:srgbClr val="D8D8D8"/>
              </a:solidFill>
              <a:ln w="12700">
                <a:noFill/>
                <a:round/>
                <a:headEnd/>
                <a:tailEnd/>
              </a:ln>
            </p:spPr>
            <p:txBody>
              <a:bodyPr lIns="45720" tIns="46800" rIns="45720" bIns="46800" anchor="ctr"/>
              <a:lstStyle/>
              <a:p>
                <a:pPr defTabSz="912546"/>
                <a:endParaRPr>
                  <a:solidFill>
                    <a:srgbClr val="000000"/>
                  </a:solidFill>
                </a:endParaRPr>
              </a:p>
            </p:txBody>
          </p:sp>
          <p:sp>
            <p:nvSpPr>
              <p:cNvPr id="441715" name="Freeform 722"/>
              <p:cNvSpPr>
                <a:spLocks/>
              </p:cNvSpPr>
              <p:nvPr/>
            </p:nvSpPr>
            <p:spPr bwMode="gray">
              <a:xfrm>
                <a:off x="1998" y="3206"/>
                <a:ext cx="201" cy="72"/>
              </a:xfrm>
              <a:custGeom>
                <a:avLst/>
                <a:gdLst>
                  <a:gd name="T0" fmla="*/ 0 w 201"/>
                  <a:gd name="T1" fmla="*/ 72 h 72"/>
                  <a:gd name="T2" fmla="*/ 197 w 201"/>
                  <a:gd name="T3" fmla="*/ 55 h 72"/>
                  <a:gd name="T4" fmla="*/ 201 w 201"/>
                  <a:gd name="T5" fmla="*/ 0 h 72"/>
                  <a:gd name="T6" fmla="*/ 9 w 201"/>
                  <a:gd name="T7" fmla="*/ 13 h 72"/>
                  <a:gd name="T8" fmla="*/ 0 w 201"/>
                  <a:gd name="T9" fmla="*/ 72 h 72"/>
                  <a:gd name="T10" fmla="*/ 0 60000 65536"/>
                  <a:gd name="T11" fmla="*/ 0 60000 65536"/>
                  <a:gd name="T12" fmla="*/ 0 60000 65536"/>
                  <a:gd name="T13" fmla="*/ 0 60000 65536"/>
                  <a:gd name="T14" fmla="*/ 0 60000 65536"/>
                  <a:gd name="T15" fmla="*/ 0 w 201"/>
                  <a:gd name="T16" fmla="*/ 0 h 72"/>
                  <a:gd name="T17" fmla="*/ 201 w 201"/>
                  <a:gd name="T18" fmla="*/ 72 h 72"/>
                </a:gdLst>
                <a:ahLst/>
                <a:cxnLst>
                  <a:cxn ang="T10">
                    <a:pos x="T0" y="T1"/>
                  </a:cxn>
                  <a:cxn ang="T11">
                    <a:pos x="T2" y="T3"/>
                  </a:cxn>
                  <a:cxn ang="T12">
                    <a:pos x="T4" y="T5"/>
                  </a:cxn>
                  <a:cxn ang="T13">
                    <a:pos x="T6" y="T7"/>
                  </a:cxn>
                  <a:cxn ang="T14">
                    <a:pos x="T8" y="T9"/>
                  </a:cxn>
                </a:cxnLst>
                <a:rect l="T15" t="T16" r="T17" b="T18"/>
                <a:pathLst>
                  <a:path w="201" h="72">
                    <a:moveTo>
                      <a:pt x="0" y="72"/>
                    </a:moveTo>
                    <a:lnTo>
                      <a:pt x="197" y="55"/>
                    </a:lnTo>
                    <a:lnTo>
                      <a:pt x="201" y="0"/>
                    </a:lnTo>
                    <a:lnTo>
                      <a:pt x="9" y="13"/>
                    </a:lnTo>
                    <a:lnTo>
                      <a:pt x="0" y="72"/>
                    </a:lnTo>
                    <a:close/>
                  </a:path>
                </a:pathLst>
              </a:custGeom>
              <a:solidFill>
                <a:schemeClr val="bg2"/>
              </a:solidFill>
              <a:ln w="12700">
                <a:noFill/>
                <a:round/>
                <a:headEnd/>
                <a:tailEnd/>
              </a:ln>
            </p:spPr>
            <p:txBody>
              <a:bodyPr lIns="45720" tIns="46800" rIns="45720" bIns="46800" anchor="ctr"/>
              <a:lstStyle/>
              <a:p>
                <a:pPr defTabSz="912546"/>
                <a:endParaRPr>
                  <a:solidFill>
                    <a:srgbClr val="000000"/>
                  </a:solidFill>
                </a:endParaRPr>
              </a:p>
            </p:txBody>
          </p:sp>
          <p:sp>
            <p:nvSpPr>
              <p:cNvPr id="441716" name="Freeform 723"/>
              <p:cNvSpPr>
                <a:spLocks/>
              </p:cNvSpPr>
              <p:nvPr/>
            </p:nvSpPr>
            <p:spPr bwMode="gray">
              <a:xfrm>
                <a:off x="1878" y="3231"/>
                <a:ext cx="100" cy="68"/>
              </a:xfrm>
              <a:custGeom>
                <a:avLst/>
                <a:gdLst>
                  <a:gd name="T0" fmla="*/ 92 w 100"/>
                  <a:gd name="T1" fmla="*/ 23 h 68"/>
                  <a:gd name="T2" fmla="*/ 66 w 100"/>
                  <a:gd name="T3" fmla="*/ 27 h 68"/>
                  <a:gd name="T4" fmla="*/ 48 w 100"/>
                  <a:gd name="T5" fmla="*/ 33 h 68"/>
                  <a:gd name="T6" fmla="*/ 30 w 100"/>
                  <a:gd name="T7" fmla="*/ 39 h 68"/>
                  <a:gd name="T8" fmla="*/ 17 w 100"/>
                  <a:gd name="T9" fmla="*/ 42 h 68"/>
                  <a:gd name="T10" fmla="*/ 8 w 100"/>
                  <a:gd name="T11" fmla="*/ 35 h 68"/>
                  <a:gd name="T12" fmla="*/ 24 w 100"/>
                  <a:gd name="T13" fmla="*/ 68 h 68"/>
                  <a:gd name="T14" fmla="*/ 33 w 100"/>
                  <a:gd name="T15" fmla="*/ 57 h 68"/>
                  <a:gd name="T16" fmla="*/ 50 w 100"/>
                  <a:gd name="T17" fmla="*/ 53 h 68"/>
                  <a:gd name="T18" fmla="*/ 59 w 100"/>
                  <a:gd name="T19" fmla="*/ 63 h 68"/>
                  <a:gd name="T20" fmla="*/ 92 w 100"/>
                  <a:gd name="T21" fmla="*/ 56 h 68"/>
                  <a:gd name="T22" fmla="*/ 99 w 100"/>
                  <a:gd name="T23" fmla="*/ 23 h 68"/>
                  <a:gd name="T24" fmla="*/ 92 w 100"/>
                  <a:gd name="T25" fmla="*/ 0 h 68"/>
                  <a:gd name="T26" fmla="*/ 92 w 100"/>
                  <a:gd name="T27" fmla="*/ 23 h 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68"/>
                  <a:gd name="T44" fmla="*/ 100 w 100"/>
                  <a:gd name="T45" fmla="*/ 68 h 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68">
                    <a:moveTo>
                      <a:pt x="92" y="23"/>
                    </a:moveTo>
                    <a:cubicBezTo>
                      <a:pt x="78" y="27"/>
                      <a:pt x="82" y="26"/>
                      <a:pt x="66" y="27"/>
                    </a:cubicBezTo>
                    <a:cubicBezTo>
                      <a:pt x="60" y="30"/>
                      <a:pt x="54" y="32"/>
                      <a:pt x="48" y="33"/>
                    </a:cubicBezTo>
                    <a:cubicBezTo>
                      <a:pt x="42" y="36"/>
                      <a:pt x="36" y="38"/>
                      <a:pt x="30" y="39"/>
                    </a:cubicBezTo>
                    <a:cubicBezTo>
                      <a:pt x="25" y="43"/>
                      <a:pt x="23" y="45"/>
                      <a:pt x="17" y="42"/>
                    </a:cubicBezTo>
                    <a:cubicBezTo>
                      <a:pt x="14" y="37"/>
                      <a:pt x="15" y="32"/>
                      <a:pt x="8" y="35"/>
                    </a:cubicBezTo>
                    <a:cubicBezTo>
                      <a:pt x="0" y="52"/>
                      <a:pt x="10" y="61"/>
                      <a:pt x="24" y="68"/>
                    </a:cubicBezTo>
                    <a:cubicBezTo>
                      <a:pt x="35" y="64"/>
                      <a:pt x="27" y="63"/>
                      <a:pt x="33" y="57"/>
                    </a:cubicBezTo>
                    <a:cubicBezTo>
                      <a:pt x="35" y="55"/>
                      <a:pt x="47" y="54"/>
                      <a:pt x="50" y="53"/>
                    </a:cubicBezTo>
                    <a:cubicBezTo>
                      <a:pt x="59" y="54"/>
                      <a:pt x="56" y="56"/>
                      <a:pt x="59" y="63"/>
                    </a:cubicBezTo>
                    <a:cubicBezTo>
                      <a:pt x="68" y="57"/>
                      <a:pt x="81" y="58"/>
                      <a:pt x="92" y="56"/>
                    </a:cubicBezTo>
                    <a:cubicBezTo>
                      <a:pt x="95" y="51"/>
                      <a:pt x="99" y="57"/>
                      <a:pt x="99" y="23"/>
                    </a:cubicBezTo>
                    <a:cubicBezTo>
                      <a:pt x="100" y="2"/>
                      <a:pt x="94" y="4"/>
                      <a:pt x="92" y="0"/>
                    </a:cubicBezTo>
                    <a:lnTo>
                      <a:pt x="92" y="23"/>
                    </a:lnTo>
                    <a:close/>
                  </a:path>
                </a:pathLst>
              </a:custGeom>
              <a:solidFill>
                <a:schemeClr val="accent1"/>
              </a:solidFill>
              <a:ln w="12700">
                <a:noFill/>
                <a:round/>
                <a:headEnd/>
                <a:tailEnd/>
              </a:ln>
            </p:spPr>
            <p:txBody>
              <a:bodyPr lIns="45720" tIns="46800" rIns="45720" bIns="46800" anchor="ctr"/>
              <a:lstStyle/>
              <a:p>
                <a:pPr defTabSz="912546"/>
                <a:endParaRPr>
                  <a:solidFill>
                    <a:srgbClr val="000000"/>
                  </a:solidFill>
                </a:endParaRPr>
              </a:p>
            </p:txBody>
          </p:sp>
          <p:sp>
            <p:nvSpPr>
              <p:cNvPr id="441717" name="Freeform 724"/>
              <p:cNvSpPr>
                <a:spLocks/>
              </p:cNvSpPr>
              <p:nvPr/>
            </p:nvSpPr>
            <p:spPr bwMode="gray">
              <a:xfrm>
                <a:off x="1883" y="3224"/>
                <a:ext cx="93" cy="51"/>
              </a:xfrm>
              <a:custGeom>
                <a:avLst/>
                <a:gdLst>
                  <a:gd name="T0" fmla="*/ 51 w 93"/>
                  <a:gd name="T1" fmla="*/ 3 h 51"/>
                  <a:gd name="T2" fmla="*/ 63 w 93"/>
                  <a:gd name="T3" fmla="*/ 16 h 51"/>
                  <a:gd name="T4" fmla="*/ 57 w 93"/>
                  <a:gd name="T5" fmla="*/ 34 h 51"/>
                  <a:gd name="T6" fmla="*/ 33 w 93"/>
                  <a:gd name="T7" fmla="*/ 21 h 51"/>
                  <a:gd name="T8" fmla="*/ 3 w 93"/>
                  <a:gd name="T9" fmla="*/ 36 h 51"/>
                  <a:gd name="T10" fmla="*/ 18 w 93"/>
                  <a:gd name="T11" fmla="*/ 51 h 51"/>
                  <a:gd name="T12" fmla="*/ 45 w 93"/>
                  <a:gd name="T13" fmla="*/ 42 h 51"/>
                  <a:gd name="T14" fmla="*/ 63 w 93"/>
                  <a:gd name="T15" fmla="*/ 34 h 51"/>
                  <a:gd name="T16" fmla="*/ 93 w 93"/>
                  <a:gd name="T17" fmla="*/ 10 h 51"/>
                  <a:gd name="T18" fmla="*/ 70 w 93"/>
                  <a:gd name="T19" fmla="*/ 0 h 51"/>
                  <a:gd name="T20" fmla="*/ 51 w 93"/>
                  <a:gd name="T21" fmla="*/ 3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51"/>
                  <a:gd name="T35" fmla="*/ 93 w 93"/>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51">
                    <a:moveTo>
                      <a:pt x="51" y="3"/>
                    </a:moveTo>
                    <a:cubicBezTo>
                      <a:pt x="45" y="8"/>
                      <a:pt x="56" y="12"/>
                      <a:pt x="63" y="16"/>
                    </a:cubicBezTo>
                    <a:cubicBezTo>
                      <a:pt x="61" y="23"/>
                      <a:pt x="61" y="28"/>
                      <a:pt x="57" y="34"/>
                    </a:cubicBezTo>
                    <a:cubicBezTo>
                      <a:pt x="45" y="33"/>
                      <a:pt x="42" y="26"/>
                      <a:pt x="33" y="21"/>
                    </a:cubicBezTo>
                    <a:cubicBezTo>
                      <a:pt x="22" y="26"/>
                      <a:pt x="13" y="29"/>
                      <a:pt x="3" y="36"/>
                    </a:cubicBezTo>
                    <a:cubicBezTo>
                      <a:pt x="0" y="43"/>
                      <a:pt x="12" y="49"/>
                      <a:pt x="18" y="51"/>
                    </a:cubicBezTo>
                    <a:cubicBezTo>
                      <a:pt x="27" y="47"/>
                      <a:pt x="35" y="44"/>
                      <a:pt x="45" y="42"/>
                    </a:cubicBezTo>
                    <a:cubicBezTo>
                      <a:pt x="51" y="39"/>
                      <a:pt x="57" y="38"/>
                      <a:pt x="63" y="34"/>
                    </a:cubicBezTo>
                    <a:cubicBezTo>
                      <a:pt x="73" y="21"/>
                      <a:pt x="71" y="12"/>
                      <a:pt x="93" y="10"/>
                    </a:cubicBezTo>
                    <a:cubicBezTo>
                      <a:pt x="93" y="15"/>
                      <a:pt x="77" y="1"/>
                      <a:pt x="70" y="0"/>
                    </a:cubicBezTo>
                    <a:lnTo>
                      <a:pt x="51" y="3"/>
                    </a:lnTo>
                    <a:close/>
                  </a:path>
                </a:pathLst>
              </a:custGeom>
              <a:solidFill>
                <a:srgbClr val="FFC34B"/>
              </a:solidFill>
              <a:ln w="12700">
                <a:noFill/>
                <a:round/>
                <a:headEnd/>
                <a:tailEnd/>
              </a:ln>
            </p:spPr>
            <p:txBody>
              <a:bodyPr lIns="45720" tIns="46800" rIns="45720" bIns="46800" anchor="ctr"/>
              <a:lstStyle/>
              <a:p>
                <a:pPr defTabSz="912546"/>
                <a:endParaRPr>
                  <a:solidFill>
                    <a:srgbClr val="000000"/>
                  </a:solidFill>
                </a:endParaRPr>
              </a:p>
            </p:txBody>
          </p:sp>
          <p:sp>
            <p:nvSpPr>
              <p:cNvPr id="441718" name="Freeform 725"/>
              <p:cNvSpPr>
                <a:spLocks/>
              </p:cNvSpPr>
              <p:nvPr/>
            </p:nvSpPr>
            <p:spPr bwMode="gray">
              <a:xfrm>
                <a:off x="1883" y="3266"/>
                <a:ext cx="20" cy="28"/>
              </a:xfrm>
              <a:custGeom>
                <a:avLst/>
                <a:gdLst>
                  <a:gd name="T0" fmla="*/ 19 w 20"/>
                  <a:gd name="T1" fmla="*/ 9 h 28"/>
                  <a:gd name="T2" fmla="*/ 6 w 20"/>
                  <a:gd name="T3" fmla="*/ 0 h 28"/>
                  <a:gd name="T4" fmla="*/ 12 w 20"/>
                  <a:gd name="T5" fmla="*/ 18 h 28"/>
                  <a:gd name="T6" fmla="*/ 19 w 20"/>
                  <a:gd name="T7" fmla="*/ 9 h 28"/>
                  <a:gd name="T8" fmla="*/ 0 60000 65536"/>
                  <a:gd name="T9" fmla="*/ 0 60000 65536"/>
                  <a:gd name="T10" fmla="*/ 0 60000 65536"/>
                  <a:gd name="T11" fmla="*/ 0 60000 65536"/>
                  <a:gd name="T12" fmla="*/ 0 w 20"/>
                  <a:gd name="T13" fmla="*/ 0 h 28"/>
                  <a:gd name="T14" fmla="*/ 20 w 20"/>
                  <a:gd name="T15" fmla="*/ 28 h 28"/>
                </a:gdLst>
                <a:ahLst/>
                <a:cxnLst>
                  <a:cxn ang="T8">
                    <a:pos x="T0" y="T1"/>
                  </a:cxn>
                  <a:cxn ang="T9">
                    <a:pos x="T2" y="T3"/>
                  </a:cxn>
                  <a:cxn ang="T10">
                    <a:pos x="T4" y="T5"/>
                  </a:cxn>
                  <a:cxn ang="T11">
                    <a:pos x="T6" y="T7"/>
                  </a:cxn>
                </a:cxnLst>
                <a:rect l="T12" t="T13" r="T14" b="T15"/>
                <a:pathLst>
                  <a:path w="20" h="28">
                    <a:moveTo>
                      <a:pt x="19" y="9"/>
                    </a:moveTo>
                    <a:cubicBezTo>
                      <a:pt x="15" y="6"/>
                      <a:pt x="10" y="3"/>
                      <a:pt x="6" y="0"/>
                    </a:cubicBezTo>
                    <a:cubicBezTo>
                      <a:pt x="0" y="8"/>
                      <a:pt x="4" y="15"/>
                      <a:pt x="12" y="18"/>
                    </a:cubicBezTo>
                    <a:cubicBezTo>
                      <a:pt x="19" y="28"/>
                      <a:pt x="20" y="9"/>
                      <a:pt x="19" y="9"/>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719" name="Freeform 726"/>
              <p:cNvSpPr>
                <a:spLocks/>
              </p:cNvSpPr>
              <p:nvPr/>
            </p:nvSpPr>
            <p:spPr bwMode="gray">
              <a:xfrm>
                <a:off x="1974" y="3183"/>
                <a:ext cx="35" cy="102"/>
              </a:xfrm>
              <a:custGeom>
                <a:avLst/>
                <a:gdLst>
                  <a:gd name="T0" fmla="*/ 0 w 35"/>
                  <a:gd name="T1" fmla="*/ 47 h 102"/>
                  <a:gd name="T2" fmla="*/ 9 w 35"/>
                  <a:gd name="T3" fmla="*/ 83 h 102"/>
                  <a:gd name="T4" fmla="*/ 26 w 35"/>
                  <a:gd name="T5" fmla="*/ 92 h 102"/>
                  <a:gd name="T6" fmla="*/ 35 w 35"/>
                  <a:gd name="T7" fmla="*/ 36 h 102"/>
                  <a:gd name="T8" fmla="*/ 5 w 35"/>
                  <a:gd name="T9" fmla="*/ 20 h 102"/>
                  <a:gd name="T10" fmla="*/ 0 w 35"/>
                  <a:gd name="T11" fmla="*/ 47 h 102"/>
                  <a:gd name="T12" fmla="*/ 0 60000 65536"/>
                  <a:gd name="T13" fmla="*/ 0 60000 65536"/>
                  <a:gd name="T14" fmla="*/ 0 60000 65536"/>
                  <a:gd name="T15" fmla="*/ 0 60000 65536"/>
                  <a:gd name="T16" fmla="*/ 0 60000 65536"/>
                  <a:gd name="T17" fmla="*/ 0 60000 65536"/>
                  <a:gd name="T18" fmla="*/ 0 w 35"/>
                  <a:gd name="T19" fmla="*/ 0 h 102"/>
                  <a:gd name="T20" fmla="*/ 35 w 35"/>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35" h="102">
                    <a:moveTo>
                      <a:pt x="0" y="47"/>
                    </a:moveTo>
                    <a:cubicBezTo>
                      <a:pt x="1" y="57"/>
                      <a:pt x="18" y="0"/>
                      <a:pt x="9" y="83"/>
                    </a:cubicBezTo>
                    <a:cubicBezTo>
                      <a:pt x="27" y="102"/>
                      <a:pt x="22" y="99"/>
                      <a:pt x="26" y="92"/>
                    </a:cubicBezTo>
                    <a:lnTo>
                      <a:pt x="35" y="36"/>
                    </a:lnTo>
                    <a:lnTo>
                      <a:pt x="5" y="20"/>
                    </a:lnTo>
                    <a:lnTo>
                      <a:pt x="0" y="47"/>
                    </a:lnTo>
                    <a:close/>
                  </a:path>
                </a:pathLst>
              </a:custGeom>
              <a:gradFill rotWithShape="1">
                <a:gsLst>
                  <a:gs pos="0">
                    <a:srgbClr val="A1A1A1"/>
                  </a:gs>
                  <a:gs pos="100000">
                    <a:srgbClr val="6C6C6C"/>
                  </a:gs>
                </a:gsLst>
                <a:lin ang="5400000" scaled="1"/>
              </a:gradFill>
              <a:ln w="12700">
                <a:noFill/>
                <a:round/>
                <a:headEnd/>
                <a:tailEnd/>
              </a:ln>
            </p:spPr>
            <p:txBody>
              <a:bodyPr lIns="45720" tIns="46800" rIns="45720" bIns="46800" anchor="ctr"/>
              <a:lstStyle/>
              <a:p>
                <a:pPr defTabSz="912546"/>
                <a:endParaRPr>
                  <a:solidFill>
                    <a:srgbClr val="000000"/>
                  </a:solidFill>
                </a:endParaRPr>
              </a:p>
            </p:txBody>
          </p:sp>
          <p:sp>
            <p:nvSpPr>
              <p:cNvPr id="441720" name="Freeform 727"/>
              <p:cNvSpPr>
                <a:spLocks/>
              </p:cNvSpPr>
              <p:nvPr/>
            </p:nvSpPr>
            <p:spPr bwMode="gray">
              <a:xfrm>
                <a:off x="1913" y="3287"/>
                <a:ext cx="18" cy="19"/>
              </a:xfrm>
              <a:custGeom>
                <a:avLst/>
                <a:gdLst>
                  <a:gd name="T0" fmla="*/ 13 w 18"/>
                  <a:gd name="T1" fmla="*/ 4 h 19"/>
                  <a:gd name="T2" fmla="*/ 0 w 18"/>
                  <a:gd name="T3" fmla="*/ 6 h 19"/>
                  <a:gd name="T4" fmla="*/ 12 w 18"/>
                  <a:gd name="T5" fmla="*/ 16 h 19"/>
                  <a:gd name="T6" fmla="*/ 13 w 18"/>
                  <a:gd name="T7" fmla="*/ 4 h 19"/>
                  <a:gd name="T8" fmla="*/ 0 60000 65536"/>
                  <a:gd name="T9" fmla="*/ 0 60000 65536"/>
                  <a:gd name="T10" fmla="*/ 0 60000 65536"/>
                  <a:gd name="T11" fmla="*/ 0 60000 65536"/>
                  <a:gd name="T12" fmla="*/ 0 w 18"/>
                  <a:gd name="T13" fmla="*/ 0 h 19"/>
                  <a:gd name="T14" fmla="*/ 18 w 18"/>
                  <a:gd name="T15" fmla="*/ 19 h 19"/>
                </a:gdLst>
                <a:ahLst/>
                <a:cxnLst>
                  <a:cxn ang="T8">
                    <a:pos x="T0" y="T1"/>
                  </a:cxn>
                  <a:cxn ang="T9">
                    <a:pos x="T2" y="T3"/>
                  </a:cxn>
                  <a:cxn ang="T10">
                    <a:pos x="T4" y="T5"/>
                  </a:cxn>
                  <a:cxn ang="T11">
                    <a:pos x="T6" y="T7"/>
                  </a:cxn>
                </a:cxnLst>
                <a:rect l="T12" t="T13" r="T14" b="T15"/>
                <a:pathLst>
                  <a:path w="18" h="19">
                    <a:moveTo>
                      <a:pt x="13" y="4"/>
                    </a:moveTo>
                    <a:cubicBezTo>
                      <a:pt x="7" y="0"/>
                      <a:pt x="5" y="2"/>
                      <a:pt x="0" y="6"/>
                    </a:cubicBezTo>
                    <a:cubicBezTo>
                      <a:pt x="1" y="16"/>
                      <a:pt x="1" y="19"/>
                      <a:pt x="12" y="16"/>
                    </a:cubicBezTo>
                    <a:cubicBezTo>
                      <a:pt x="16" y="11"/>
                      <a:pt x="18" y="9"/>
                      <a:pt x="13" y="4"/>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721" name="Freeform 728"/>
              <p:cNvSpPr>
                <a:spLocks/>
              </p:cNvSpPr>
              <p:nvPr/>
            </p:nvSpPr>
            <p:spPr bwMode="gray">
              <a:xfrm>
                <a:off x="1994" y="3281"/>
                <a:ext cx="19" cy="18"/>
              </a:xfrm>
              <a:custGeom>
                <a:avLst/>
                <a:gdLst>
                  <a:gd name="T0" fmla="*/ 16 w 19"/>
                  <a:gd name="T1" fmla="*/ 1 h 18"/>
                  <a:gd name="T2" fmla="*/ 1 w 19"/>
                  <a:gd name="T3" fmla="*/ 7 h 18"/>
                  <a:gd name="T4" fmla="*/ 10 w 19"/>
                  <a:gd name="T5" fmla="*/ 18 h 18"/>
                  <a:gd name="T6" fmla="*/ 16 w 19"/>
                  <a:gd name="T7" fmla="*/ 1 h 18"/>
                  <a:gd name="T8" fmla="*/ 0 60000 65536"/>
                  <a:gd name="T9" fmla="*/ 0 60000 65536"/>
                  <a:gd name="T10" fmla="*/ 0 60000 65536"/>
                  <a:gd name="T11" fmla="*/ 0 60000 65536"/>
                  <a:gd name="T12" fmla="*/ 0 w 19"/>
                  <a:gd name="T13" fmla="*/ 0 h 18"/>
                  <a:gd name="T14" fmla="*/ 19 w 19"/>
                  <a:gd name="T15" fmla="*/ 18 h 18"/>
                </a:gdLst>
                <a:ahLst/>
                <a:cxnLst>
                  <a:cxn ang="T8">
                    <a:pos x="T0" y="T1"/>
                  </a:cxn>
                  <a:cxn ang="T9">
                    <a:pos x="T2" y="T3"/>
                  </a:cxn>
                  <a:cxn ang="T10">
                    <a:pos x="T4" y="T5"/>
                  </a:cxn>
                  <a:cxn ang="T11">
                    <a:pos x="T6" y="T7"/>
                  </a:cxn>
                </a:cxnLst>
                <a:rect l="T12" t="T13" r="T14" b="T15"/>
                <a:pathLst>
                  <a:path w="19" h="18">
                    <a:moveTo>
                      <a:pt x="16" y="1"/>
                    </a:moveTo>
                    <a:cubicBezTo>
                      <a:pt x="9" y="0"/>
                      <a:pt x="4" y="0"/>
                      <a:pt x="1" y="7"/>
                    </a:cubicBezTo>
                    <a:cubicBezTo>
                      <a:pt x="0" y="14"/>
                      <a:pt x="4" y="15"/>
                      <a:pt x="10" y="18"/>
                    </a:cubicBezTo>
                    <a:cubicBezTo>
                      <a:pt x="17" y="15"/>
                      <a:pt x="19" y="8"/>
                      <a:pt x="16" y="1"/>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722" name="Freeform 729"/>
              <p:cNvSpPr>
                <a:spLocks/>
              </p:cNvSpPr>
              <p:nvPr/>
            </p:nvSpPr>
            <p:spPr bwMode="gray">
              <a:xfrm>
                <a:off x="2016" y="3279"/>
                <a:ext cx="17" cy="18"/>
              </a:xfrm>
              <a:custGeom>
                <a:avLst/>
                <a:gdLst>
                  <a:gd name="T0" fmla="*/ 12 w 17"/>
                  <a:gd name="T1" fmla="*/ 5 h 18"/>
                  <a:gd name="T2" fmla="*/ 0 w 17"/>
                  <a:gd name="T3" fmla="*/ 8 h 18"/>
                  <a:gd name="T4" fmla="*/ 11 w 17"/>
                  <a:gd name="T5" fmla="*/ 14 h 18"/>
                  <a:gd name="T6" fmla="*/ 12 w 17"/>
                  <a:gd name="T7" fmla="*/ 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12" y="5"/>
                    </a:moveTo>
                    <a:cubicBezTo>
                      <a:pt x="6" y="0"/>
                      <a:pt x="4" y="2"/>
                      <a:pt x="0" y="8"/>
                    </a:cubicBezTo>
                    <a:cubicBezTo>
                      <a:pt x="2" y="18"/>
                      <a:pt x="1" y="18"/>
                      <a:pt x="11" y="14"/>
                    </a:cubicBezTo>
                    <a:cubicBezTo>
                      <a:pt x="15" y="9"/>
                      <a:pt x="17" y="10"/>
                      <a:pt x="12" y="5"/>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723" name="Freeform 730"/>
              <p:cNvSpPr>
                <a:spLocks/>
              </p:cNvSpPr>
              <p:nvPr/>
            </p:nvSpPr>
            <p:spPr bwMode="gray">
              <a:xfrm>
                <a:off x="2121" y="3269"/>
                <a:ext cx="17" cy="17"/>
              </a:xfrm>
              <a:custGeom>
                <a:avLst/>
                <a:gdLst>
                  <a:gd name="T0" fmla="*/ 17 w 17"/>
                  <a:gd name="T1" fmla="*/ 9 h 17"/>
                  <a:gd name="T2" fmla="*/ 6 w 17"/>
                  <a:gd name="T3" fmla="*/ 3 h 17"/>
                  <a:gd name="T4" fmla="*/ 8 w 17"/>
                  <a:gd name="T5" fmla="*/ 16 h 17"/>
                  <a:gd name="T6" fmla="*/ 17 w 17"/>
                  <a:gd name="T7" fmla="*/ 9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7" y="9"/>
                    </a:moveTo>
                    <a:cubicBezTo>
                      <a:pt x="14" y="1"/>
                      <a:pt x="14" y="0"/>
                      <a:pt x="6" y="3"/>
                    </a:cubicBezTo>
                    <a:cubicBezTo>
                      <a:pt x="5" y="12"/>
                      <a:pt x="0" y="10"/>
                      <a:pt x="8" y="16"/>
                    </a:cubicBezTo>
                    <a:cubicBezTo>
                      <a:pt x="15" y="13"/>
                      <a:pt x="17" y="17"/>
                      <a:pt x="17"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724" name="Freeform 731"/>
              <p:cNvSpPr>
                <a:spLocks/>
              </p:cNvSpPr>
              <p:nvPr/>
            </p:nvSpPr>
            <p:spPr bwMode="gray">
              <a:xfrm>
                <a:off x="2150" y="3267"/>
                <a:ext cx="19" cy="17"/>
              </a:xfrm>
              <a:custGeom>
                <a:avLst/>
                <a:gdLst>
                  <a:gd name="T0" fmla="*/ 18 w 19"/>
                  <a:gd name="T1" fmla="*/ 9 h 17"/>
                  <a:gd name="T2" fmla="*/ 3 w 19"/>
                  <a:gd name="T3" fmla="*/ 5 h 17"/>
                  <a:gd name="T4" fmla="*/ 10 w 19"/>
                  <a:gd name="T5" fmla="*/ 17 h 17"/>
                  <a:gd name="T6" fmla="*/ 18 w 19"/>
                  <a:gd name="T7" fmla="*/ 9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8" y="9"/>
                    </a:moveTo>
                    <a:cubicBezTo>
                      <a:pt x="19" y="0"/>
                      <a:pt x="11" y="2"/>
                      <a:pt x="3" y="5"/>
                    </a:cubicBezTo>
                    <a:cubicBezTo>
                      <a:pt x="0" y="12"/>
                      <a:pt x="4" y="13"/>
                      <a:pt x="10" y="17"/>
                    </a:cubicBezTo>
                    <a:cubicBezTo>
                      <a:pt x="12" y="14"/>
                      <a:pt x="18" y="14"/>
                      <a:pt x="18" y="9"/>
                    </a:cubicBezTo>
                    <a:close/>
                  </a:path>
                </a:pathLst>
              </a:custGeom>
              <a:solidFill>
                <a:srgbClr val="666666"/>
              </a:solidFill>
              <a:ln w="12700">
                <a:noFill/>
                <a:round/>
                <a:headEnd/>
                <a:tailEnd/>
              </a:ln>
            </p:spPr>
            <p:txBody>
              <a:bodyPr lIns="45720" tIns="46800" rIns="45720" bIns="46800" anchor="ctr"/>
              <a:lstStyle/>
              <a:p>
                <a:pPr defTabSz="912546"/>
                <a:endParaRPr>
                  <a:solidFill>
                    <a:srgbClr val="000000"/>
                  </a:solidFill>
                </a:endParaRPr>
              </a:p>
            </p:txBody>
          </p:sp>
          <p:sp>
            <p:nvSpPr>
              <p:cNvPr id="441725" name="Freeform 732"/>
              <p:cNvSpPr>
                <a:spLocks/>
              </p:cNvSpPr>
              <p:nvPr/>
            </p:nvSpPr>
            <p:spPr bwMode="gray">
              <a:xfrm>
                <a:off x="1952" y="3258"/>
                <a:ext cx="16" cy="22"/>
              </a:xfrm>
              <a:custGeom>
                <a:avLst/>
                <a:gdLst>
                  <a:gd name="T0" fmla="*/ 12 w 16"/>
                  <a:gd name="T1" fmla="*/ 10 h 22"/>
                  <a:gd name="T2" fmla="*/ 0 w 16"/>
                  <a:gd name="T3" fmla="*/ 16 h 22"/>
                  <a:gd name="T4" fmla="*/ 14 w 16"/>
                  <a:gd name="T5" fmla="*/ 19 h 22"/>
                  <a:gd name="T6" fmla="*/ 12 w 16"/>
                  <a:gd name="T7" fmla="*/ 10 h 22"/>
                  <a:gd name="T8" fmla="*/ 0 60000 65536"/>
                  <a:gd name="T9" fmla="*/ 0 60000 65536"/>
                  <a:gd name="T10" fmla="*/ 0 60000 65536"/>
                  <a:gd name="T11" fmla="*/ 0 60000 65536"/>
                  <a:gd name="T12" fmla="*/ 0 w 16"/>
                  <a:gd name="T13" fmla="*/ 0 h 22"/>
                  <a:gd name="T14" fmla="*/ 16 w 16"/>
                  <a:gd name="T15" fmla="*/ 22 h 22"/>
                </a:gdLst>
                <a:ahLst/>
                <a:cxnLst>
                  <a:cxn ang="T8">
                    <a:pos x="T0" y="T1"/>
                  </a:cxn>
                  <a:cxn ang="T9">
                    <a:pos x="T2" y="T3"/>
                  </a:cxn>
                  <a:cxn ang="T10">
                    <a:pos x="T4" y="T5"/>
                  </a:cxn>
                  <a:cxn ang="T11">
                    <a:pos x="T6" y="T7"/>
                  </a:cxn>
                </a:cxnLst>
                <a:rect l="T12" t="T13" r="T14" b="T15"/>
                <a:pathLst>
                  <a:path w="16" h="22">
                    <a:moveTo>
                      <a:pt x="12" y="10"/>
                    </a:moveTo>
                    <a:cubicBezTo>
                      <a:pt x="5" y="0"/>
                      <a:pt x="3" y="10"/>
                      <a:pt x="0" y="16"/>
                    </a:cubicBezTo>
                    <a:cubicBezTo>
                      <a:pt x="6" y="20"/>
                      <a:pt x="7" y="22"/>
                      <a:pt x="14" y="19"/>
                    </a:cubicBezTo>
                    <a:cubicBezTo>
                      <a:pt x="15" y="12"/>
                      <a:pt x="16" y="14"/>
                      <a:pt x="12" y="10"/>
                    </a:cubicBezTo>
                    <a:close/>
                  </a:path>
                </a:pathLst>
              </a:custGeom>
              <a:solidFill>
                <a:srgbClr val="919191"/>
              </a:solidFill>
              <a:ln w="12700">
                <a:noFill/>
                <a:round/>
                <a:headEnd/>
                <a:tailEnd/>
              </a:ln>
            </p:spPr>
            <p:txBody>
              <a:bodyPr lIns="45720" tIns="46800" rIns="45720" bIns="46800" anchor="ctr"/>
              <a:lstStyle/>
              <a:p>
                <a:pPr defTabSz="912546"/>
                <a:endParaRPr>
                  <a:solidFill>
                    <a:srgbClr val="000000"/>
                  </a:solidFill>
                </a:endParaRPr>
              </a:p>
            </p:txBody>
          </p:sp>
        </p:grpSp>
      </p:grpSp>
      <p:grpSp>
        <p:nvGrpSpPr>
          <p:cNvPr id="265143" name="Group 733"/>
          <p:cNvGrpSpPr>
            <a:grpSpLocks/>
          </p:cNvGrpSpPr>
          <p:nvPr/>
        </p:nvGrpSpPr>
        <p:grpSpPr bwMode="gray">
          <a:xfrm>
            <a:off x="5562600" y="3557202"/>
            <a:ext cx="1143000" cy="917575"/>
            <a:chOff x="3504" y="2160"/>
            <a:chExt cx="720" cy="578"/>
          </a:xfrm>
        </p:grpSpPr>
        <p:sp>
          <p:nvSpPr>
            <p:cNvPr id="441619" name="Freeform 734"/>
            <p:cNvSpPr>
              <a:spLocks/>
            </p:cNvSpPr>
            <p:nvPr/>
          </p:nvSpPr>
          <p:spPr bwMode="gray">
            <a:xfrm>
              <a:off x="3631" y="2469"/>
              <a:ext cx="565" cy="254"/>
            </a:xfrm>
            <a:custGeom>
              <a:avLst/>
              <a:gdLst>
                <a:gd name="T0" fmla="*/ 11089 w 426"/>
                <a:gd name="T1" fmla="*/ 0 h 192"/>
                <a:gd name="T2" fmla="*/ 3544 w 426"/>
                <a:gd name="T3" fmla="*/ 1392 h 192"/>
                <a:gd name="T4" fmla="*/ 2373 w 426"/>
                <a:gd name="T5" fmla="*/ 1621 h 192"/>
                <a:gd name="T6" fmla="*/ 936 w 426"/>
                <a:gd name="T7" fmla="*/ 2037 h 192"/>
                <a:gd name="T8" fmla="*/ 0 w 426"/>
                <a:gd name="T9" fmla="*/ 5034 h 192"/>
                <a:gd name="T10" fmla="*/ 4466 w 426"/>
                <a:gd name="T11" fmla="*/ 7312 h 192"/>
                <a:gd name="T12" fmla="*/ 5889 w 426"/>
                <a:gd name="T13" fmla="*/ 5928 h 192"/>
                <a:gd name="T14" fmla="*/ 13694 w 426"/>
                <a:gd name="T15" fmla="*/ 3889 h 192"/>
                <a:gd name="T16" fmla="*/ 16729 w 426"/>
                <a:gd name="T17" fmla="*/ 3421 h 192"/>
                <a:gd name="T18" fmla="*/ 10620 w 426"/>
                <a:gd name="T19" fmla="*/ 2275 h 192"/>
                <a:gd name="T20" fmla="*/ 4939 w 426"/>
                <a:gd name="T21" fmla="*/ 3188 h 192"/>
                <a:gd name="T22" fmla="*/ 11089 w 426"/>
                <a:gd name="T23" fmla="*/ 0 h 19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6"/>
                <a:gd name="T37" fmla="*/ 0 h 192"/>
                <a:gd name="T38" fmla="*/ 426 w 426"/>
                <a:gd name="T39" fmla="*/ 192 h 19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6" h="192">
                  <a:moveTo>
                    <a:pt x="282" y="0"/>
                  </a:moveTo>
                  <a:cubicBezTo>
                    <a:pt x="219" y="16"/>
                    <a:pt x="154" y="23"/>
                    <a:pt x="90" y="36"/>
                  </a:cubicBezTo>
                  <a:cubicBezTo>
                    <a:pt x="80" y="38"/>
                    <a:pt x="70" y="39"/>
                    <a:pt x="60" y="42"/>
                  </a:cubicBezTo>
                  <a:cubicBezTo>
                    <a:pt x="48" y="46"/>
                    <a:pt x="24" y="54"/>
                    <a:pt x="24" y="54"/>
                  </a:cubicBezTo>
                  <a:lnTo>
                    <a:pt x="0" y="132"/>
                  </a:lnTo>
                  <a:lnTo>
                    <a:pt x="114" y="192"/>
                  </a:lnTo>
                  <a:lnTo>
                    <a:pt x="150" y="156"/>
                  </a:lnTo>
                  <a:lnTo>
                    <a:pt x="348" y="102"/>
                  </a:lnTo>
                  <a:lnTo>
                    <a:pt x="426" y="90"/>
                  </a:lnTo>
                  <a:lnTo>
                    <a:pt x="270" y="60"/>
                  </a:lnTo>
                  <a:lnTo>
                    <a:pt x="126" y="84"/>
                  </a:lnTo>
                  <a:lnTo>
                    <a:pt x="282" y="0"/>
                  </a:lnTo>
                  <a:close/>
                </a:path>
              </a:pathLst>
            </a:custGeom>
            <a:solidFill>
              <a:schemeClr val="accent2">
                <a:alpha val="12941"/>
              </a:schemeClr>
            </a:solidFill>
            <a:ln w="9525">
              <a:noFill/>
              <a:round/>
              <a:headEnd/>
              <a:tailEnd/>
            </a:ln>
          </p:spPr>
          <p:txBody>
            <a:bodyPr lIns="0" tIns="0" rIns="0" bIns="0" anchor="ctr"/>
            <a:lstStyle/>
            <a:p>
              <a:pPr defTabSz="912546"/>
              <a:endParaRPr>
                <a:solidFill>
                  <a:srgbClr val="000000"/>
                </a:solidFill>
              </a:endParaRPr>
            </a:p>
          </p:txBody>
        </p:sp>
        <p:grpSp>
          <p:nvGrpSpPr>
            <p:cNvPr id="265144" name="Group 735"/>
            <p:cNvGrpSpPr>
              <a:grpSpLocks/>
            </p:cNvGrpSpPr>
            <p:nvPr/>
          </p:nvGrpSpPr>
          <p:grpSpPr bwMode="gray">
            <a:xfrm>
              <a:off x="3504" y="2160"/>
              <a:ext cx="361" cy="292"/>
              <a:chOff x="1562" y="1702"/>
              <a:chExt cx="306" cy="249"/>
            </a:xfrm>
          </p:grpSpPr>
          <p:sp>
            <p:nvSpPr>
              <p:cNvPr id="441681" name="Freeform 736"/>
              <p:cNvSpPr>
                <a:spLocks/>
              </p:cNvSpPr>
              <p:nvPr/>
            </p:nvSpPr>
            <p:spPr bwMode="gray">
              <a:xfrm>
                <a:off x="1562" y="1702"/>
                <a:ext cx="306" cy="249"/>
              </a:xfrm>
              <a:custGeom>
                <a:avLst/>
                <a:gdLst>
                  <a:gd name="T0" fmla="*/ 18 w 306"/>
                  <a:gd name="T1" fmla="*/ 249 h 249"/>
                  <a:gd name="T2" fmla="*/ 306 w 306"/>
                  <a:gd name="T3" fmla="*/ 194 h 249"/>
                  <a:gd name="T4" fmla="*/ 303 w 306"/>
                  <a:gd name="T5" fmla="*/ 0 h 249"/>
                  <a:gd name="T6" fmla="*/ 0 w 306"/>
                  <a:gd name="T7" fmla="*/ 39 h 249"/>
                  <a:gd name="T8" fmla="*/ 18 w 306"/>
                  <a:gd name="T9" fmla="*/ 249 h 249"/>
                  <a:gd name="T10" fmla="*/ 0 60000 65536"/>
                  <a:gd name="T11" fmla="*/ 0 60000 65536"/>
                  <a:gd name="T12" fmla="*/ 0 60000 65536"/>
                  <a:gd name="T13" fmla="*/ 0 60000 65536"/>
                  <a:gd name="T14" fmla="*/ 0 60000 65536"/>
                  <a:gd name="T15" fmla="*/ 0 w 306"/>
                  <a:gd name="T16" fmla="*/ 0 h 249"/>
                  <a:gd name="T17" fmla="*/ 306 w 306"/>
                  <a:gd name="T18" fmla="*/ 249 h 249"/>
                </a:gdLst>
                <a:ahLst/>
                <a:cxnLst>
                  <a:cxn ang="T10">
                    <a:pos x="T0" y="T1"/>
                  </a:cxn>
                  <a:cxn ang="T11">
                    <a:pos x="T2" y="T3"/>
                  </a:cxn>
                  <a:cxn ang="T12">
                    <a:pos x="T4" y="T5"/>
                  </a:cxn>
                  <a:cxn ang="T13">
                    <a:pos x="T6" y="T7"/>
                  </a:cxn>
                  <a:cxn ang="T14">
                    <a:pos x="T8" y="T9"/>
                  </a:cxn>
                </a:cxnLst>
                <a:rect l="T15" t="T16" r="T17" b="T18"/>
                <a:pathLst>
                  <a:path w="306" h="249">
                    <a:moveTo>
                      <a:pt x="18" y="249"/>
                    </a:moveTo>
                    <a:lnTo>
                      <a:pt x="306" y="194"/>
                    </a:lnTo>
                    <a:lnTo>
                      <a:pt x="303" y="0"/>
                    </a:lnTo>
                    <a:lnTo>
                      <a:pt x="0" y="39"/>
                    </a:lnTo>
                    <a:lnTo>
                      <a:pt x="18" y="249"/>
                    </a:lnTo>
                    <a:close/>
                  </a:path>
                </a:pathLst>
              </a:custGeom>
              <a:solidFill>
                <a:srgbClr val="83674D"/>
              </a:solidFill>
              <a:ln w="9525">
                <a:noFill/>
                <a:round/>
                <a:headEnd/>
                <a:tailEnd/>
              </a:ln>
            </p:spPr>
            <p:txBody>
              <a:bodyPr lIns="0" tIns="0" rIns="0" bIns="0" anchor="ctr"/>
              <a:lstStyle/>
              <a:p>
                <a:pPr defTabSz="912546"/>
                <a:endParaRPr>
                  <a:solidFill>
                    <a:srgbClr val="000000"/>
                  </a:solidFill>
                </a:endParaRPr>
              </a:p>
            </p:txBody>
          </p:sp>
          <p:sp>
            <p:nvSpPr>
              <p:cNvPr id="441682" name="Freeform 737"/>
              <p:cNvSpPr>
                <a:spLocks/>
              </p:cNvSpPr>
              <p:nvPr/>
            </p:nvSpPr>
            <p:spPr bwMode="gray">
              <a:xfrm>
                <a:off x="1571" y="1710"/>
                <a:ext cx="289" cy="231"/>
              </a:xfrm>
              <a:custGeom>
                <a:avLst/>
                <a:gdLst>
                  <a:gd name="T0" fmla="*/ 18 w 289"/>
                  <a:gd name="T1" fmla="*/ 231 h 231"/>
                  <a:gd name="T2" fmla="*/ 289 w 289"/>
                  <a:gd name="T3" fmla="*/ 179 h 231"/>
                  <a:gd name="T4" fmla="*/ 286 w 289"/>
                  <a:gd name="T5" fmla="*/ 0 h 231"/>
                  <a:gd name="T6" fmla="*/ 0 w 289"/>
                  <a:gd name="T7" fmla="*/ 36 h 231"/>
                  <a:gd name="T8" fmla="*/ 18 w 289"/>
                  <a:gd name="T9" fmla="*/ 231 h 231"/>
                  <a:gd name="T10" fmla="*/ 0 60000 65536"/>
                  <a:gd name="T11" fmla="*/ 0 60000 65536"/>
                  <a:gd name="T12" fmla="*/ 0 60000 65536"/>
                  <a:gd name="T13" fmla="*/ 0 60000 65536"/>
                  <a:gd name="T14" fmla="*/ 0 60000 65536"/>
                  <a:gd name="T15" fmla="*/ 0 w 289"/>
                  <a:gd name="T16" fmla="*/ 0 h 231"/>
                  <a:gd name="T17" fmla="*/ 289 w 289"/>
                  <a:gd name="T18" fmla="*/ 231 h 231"/>
                </a:gdLst>
                <a:ahLst/>
                <a:cxnLst>
                  <a:cxn ang="T10">
                    <a:pos x="T0" y="T1"/>
                  </a:cxn>
                  <a:cxn ang="T11">
                    <a:pos x="T2" y="T3"/>
                  </a:cxn>
                  <a:cxn ang="T12">
                    <a:pos x="T4" y="T5"/>
                  </a:cxn>
                  <a:cxn ang="T13">
                    <a:pos x="T6" y="T7"/>
                  </a:cxn>
                  <a:cxn ang="T14">
                    <a:pos x="T8" y="T9"/>
                  </a:cxn>
                </a:cxnLst>
                <a:rect l="T15" t="T16" r="T17" b="T18"/>
                <a:pathLst>
                  <a:path w="289" h="231">
                    <a:moveTo>
                      <a:pt x="18" y="231"/>
                    </a:moveTo>
                    <a:lnTo>
                      <a:pt x="289" y="179"/>
                    </a:lnTo>
                    <a:lnTo>
                      <a:pt x="286" y="0"/>
                    </a:lnTo>
                    <a:lnTo>
                      <a:pt x="0" y="36"/>
                    </a:lnTo>
                    <a:lnTo>
                      <a:pt x="18" y="231"/>
                    </a:lnTo>
                    <a:close/>
                  </a:path>
                </a:pathLst>
              </a:custGeom>
              <a:gradFill rotWithShape="1">
                <a:gsLst>
                  <a:gs pos="0">
                    <a:srgbClr val="FFFFFF"/>
                  </a:gs>
                  <a:gs pos="100000">
                    <a:srgbClr val="DCDCDC"/>
                  </a:gs>
                </a:gsLst>
                <a:lin ang="5400000" scaled="1"/>
              </a:gradFill>
              <a:ln w="9525">
                <a:noFill/>
                <a:round/>
                <a:headEnd/>
                <a:tailEnd/>
              </a:ln>
            </p:spPr>
            <p:txBody>
              <a:bodyPr lIns="0" tIns="0" rIns="0" bIns="0" anchor="ctr"/>
              <a:lstStyle/>
              <a:p>
                <a:pPr defTabSz="912546"/>
                <a:endParaRPr>
                  <a:solidFill>
                    <a:srgbClr val="000000"/>
                  </a:solidFill>
                </a:endParaRPr>
              </a:p>
            </p:txBody>
          </p:sp>
        </p:grpSp>
        <p:sp>
          <p:nvSpPr>
            <p:cNvPr id="441621" name="Freeform 738"/>
            <p:cNvSpPr>
              <a:spLocks/>
            </p:cNvSpPr>
            <p:nvPr/>
          </p:nvSpPr>
          <p:spPr bwMode="gray">
            <a:xfrm>
              <a:off x="3535" y="2273"/>
              <a:ext cx="13" cy="92"/>
            </a:xfrm>
            <a:custGeom>
              <a:avLst/>
              <a:gdLst>
                <a:gd name="T0" fmla="*/ 30 w 11"/>
                <a:gd name="T1" fmla="*/ 0 h 78"/>
                <a:gd name="T2" fmla="*/ 93 w 11"/>
                <a:gd name="T3" fmla="*/ 671 h 78"/>
                <a:gd name="T4" fmla="*/ 41 w 11"/>
                <a:gd name="T5" fmla="*/ 671 h 78"/>
                <a:gd name="T6" fmla="*/ 0 w 11"/>
                <a:gd name="T7" fmla="*/ 2 h 78"/>
                <a:gd name="T8" fmla="*/ 30 w 11"/>
                <a:gd name="T9" fmla="*/ 0 h 78"/>
                <a:gd name="T10" fmla="*/ 0 60000 65536"/>
                <a:gd name="T11" fmla="*/ 0 60000 65536"/>
                <a:gd name="T12" fmla="*/ 0 60000 65536"/>
                <a:gd name="T13" fmla="*/ 0 60000 65536"/>
                <a:gd name="T14" fmla="*/ 0 60000 65536"/>
                <a:gd name="T15" fmla="*/ 0 w 11"/>
                <a:gd name="T16" fmla="*/ 0 h 78"/>
                <a:gd name="T17" fmla="*/ 11 w 11"/>
                <a:gd name="T18" fmla="*/ 78 h 78"/>
              </a:gdLst>
              <a:ahLst/>
              <a:cxnLst>
                <a:cxn ang="T10">
                  <a:pos x="T0" y="T1"/>
                </a:cxn>
                <a:cxn ang="T11">
                  <a:pos x="T2" y="T3"/>
                </a:cxn>
                <a:cxn ang="T12">
                  <a:pos x="T4" y="T5"/>
                </a:cxn>
                <a:cxn ang="T13">
                  <a:pos x="T6" y="T7"/>
                </a:cxn>
                <a:cxn ang="T14">
                  <a:pos x="T8" y="T9"/>
                </a:cxn>
              </a:cxnLst>
              <a:rect l="T15" t="T16" r="T17" b="T18"/>
              <a:pathLst>
                <a:path w="11" h="78">
                  <a:moveTo>
                    <a:pt x="3" y="0"/>
                  </a:moveTo>
                  <a:lnTo>
                    <a:pt x="11" y="78"/>
                  </a:lnTo>
                  <a:lnTo>
                    <a:pt x="5" y="78"/>
                  </a:lnTo>
                  <a:lnTo>
                    <a:pt x="0" y="2"/>
                  </a:lnTo>
                  <a:lnTo>
                    <a:pt x="3" y="0"/>
                  </a:lnTo>
                  <a:close/>
                </a:path>
              </a:pathLst>
            </a:custGeom>
            <a:solidFill>
              <a:schemeClr val="folHlink"/>
            </a:solidFill>
            <a:ln w="9525">
              <a:noFill/>
              <a:round/>
              <a:headEnd/>
              <a:tailEnd/>
            </a:ln>
          </p:spPr>
          <p:txBody>
            <a:bodyPr lIns="0" tIns="0" rIns="0" bIns="0" anchor="ctr"/>
            <a:lstStyle/>
            <a:p>
              <a:pPr defTabSz="912546"/>
              <a:endParaRPr>
                <a:solidFill>
                  <a:srgbClr val="000000"/>
                </a:solidFill>
              </a:endParaRPr>
            </a:p>
          </p:txBody>
        </p:sp>
        <p:sp>
          <p:nvSpPr>
            <p:cNvPr id="441622" name="Freeform 739"/>
            <p:cNvSpPr>
              <a:spLocks/>
            </p:cNvSpPr>
            <p:nvPr/>
          </p:nvSpPr>
          <p:spPr bwMode="gray">
            <a:xfrm>
              <a:off x="3545" y="2234"/>
              <a:ext cx="301" cy="166"/>
            </a:xfrm>
            <a:custGeom>
              <a:avLst/>
              <a:gdLst>
                <a:gd name="T0" fmla="*/ 5377 w 182"/>
                <a:gd name="T1" fmla="*/ 69617 h 100"/>
                <a:gd name="T2" fmla="*/ 0 w 182"/>
                <a:gd name="T3" fmla="*/ 0 h 100"/>
                <a:gd name="T4" fmla="*/ 3091 w 182"/>
                <a:gd name="T5" fmla="*/ 0 h 100"/>
                <a:gd name="T6" fmla="*/ 8454 w 182"/>
                <a:gd name="T7" fmla="*/ 68317 h 100"/>
                <a:gd name="T8" fmla="*/ 126180 w 182"/>
                <a:gd name="T9" fmla="*/ 46410 h 100"/>
                <a:gd name="T10" fmla="*/ 125314 w 182"/>
                <a:gd name="T11" fmla="*/ 49584 h 100"/>
                <a:gd name="T12" fmla="*/ 5377 w 182"/>
                <a:gd name="T13" fmla="*/ 72768 h 100"/>
                <a:gd name="T14" fmla="*/ 5377 w 182"/>
                <a:gd name="T15" fmla="*/ 69617 h 100"/>
                <a:gd name="T16" fmla="*/ 0 60000 65536"/>
                <a:gd name="T17" fmla="*/ 0 60000 65536"/>
                <a:gd name="T18" fmla="*/ 0 60000 65536"/>
                <a:gd name="T19" fmla="*/ 0 60000 65536"/>
                <a:gd name="T20" fmla="*/ 0 60000 65536"/>
                <a:gd name="T21" fmla="*/ 0 60000 65536"/>
                <a:gd name="T22" fmla="*/ 0 60000 65536"/>
                <a:gd name="T23" fmla="*/ 0 60000 65536"/>
                <a:gd name="T24" fmla="*/ 0 w 182"/>
                <a:gd name="T25" fmla="*/ 0 h 100"/>
                <a:gd name="T26" fmla="*/ 182 w 182"/>
                <a:gd name="T27" fmla="*/ 100 h 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2" h="100">
                  <a:moveTo>
                    <a:pt x="8" y="96"/>
                  </a:moveTo>
                  <a:lnTo>
                    <a:pt x="0" y="0"/>
                  </a:lnTo>
                  <a:lnTo>
                    <a:pt x="4" y="0"/>
                  </a:lnTo>
                  <a:lnTo>
                    <a:pt x="12" y="94"/>
                  </a:lnTo>
                  <a:lnTo>
                    <a:pt x="182" y="64"/>
                  </a:lnTo>
                  <a:lnTo>
                    <a:pt x="181" y="68"/>
                  </a:lnTo>
                  <a:lnTo>
                    <a:pt x="8" y="100"/>
                  </a:lnTo>
                  <a:lnTo>
                    <a:pt x="8" y="96"/>
                  </a:lnTo>
                  <a:close/>
                </a:path>
              </a:pathLst>
            </a:custGeom>
            <a:solidFill>
              <a:schemeClr val="tx2"/>
            </a:solidFill>
            <a:ln w="9525">
              <a:noFill/>
              <a:round/>
              <a:headEnd/>
              <a:tailEnd/>
            </a:ln>
          </p:spPr>
          <p:txBody>
            <a:bodyPr lIns="0" tIns="0" rIns="0" bIns="0" anchor="ctr"/>
            <a:lstStyle/>
            <a:p>
              <a:pPr defTabSz="912546"/>
              <a:endParaRPr>
                <a:solidFill>
                  <a:srgbClr val="000000"/>
                </a:solidFill>
              </a:endParaRPr>
            </a:p>
          </p:txBody>
        </p:sp>
        <p:sp>
          <p:nvSpPr>
            <p:cNvPr id="441623" name="Freeform 740"/>
            <p:cNvSpPr>
              <a:spLocks/>
            </p:cNvSpPr>
            <p:nvPr/>
          </p:nvSpPr>
          <p:spPr bwMode="gray">
            <a:xfrm>
              <a:off x="3670" y="2183"/>
              <a:ext cx="161" cy="40"/>
            </a:xfrm>
            <a:custGeom>
              <a:avLst/>
              <a:gdLst>
                <a:gd name="T0" fmla="*/ 0 w 136"/>
                <a:gd name="T1" fmla="*/ 242 h 34"/>
                <a:gd name="T2" fmla="*/ 71 w 136"/>
                <a:gd name="T3" fmla="*/ 154 h 34"/>
                <a:gd name="T4" fmla="*/ 206 w 136"/>
                <a:gd name="T5" fmla="*/ 131 h 34"/>
                <a:gd name="T6" fmla="*/ 342 w 136"/>
                <a:gd name="T7" fmla="*/ 105 h 34"/>
                <a:gd name="T8" fmla="*/ 445 w 136"/>
                <a:gd name="T9" fmla="*/ 124 h 34"/>
                <a:gd name="T10" fmla="*/ 623 w 136"/>
                <a:gd name="T11" fmla="*/ 124 h 34"/>
                <a:gd name="T12" fmla="*/ 739 w 136"/>
                <a:gd name="T13" fmla="*/ 80 h 34"/>
                <a:gd name="T14" fmla="*/ 824 w 136"/>
                <a:gd name="T15" fmla="*/ 47 h 34"/>
                <a:gd name="T16" fmla="*/ 1089 w 136"/>
                <a:gd name="T17" fmla="*/ 47 h 34"/>
                <a:gd name="T18" fmla="*/ 1152 w 136"/>
                <a:gd name="T19" fmla="*/ 94 h 34"/>
                <a:gd name="T20" fmla="*/ 1076 w 136"/>
                <a:gd name="T21" fmla="*/ 80 h 34"/>
                <a:gd name="T22" fmla="*/ 973 w 136"/>
                <a:gd name="T23" fmla="*/ 146 h 34"/>
                <a:gd name="T24" fmla="*/ 794 w 136"/>
                <a:gd name="T25" fmla="*/ 124 h 34"/>
                <a:gd name="T26" fmla="*/ 649 w 136"/>
                <a:gd name="T27" fmla="*/ 172 h 34"/>
                <a:gd name="T28" fmla="*/ 452 w 136"/>
                <a:gd name="T29" fmla="*/ 172 h 34"/>
                <a:gd name="T30" fmla="*/ 350 w 136"/>
                <a:gd name="T31" fmla="*/ 172 h 34"/>
                <a:gd name="T32" fmla="*/ 211 w 136"/>
                <a:gd name="T33" fmla="*/ 172 h 34"/>
                <a:gd name="T34" fmla="*/ 107 w 136"/>
                <a:gd name="T35" fmla="*/ 228 h 34"/>
                <a:gd name="T36" fmla="*/ 84 w 136"/>
                <a:gd name="T37" fmla="*/ 280 h 34"/>
                <a:gd name="T38" fmla="*/ 0 w 136"/>
                <a:gd name="T39" fmla="*/ 242 h 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34"/>
                <a:gd name="T62" fmla="*/ 136 w 136"/>
                <a:gd name="T63" fmla="*/ 34 h 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34">
                  <a:moveTo>
                    <a:pt x="0" y="30"/>
                  </a:moveTo>
                  <a:cubicBezTo>
                    <a:pt x="6" y="26"/>
                    <a:pt x="9" y="26"/>
                    <a:pt x="8" y="19"/>
                  </a:cubicBezTo>
                  <a:cubicBezTo>
                    <a:pt x="13" y="15"/>
                    <a:pt x="17" y="15"/>
                    <a:pt x="23" y="16"/>
                  </a:cubicBezTo>
                  <a:cubicBezTo>
                    <a:pt x="29" y="21"/>
                    <a:pt x="32" y="16"/>
                    <a:pt x="38" y="13"/>
                  </a:cubicBezTo>
                  <a:cubicBezTo>
                    <a:pt x="40" y="27"/>
                    <a:pt x="40" y="17"/>
                    <a:pt x="50" y="15"/>
                  </a:cubicBezTo>
                  <a:cubicBezTo>
                    <a:pt x="58" y="16"/>
                    <a:pt x="60" y="13"/>
                    <a:pt x="69" y="15"/>
                  </a:cubicBezTo>
                  <a:cubicBezTo>
                    <a:pt x="72" y="7"/>
                    <a:pt x="76" y="9"/>
                    <a:pt x="83" y="10"/>
                  </a:cubicBezTo>
                  <a:cubicBezTo>
                    <a:pt x="83" y="10"/>
                    <a:pt x="89" y="7"/>
                    <a:pt x="92" y="6"/>
                  </a:cubicBezTo>
                  <a:cubicBezTo>
                    <a:pt x="104" y="8"/>
                    <a:pt x="108" y="7"/>
                    <a:pt x="122" y="6"/>
                  </a:cubicBezTo>
                  <a:cubicBezTo>
                    <a:pt x="133" y="1"/>
                    <a:pt x="136" y="2"/>
                    <a:pt x="128" y="12"/>
                  </a:cubicBezTo>
                  <a:cubicBezTo>
                    <a:pt x="130" y="0"/>
                    <a:pt x="127" y="5"/>
                    <a:pt x="120" y="10"/>
                  </a:cubicBezTo>
                  <a:cubicBezTo>
                    <a:pt x="113" y="5"/>
                    <a:pt x="111" y="12"/>
                    <a:pt x="108" y="18"/>
                  </a:cubicBezTo>
                  <a:cubicBezTo>
                    <a:pt x="106" y="6"/>
                    <a:pt x="98" y="13"/>
                    <a:pt x="89" y="15"/>
                  </a:cubicBezTo>
                  <a:cubicBezTo>
                    <a:pt x="80" y="10"/>
                    <a:pt x="80" y="18"/>
                    <a:pt x="72" y="21"/>
                  </a:cubicBezTo>
                  <a:cubicBezTo>
                    <a:pt x="67" y="18"/>
                    <a:pt x="58" y="22"/>
                    <a:pt x="51" y="21"/>
                  </a:cubicBezTo>
                  <a:cubicBezTo>
                    <a:pt x="46" y="27"/>
                    <a:pt x="46" y="22"/>
                    <a:pt x="39" y="21"/>
                  </a:cubicBezTo>
                  <a:cubicBezTo>
                    <a:pt x="33" y="18"/>
                    <a:pt x="31" y="22"/>
                    <a:pt x="24" y="21"/>
                  </a:cubicBezTo>
                  <a:cubicBezTo>
                    <a:pt x="17" y="18"/>
                    <a:pt x="15" y="21"/>
                    <a:pt x="12" y="27"/>
                  </a:cubicBezTo>
                  <a:cubicBezTo>
                    <a:pt x="22" y="29"/>
                    <a:pt x="15" y="33"/>
                    <a:pt x="9" y="34"/>
                  </a:cubicBezTo>
                  <a:cubicBezTo>
                    <a:pt x="2" y="33"/>
                    <a:pt x="4" y="34"/>
                    <a:pt x="0" y="30"/>
                  </a:cubicBezTo>
                  <a:close/>
                </a:path>
              </a:pathLst>
            </a:custGeom>
            <a:solidFill>
              <a:schemeClr val="bg2"/>
            </a:solidFill>
            <a:ln w="9525">
              <a:noFill/>
              <a:round/>
              <a:headEnd/>
              <a:tailEnd/>
            </a:ln>
          </p:spPr>
          <p:txBody>
            <a:bodyPr lIns="0" tIns="0" rIns="0" bIns="0" anchor="ctr"/>
            <a:lstStyle/>
            <a:p>
              <a:pPr defTabSz="912546"/>
              <a:endParaRPr>
                <a:solidFill>
                  <a:srgbClr val="000000"/>
                </a:solidFill>
              </a:endParaRPr>
            </a:p>
          </p:txBody>
        </p:sp>
        <p:sp>
          <p:nvSpPr>
            <p:cNvPr id="441624" name="Freeform 741"/>
            <p:cNvSpPr>
              <a:spLocks/>
            </p:cNvSpPr>
            <p:nvPr/>
          </p:nvSpPr>
          <p:spPr bwMode="gray">
            <a:xfrm>
              <a:off x="4108" y="2545"/>
              <a:ext cx="39" cy="43"/>
            </a:xfrm>
            <a:custGeom>
              <a:avLst/>
              <a:gdLst>
                <a:gd name="T0" fmla="*/ 91 w 34"/>
                <a:gd name="T1" fmla="*/ 48 h 37"/>
                <a:gd name="T2" fmla="*/ 0 w 34"/>
                <a:gd name="T3" fmla="*/ 198 h 37"/>
                <a:gd name="T4" fmla="*/ 72 w 34"/>
                <a:gd name="T5" fmla="*/ 241 h 37"/>
                <a:gd name="T6" fmla="*/ 205 w 34"/>
                <a:gd name="T7" fmla="*/ 139 h 37"/>
                <a:gd name="T8" fmla="*/ 91 w 34"/>
                <a:gd name="T9" fmla="*/ 48 h 37"/>
                <a:gd name="T10" fmla="*/ 0 60000 65536"/>
                <a:gd name="T11" fmla="*/ 0 60000 65536"/>
                <a:gd name="T12" fmla="*/ 0 60000 65536"/>
                <a:gd name="T13" fmla="*/ 0 60000 65536"/>
                <a:gd name="T14" fmla="*/ 0 60000 65536"/>
                <a:gd name="T15" fmla="*/ 0 w 34"/>
                <a:gd name="T16" fmla="*/ 0 h 37"/>
                <a:gd name="T17" fmla="*/ 34 w 34"/>
                <a:gd name="T18" fmla="*/ 37 h 37"/>
              </a:gdLst>
              <a:ahLst/>
              <a:cxnLst>
                <a:cxn ang="T10">
                  <a:pos x="T0" y="T1"/>
                </a:cxn>
                <a:cxn ang="T11">
                  <a:pos x="T2" y="T3"/>
                </a:cxn>
                <a:cxn ang="T12">
                  <a:pos x="T4" y="T5"/>
                </a:cxn>
                <a:cxn ang="T13">
                  <a:pos x="T6" y="T7"/>
                </a:cxn>
                <a:cxn ang="T14">
                  <a:pos x="T8" y="T9"/>
                </a:cxn>
              </a:cxnLst>
              <a:rect l="T15" t="T16" r="T17" b="T18"/>
              <a:pathLst>
                <a:path w="34" h="37">
                  <a:moveTo>
                    <a:pt x="15" y="7"/>
                  </a:moveTo>
                  <a:cubicBezTo>
                    <a:pt x="11" y="15"/>
                    <a:pt x="5" y="20"/>
                    <a:pt x="0" y="28"/>
                  </a:cubicBezTo>
                  <a:cubicBezTo>
                    <a:pt x="1" y="37"/>
                    <a:pt x="4" y="35"/>
                    <a:pt x="12" y="34"/>
                  </a:cubicBezTo>
                  <a:cubicBezTo>
                    <a:pt x="19" y="30"/>
                    <a:pt x="28" y="25"/>
                    <a:pt x="34" y="20"/>
                  </a:cubicBezTo>
                  <a:cubicBezTo>
                    <a:pt x="32" y="0"/>
                    <a:pt x="27" y="19"/>
                    <a:pt x="15" y="7"/>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1625" name="Freeform 742"/>
            <p:cNvSpPr>
              <a:spLocks/>
            </p:cNvSpPr>
            <p:nvPr/>
          </p:nvSpPr>
          <p:spPr bwMode="gray">
            <a:xfrm>
              <a:off x="4162" y="2566"/>
              <a:ext cx="40" cy="33"/>
            </a:xfrm>
            <a:custGeom>
              <a:avLst/>
              <a:gdLst>
                <a:gd name="T0" fmla="*/ 43 w 35"/>
                <a:gd name="T1" fmla="*/ 40 h 28"/>
                <a:gd name="T2" fmla="*/ 0 w 35"/>
                <a:gd name="T3" fmla="*/ 148 h 28"/>
                <a:gd name="T4" fmla="*/ 64 w 35"/>
                <a:gd name="T5" fmla="*/ 227 h 28"/>
                <a:gd name="T6" fmla="*/ 136 w 35"/>
                <a:gd name="T7" fmla="*/ 145 h 28"/>
                <a:gd name="T8" fmla="*/ 136 w 35"/>
                <a:gd name="T9" fmla="*/ 0 h 28"/>
                <a:gd name="T10" fmla="*/ 70 w 35"/>
                <a:gd name="T11" fmla="*/ 29 h 28"/>
                <a:gd name="T12" fmla="*/ 43 w 35"/>
                <a:gd name="T13" fmla="*/ 40 h 28"/>
                <a:gd name="T14" fmla="*/ 0 60000 65536"/>
                <a:gd name="T15" fmla="*/ 0 60000 65536"/>
                <a:gd name="T16" fmla="*/ 0 60000 65536"/>
                <a:gd name="T17" fmla="*/ 0 60000 65536"/>
                <a:gd name="T18" fmla="*/ 0 60000 65536"/>
                <a:gd name="T19" fmla="*/ 0 60000 65536"/>
                <a:gd name="T20" fmla="*/ 0 60000 65536"/>
                <a:gd name="T21" fmla="*/ 0 w 35"/>
                <a:gd name="T22" fmla="*/ 0 h 28"/>
                <a:gd name="T23" fmla="*/ 35 w 35"/>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8">
                  <a:moveTo>
                    <a:pt x="8" y="5"/>
                  </a:moveTo>
                  <a:cubicBezTo>
                    <a:pt x="6" y="10"/>
                    <a:pt x="3" y="14"/>
                    <a:pt x="0" y="18"/>
                  </a:cubicBezTo>
                  <a:cubicBezTo>
                    <a:pt x="2" y="25"/>
                    <a:pt x="3" y="28"/>
                    <a:pt x="11" y="26"/>
                  </a:cubicBezTo>
                  <a:cubicBezTo>
                    <a:pt x="15" y="23"/>
                    <a:pt x="20" y="20"/>
                    <a:pt x="24" y="17"/>
                  </a:cubicBezTo>
                  <a:cubicBezTo>
                    <a:pt x="28" y="10"/>
                    <a:pt x="35" y="4"/>
                    <a:pt x="24" y="0"/>
                  </a:cubicBezTo>
                  <a:cubicBezTo>
                    <a:pt x="20" y="1"/>
                    <a:pt x="16" y="1"/>
                    <a:pt x="12" y="3"/>
                  </a:cubicBezTo>
                  <a:cubicBezTo>
                    <a:pt x="8" y="5"/>
                    <a:pt x="8" y="8"/>
                    <a:pt x="8" y="5"/>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1626" name="Freeform 743"/>
            <p:cNvSpPr>
              <a:spLocks/>
            </p:cNvSpPr>
            <p:nvPr/>
          </p:nvSpPr>
          <p:spPr bwMode="gray">
            <a:xfrm>
              <a:off x="4111" y="2389"/>
              <a:ext cx="95" cy="190"/>
            </a:xfrm>
            <a:custGeom>
              <a:avLst/>
              <a:gdLst>
                <a:gd name="T0" fmla="*/ 215 w 80"/>
                <a:gd name="T1" fmla="*/ 48 h 161"/>
                <a:gd name="T2" fmla="*/ 144 w 80"/>
                <a:gd name="T3" fmla="*/ 440 h 161"/>
                <a:gd name="T4" fmla="*/ 108 w 80"/>
                <a:gd name="T5" fmla="*/ 897 h 161"/>
                <a:gd name="T6" fmla="*/ 203 w 80"/>
                <a:gd name="T7" fmla="*/ 1280 h 161"/>
                <a:gd name="T8" fmla="*/ 303 w 80"/>
                <a:gd name="T9" fmla="*/ 1186 h 161"/>
                <a:gd name="T10" fmla="*/ 360 w 80"/>
                <a:gd name="T11" fmla="*/ 903 h 161"/>
                <a:gd name="T12" fmla="*/ 457 w 80"/>
                <a:gd name="T13" fmla="*/ 765 h 161"/>
                <a:gd name="T14" fmla="*/ 480 w 80"/>
                <a:gd name="T15" fmla="*/ 1240 h 161"/>
                <a:gd name="T16" fmla="*/ 656 w 80"/>
                <a:gd name="T17" fmla="*/ 1338 h 161"/>
                <a:gd name="T18" fmla="*/ 678 w 80"/>
                <a:gd name="T19" fmla="*/ 1211 h 161"/>
                <a:gd name="T20" fmla="*/ 732 w 80"/>
                <a:gd name="T21" fmla="*/ 542 h 161"/>
                <a:gd name="T22" fmla="*/ 708 w 80"/>
                <a:gd name="T23" fmla="*/ 48 h 161"/>
                <a:gd name="T24" fmla="*/ 343 w 80"/>
                <a:gd name="T25" fmla="*/ 67 h 161"/>
                <a:gd name="T26" fmla="*/ 215 w 80"/>
                <a:gd name="T27" fmla="*/ 48 h 16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161"/>
                <a:gd name="T44" fmla="*/ 80 w 80"/>
                <a:gd name="T45" fmla="*/ 161 h 16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161">
                  <a:moveTo>
                    <a:pt x="24" y="6"/>
                  </a:moveTo>
                  <a:cubicBezTo>
                    <a:pt x="23" y="22"/>
                    <a:pt x="16" y="34"/>
                    <a:pt x="15" y="51"/>
                  </a:cubicBezTo>
                  <a:cubicBezTo>
                    <a:pt x="17" y="70"/>
                    <a:pt x="15" y="86"/>
                    <a:pt x="12" y="104"/>
                  </a:cubicBezTo>
                  <a:cubicBezTo>
                    <a:pt x="11" y="122"/>
                    <a:pt x="0" y="145"/>
                    <a:pt x="21" y="149"/>
                  </a:cubicBezTo>
                  <a:cubicBezTo>
                    <a:pt x="29" y="147"/>
                    <a:pt x="30" y="146"/>
                    <a:pt x="33" y="138"/>
                  </a:cubicBezTo>
                  <a:cubicBezTo>
                    <a:pt x="35" y="127"/>
                    <a:pt x="37" y="116"/>
                    <a:pt x="39" y="105"/>
                  </a:cubicBezTo>
                  <a:cubicBezTo>
                    <a:pt x="40" y="93"/>
                    <a:pt x="37" y="86"/>
                    <a:pt x="49" y="89"/>
                  </a:cubicBezTo>
                  <a:cubicBezTo>
                    <a:pt x="48" y="107"/>
                    <a:pt x="45" y="126"/>
                    <a:pt x="51" y="144"/>
                  </a:cubicBezTo>
                  <a:cubicBezTo>
                    <a:pt x="52" y="161"/>
                    <a:pt x="53" y="159"/>
                    <a:pt x="70" y="156"/>
                  </a:cubicBezTo>
                  <a:cubicBezTo>
                    <a:pt x="74" y="151"/>
                    <a:pt x="72" y="148"/>
                    <a:pt x="73" y="141"/>
                  </a:cubicBezTo>
                  <a:cubicBezTo>
                    <a:pt x="73" y="125"/>
                    <a:pt x="69" y="86"/>
                    <a:pt x="78" y="63"/>
                  </a:cubicBezTo>
                  <a:cubicBezTo>
                    <a:pt x="80" y="44"/>
                    <a:pt x="79" y="25"/>
                    <a:pt x="76" y="6"/>
                  </a:cubicBezTo>
                  <a:cubicBezTo>
                    <a:pt x="61" y="9"/>
                    <a:pt x="53" y="9"/>
                    <a:pt x="37" y="8"/>
                  </a:cubicBezTo>
                  <a:cubicBezTo>
                    <a:pt x="33" y="6"/>
                    <a:pt x="24" y="0"/>
                    <a:pt x="24" y="6"/>
                  </a:cubicBezTo>
                  <a:close/>
                </a:path>
              </a:pathLst>
            </a:custGeom>
            <a:solidFill>
              <a:schemeClr val="accent2"/>
            </a:solidFill>
            <a:ln w="9525">
              <a:noFill/>
              <a:round/>
              <a:headEnd/>
              <a:tailEnd/>
            </a:ln>
          </p:spPr>
          <p:txBody>
            <a:bodyPr lIns="0" tIns="0" rIns="0" bIns="0" anchor="ctr"/>
            <a:lstStyle/>
            <a:p>
              <a:pPr defTabSz="912546"/>
              <a:endParaRPr>
                <a:solidFill>
                  <a:srgbClr val="000000"/>
                </a:solidFill>
              </a:endParaRPr>
            </a:p>
          </p:txBody>
        </p:sp>
        <p:sp>
          <p:nvSpPr>
            <p:cNvPr id="441627" name="Freeform 744"/>
            <p:cNvSpPr>
              <a:spLocks/>
            </p:cNvSpPr>
            <p:nvPr/>
          </p:nvSpPr>
          <p:spPr bwMode="gray">
            <a:xfrm>
              <a:off x="3924" y="2347"/>
              <a:ext cx="95" cy="74"/>
            </a:xfrm>
            <a:custGeom>
              <a:avLst/>
              <a:gdLst>
                <a:gd name="T0" fmla="*/ 459 w 81"/>
                <a:gd name="T1" fmla="*/ 1 h 64"/>
                <a:gd name="T2" fmla="*/ 416 w 81"/>
                <a:gd name="T3" fmla="*/ 3 h 64"/>
                <a:gd name="T4" fmla="*/ 271 w 81"/>
                <a:gd name="T5" fmla="*/ 29 h 64"/>
                <a:gd name="T6" fmla="*/ 233 w 81"/>
                <a:gd name="T7" fmla="*/ 88 h 64"/>
                <a:gd name="T8" fmla="*/ 77 w 81"/>
                <a:gd name="T9" fmla="*/ 294 h 64"/>
                <a:gd name="T10" fmla="*/ 143 w 81"/>
                <a:gd name="T11" fmla="*/ 393 h 64"/>
                <a:gd name="T12" fmla="*/ 637 w 81"/>
                <a:gd name="T13" fmla="*/ 294 h 64"/>
                <a:gd name="T14" fmla="*/ 488 w 81"/>
                <a:gd name="T15" fmla="*/ 45 h 64"/>
                <a:gd name="T16" fmla="*/ 459 w 81"/>
                <a:gd name="T17" fmla="*/ 1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1"/>
                <a:gd name="T28" fmla="*/ 0 h 64"/>
                <a:gd name="T29" fmla="*/ 81 w 81"/>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1" h="64">
                  <a:moveTo>
                    <a:pt x="57" y="1"/>
                  </a:moveTo>
                  <a:cubicBezTo>
                    <a:pt x="55" y="2"/>
                    <a:pt x="54" y="3"/>
                    <a:pt x="52" y="3"/>
                  </a:cubicBezTo>
                  <a:cubicBezTo>
                    <a:pt x="46" y="4"/>
                    <a:pt x="40" y="2"/>
                    <a:pt x="34" y="4"/>
                  </a:cubicBezTo>
                  <a:cubicBezTo>
                    <a:pt x="31" y="5"/>
                    <a:pt x="32" y="10"/>
                    <a:pt x="30" y="13"/>
                  </a:cubicBezTo>
                  <a:cubicBezTo>
                    <a:pt x="23" y="23"/>
                    <a:pt x="15" y="34"/>
                    <a:pt x="10" y="45"/>
                  </a:cubicBezTo>
                  <a:cubicBezTo>
                    <a:pt x="7" y="64"/>
                    <a:pt x="0" y="63"/>
                    <a:pt x="18" y="60"/>
                  </a:cubicBezTo>
                  <a:cubicBezTo>
                    <a:pt x="33" y="48"/>
                    <a:pt x="62" y="47"/>
                    <a:pt x="81" y="45"/>
                  </a:cubicBezTo>
                  <a:cubicBezTo>
                    <a:pt x="76" y="31"/>
                    <a:pt x="69" y="20"/>
                    <a:pt x="61" y="7"/>
                  </a:cubicBezTo>
                  <a:cubicBezTo>
                    <a:pt x="60" y="0"/>
                    <a:pt x="62" y="1"/>
                    <a:pt x="57" y="1"/>
                  </a:cubicBezTo>
                  <a:close/>
                </a:path>
              </a:pathLst>
            </a:custGeom>
            <a:solidFill>
              <a:srgbClr val="0D4F8B"/>
            </a:solidFill>
            <a:ln w="9525">
              <a:noFill/>
              <a:round/>
              <a:headEnd/>
              <a:tailEnd/>
            </a:ln>
          </p:spPr>
          <p:txBody>
            <a:bodyPr lIns="0" tIns="0" rIns="0" bIns="0" anchor="ctr"/>
            <a:lstStyle/>
            <a:p>
              <a:pPr defTabSz="912546"/>
              <a:endParaRPr>
                <a:solidFill>
                  <a:srgbClr val="000000"/>
                </a:solidFill>
              </a:endParaRPr>
            </a:p>
          </p:txBody>
        </p:sp>
        <p:sp>
          <p:nvSpPr>
            <p:cNvPr id="441628" name="Freeform 745"/>
            <p:cNvSpPr>
              <a:spLocks/>
            </p:cNvSpPr>
            <p:nvPr/>
          </p:nvSpPr>
          <p:spPr bwMode="gray">
            <a:xfrm>
              <a:off x="3602" y="2391"/>
              <a:ext cx="622" cy="174"/>
            </a:xfrm>
            <a:custGeom>
              <a:avLst/>
              <a:gdLst>
                <a:gd name="T0" fmla="*/ 2918 w 528"/>
                <a:gd name="T1" fmla="*/ 0 h 147"/>
                <a:gd name="T2" fmla="*/ 4444 w 528"/>
                <a:gd name="T3" fmla="*/ 426 h 147"/>
                <a:gd name="T4" fmla="*/ 1334 w 528"/>
                <a:gd name="T5" fmla="*/ 1317 h 147"/>
                <a:gd name="T6" fmla="*/ 0 w 528"/>
                <a:gd name="T7" fmla="*/ 695 h 147"/>
                <a:gd name="T8" fmla="*/ 2918 w 528"/>
                <a:gd name="T9" fmla="*/ 0 h 147"/>
                <a:gd name="T10" fmla="*/ 0 60000 65536"/>
                <a:gd name="T11" fmla="*/ 0 60000 65536"/>
                <a:gd name="T12" fmla="*/ 0 60000 65536"/>
                <a:gd name="T13" fmla="*/ 0 60000 65536"/>
                <a:gd name="T14" fmla="*/ 0 60000 65536"/>
                <a:gd name="T15" fmla="*/ 0 w 528"/>
                <a:gd name="T16" fmla="*/ 0 h 147"/>
                <a:gd name="T17" fmla="*/ 528 w 528"/>
                <a:gd name="T18" fmla="*/ 147 h 147"/>
              </a:gdLst>
              <a:ahLst/>
              <a:cxnLst>
                <a:cxn ang="T10">
                  <a:pos x="T0" y="T1"/>
                </a:cxn>
                <a:cxn ang="T11">
                  <a:pos x="T2" y="T3"/>
                </a:cxn>
                <a:cxn ang="T12">
                  <a:pos x="T4" y="T5"/>
                </a:cxn>
                <a:cxn ang="T13">
                  <a:pos x="T6" y="T7"/>
                </a:cxn>
                <a:cxn ang="T14">
                  <a:pos x="T8" y="T9"/>
                </a:cxn>
              </a:cxnLst>
              <a:rect l="T15" t="T16" r="T17" b="T18"/>
              <a:pathLst>
                <a:path w="528" h="147">
                  <a:moveTo>
                    <a:pt x="346" y="0"/>
                  </a:moveTo>
                  <a:lnTo>
                    <a:pt x="528" y="48"/>
                  </a:lnTo>
                  <a:lnTo>
                    <a:pt x="160" y="147"/>
                  </a:lnTo>
                  <a:lnTo>
                    <a:pt x="0" y="78"/>
                  </a:lnTo>
                  <a:lnTo>
                    <a:pt x="346" y="0"/>
                  </a:lnTo>
                  <a:close/>
                </a:path>
              </a:pathLst>
            </a:custGeom>
            <a:solidFill>
              <a:srgbClr val="B17F59"/>
            </a:solidFill>
            <a:ln w="9525">
              <a:noFill/>
              <a:round/>
              <a:headEnd/>
              <a:tailEnd/>
            </a:ln>
          </p:spPr>
          <p:txBody>
            <a:bodyPr lIns="0" tIns="0" rIns="0" bIns="0" anchor="ctr"/>
            <a:lstStyle/>
            <a:p>
              <a:pPr defTabSz="912546"/>
              <a:endParaRPr>
                <a:solidFill>
                  <a:srgbClr val="000000"/>
                </a:solidFill>
              </a:endParaRPr>
            </a:p>
          </p:txBody>
        </p:sp>
        <p:sp>
          <p:nvSpPr>
            <p:cNvPr id="441629" name="Freeform 746"/>
            <p:cNvSpPr>
              <a:spLocks/>
            </p:cNvSpPr>
            <p:nvPr/>
          </p:nvSpPr>
          <p:spPr bwMode="gray">
            <a:xfrm>
              <a:off x="3638" y="2374"/>
              <a:ext cx="134" cy="103"/>
            </a:xfrm>
            <a:custGeom>
              <a:avLst/>
              <a:gdLst>
                <a:gd name="T0" fmla="*/ 733 w 112"/>
                <a:gd name="T1" fmla="*/ 1 h 87"/>
                <a:gd name="T2" fmla="*/ 325 w 112"/>
                <a:gd name="T3" fmla="*/ 36 h 87"/>
                <a:gd name="T4" fmla="*/ 122 w 112"/>
                <a:gd name="T5" fmla="*/ 169 h 87"/>
                <a:gd name="T6" fmla="*/ 2 w 112"/>
                <a:gd name="T7" fmla="*/ 333 h 87"/>
                <a:gd name="T8" fmla="*/ 72 w 112"/>
                <a:gd name="T9" fmla="*/ 654 h 87"/>
                <a:gd name="T10" fmla="*/ 147 w 112"/>
                <a:gd name="T11" fmla="*/ 777 h 87"/>
                <a:gd name="T12" fmla="*/ 358 w 112"/>
                <a:gd name="T13" fmla="*/ 730 h 87"/>
                <a:gd name="T14" fmla="*/ 699 w 112"/>
                <a:gd name="T15" fmla="*/ 649 h 87"/>
                <a:gd name="T16" fmla="*/ 940 w 112"/>
                <a:gd name="T17" fmla="*/ 588 h 87"/>
                <a:gd name="T18" fmla="*/ 1150 w 112"/>
                <a:gd name="T19" fmla="*/ 548 h 87"/>
                <a:gd name="T20" fmla="*/ 1096 w 112"/>
                <a:gd name="T21" fmla="*/ 427 h 87"/>
                <a:gd name="T22" fmla="*/ 1005 w 112"/>
                <a:gd name="T23" fmla="*/ 195 h 87"/>
                <a:gd name="T24" fmla="*/ 852 w 112"/>
                <a:gd name="T25" fmla="*/ 84 h 87"/>
                <a:gd name="T26" fmla="*/ 733 w 112"/>
                <a:gd name="T27" fmla="*/ 1 h 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87"/>
                <a:gd name="T44" fmla="*/ 112 w 112"/>
                <a:gd name="T45" fmla="*/ 87 h 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87">
                  <a:moveTo>
                    <a:pt x="71" y="1"/>
                  </a:moveTo>
                  <a:cubicBezTo>
                    <a:pt x="56" y="0"/>
                    <a:pt x="46" y="1"/>
                    <a:pt x="32" y="4"/>
                  </a:cubicBezTo>
                  <a:cubicBezTo>
                    <a:pt x="25" y="9"/>
                    <a:pt x="18" y="15"/>
                    <a:pt x="11" y="19"/>
                  </a:cubicBezTo>
                  <a:cubicBezTo>
                    <a:pt x="7" y="25"/>
                    <a:pt x="5" y="31"/>
                    <a:pt x="2" y="37"/>
                  </a:cubicBezTo>
                  <a:cubicBezTo>
                    <a:pt x="0" y="49"/>
                    <a:pt x="2" y="62"/>
                    <a:pt x="7" y="73"/>
                  </a:cubicBezTo>
                  <a:cubicBezTo>
                    <a:pt x="8" y="80"/>
                    <a:pt x="8" y="83"/>
                    <a:pt x="14" y="87"/>
                  </a:cubicBezTo>
                  <a:cubicBezTo>
                    <a:pt x="20" y="84"/>
                    <a:pt x="27" y="82"/>
                    <a:pt x="34" y="81"/>
                  </a:cubicBezTo>
                  <a:cubicBezTo>
                    <a:pt x="44" y="76"/>
                    <a:pt x="57" y="74"/>
                    <a:pt x="68" y="72"/>
                  </a:cubicBezTo>
                  <a:cubicBezTo>
                    <a:pt x="75" y="69"/>
                    <a:pt x="83" y="67"/>
                    <a:pt x="91" y="66"/>
                  </a:cubicBezTo>
                  <a:cubicBezTo>
                    <a:pt x="98" y="64"/>
                    <a:pt x="105" y="63"/>
                    <a:pt x="112" y="61"/>
                  </a:cubicBezTo>
                  <a:cubicBezTo>
                    <a:pt x="110" y="57"/>
                    <a:pt x="109" y="52"/>
                    <a:pt x="107" y="48"/>
                  </a:cubicBezTo>
                  <a:cubicBezTo>
                    <a:pt x="105" y="39"/>
                    <a:pt x="104" y="29"/>
                    <a:pt x="98" y="21"/>
                  </a:cubicBezTo>
                  <a:cubicBezTo>
                    <a:pt x="96" y="13"/>
                    <a:pt x="91" y="11"/>
                    <a:pt x="83" y="9"/>
                  </a:cubicBezTo>
                  <a:cubicBezTo>
                    <a:pt x="76" y="6"/>
                    <a:pt x="80" y="8"/>
                    <a:pt x="71" y="1"/>
                  </a:cubicBezTo>
                  <a:close/>
                </a:path>
              </a:pathLst>
            </a:custGeom>
            <a:solidFill>
              <a:schemeClr val="hlink"/>
            </a:solidFill>
            <a:ln w="9525">
              <a:noFill/>
              <a:round/>
              <a:headEnd/>
              <a:tailEnd/>
            </a:ln>
          </p:spPr>
          <p:txBody>
            <a:bodyPr lIns="0" tIns="0" rIns="0" bIns="0" anchor="ctr"/>
            <a:lstStyle/>
            <a:p>
              <a:pPr defTabSz="912546"/>
              <a:endParaRPr>
                <a:solidFill>
                  <a:srgbClr val="000000"/>
                </a:solidFill>
              </a:endParaRPr>
            </a:p>
          </p:txBody>
        </p:sp>
        <p:sp>
          <p:nvSpPr>
            <p:cNvPr id="441630" name="Freeform 747"/>
            <p:cNvSpPr>
              <a:spLocks/>
            </p:cNvSpPr>
            <p:nvPr/>
          </p:nvSpPr>
          <p:spPr bwMode="gray">
            <a:xfrm>
              <a:off x="3665" y="2364"/>
              <a:ext cx="163" cy="131"/>
            </a:xfrm>
            <a:custGeom>
              <a:avLst/>
              <a:gdLst>
                <a:gd name="T0" fmla="*/ 390 w 139"/>
                <a:gd name="T1" fmla="*/ 40 h 112"/>
                <a:gd name="T2" fmla="*/ 242 w 139"/>
                <a:gd name="T3" fmla="*/ 64 h 112"/>
                <a:gd name="T4" fmla="*/ 47 w 139"/>
                <a:gd name="T5" fmla="*/ 285 h 112"/>
                <a:gd name="T6" fmla="*/ 1 w 139"/>
                <a:gd name="T7" fmla="*/ 621 h 112"/>
                <a:gd name="T8" fmla="*/ 90 w 139"/>
                <a:gd name="T9" fmla="*/ 782 h 112"/>
                <a:gd name="T10" fmla="*/ 223 w 139"/>
                <a:gd name="T11" fmla="*/ 799 h 112"/>
                <a:gd name="T12" fmla="*/ 317 w 139"/>
                <a:gd name="T13" fmla="*/ 818 h 112"/>
                <a:gd name="T14" fmla="*/ 287 w 139"/>
                <a:gd name="T15" fmla="*/ 718 h 112"/>
                <a:gd name="T16" fmla="*/ 360 w 139"/>
                <a:gd name="T17" fmla="*/ 632 h 112"/>
                <a:gd name="T18" fmla="*/ 629 w 139"/>
                <a:gd name="T19" fmla="*/ 572 h 112"/>
                <a:gd name="T20" fmla="*/ 600 w 139"/>
                <a:gd name="T21" fmla="*/ 368 h 112"/>
                <a:gd name="T22" fmla="*/ 738 w 139"/>
                <a:gd name="T23" fmla="*/ 418 h 112"/>
                <a:gd name="T24" fmla="*/ 1021 w 139"/>
                <a:gd name="T25" fmla="*/ 333 h 112"/>
                <a:gd name="T26" fmla="*/ 1100 w 139"/>
                <a:gd name="T27" fmla="*/ 242 h 112"/>
                <a:gd name="T28" fmla="*/ 1058 w 139"/>
                <a:gd name="T29" fmla="*/ 140 h 112"/>
                <a:gd name="T30" fmla="*/ 823 w 139"/>
                <a:gd name="T31" fmla="*/ 285 h 112"/>
                <a:gd name="T32" fmla="*/ 722 w 139"/>
                <a:gd name="T33" fmla="*/ 225 h 112"/>
                <a:gd name="T34" fmla="*/ 580 w 139"/>
                <a:gd name="T35" fmla="*/ 151 h 112"/>
                <a:gd name="T36" fmla="*/ 477 w 139"/>
                <a:gd name="T37" fmla="*/ 90 h 112"/>
                <a:gd name="T38" fmla="*/ 390 w 139"/>
                <a:gd name="T39" fmla="*/ 40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
                <a:gd name="T61" fmla="*/ 0 h 112"/>
                <a:gd name="T62" fmla="*/ 139 w 139"/>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 h="112">
                  <a:moveTo>
                    <a:pt x="49" y="5"/>
                  </a:moveTo>
                  <a:cubicBezTo>
                    <a:pt x="42" y="0"/>
                    <a:pt x="38" y="4"/>
                    <a:pt x="31" y="8"/>
                  </a:cubicBezTo>
                  <a:cubicBezTo>
                    <a:pt x="23" y="19"/>
                    <a:pt x="13" y="26"/>
                    <a:pt x="6" y="38"/>
                  </a:cubicBezTo>
                  <a:cubicBezTo>
                    <a:pt x="4" y="52"/>
                    <a:pt x="3" y="67"/>
                    <a:pt x="1" y="81"/>
                  </a:cubicBezTo>
                  <a:cubicBezTo>
                    <a:pt x="3" y="93"/>
                    <a:pt x="0" y="100"/>
                    <a:pt x="12" y="102"/>
                  </a:cubicBezTo>
                  <a:cubicBezTo>
                    <a:pt x="18" y="105"/>
                    <a:pt x="21" y="105"/>
                    <a:pt x="27" y="104"/>
                  </a:cubicBezTo>
                  <a:cubicBezTo>
                    <a:pt x="32" y="109"/>
                    <a:pt x="34" y="112"/>
                    <a:pt x="40" y="107"/>
                  </a:cubicBezTo>
                  <a:cubicBezTo>
                    <a:pt x="44" y="100"/>
                    <a:pt x="44" y="97"/>
                    <a:pt x="37" y="93"/>
                  </a:cubicBezTo>
                  <a:cubicBezTo>
                    <a:pt x="36" y="84"/>
                    <a:pt x="37" y="85"/>
                    <a:pt x="45" y="83"/>
                  </a:cubicBezTo>
                  <a:cubicBezTo>
                    <a:pt x="55" y="78"/>
                    <a:pt x="68" y="76"/>
                    <a:pt x="79" y="74"/>
                  </a:cubicBezTo>
                  <a:cubicBezTo>
                    <a:pt x="75" y="67"/>
                    <a:pt x="74" y="57"/>
                    <a:pt x="76" y="48"/>
                  </a:cubicBezTo>
                  <a:cubicBezTo>
                    <a:pt x="76" y="36"/>
                    <a:pt x="86" y="53"/>
                    <a:pt x="93" y="54"/>
                  </a:cubicBezTo>
                  <a:cubicBezTo>
                    <a:pt x="107" y="65"/>
                    <a:pt x="115" y="47"/>
                    <a:pt x="129" y="44"/>
                  </a:cubicBezTo>
                  <a:cubicBezTo>
                    <a:pt x="132" y="39"/>
                    <a:pt x="134" y="36"/>
                    <a:pt x="139" y="32"/>
                  </a:cubicBezTo>
                  <a:cubicBezTo>
                    <a:pt x="138" y="26"/>
                    <a:pt x="135" y="23"/>
                    <a:pt x="133" y="18"/>
                  </a:cubicBezTo>
                  <a:cubicBezTo>
                    <a:pt x="121" y="24"/>
                    <a:pt x="113" y="28"/>
                    <a:pt x="103" y="38"/>
                  </a:cubicBezTo>
                  <a:cubicBezTo>
                    <a:pt x="99" y="32"/>
                    <a:pt x="98" y="30"/>
                    <a:pt x="91" y="29"/>
                  </a:cubicBezTo>
                  <a:cubicBezTo>
                    <a:pt x="86" y="25"/>
                    <a:pt x="79" y="21"/>
                    <a:pt x="73" y="20"/>
                  </a:cubicBezTo>
                  <a:cubicBezTo>
                    <a:pt x="68" y="12"/>
                    <a:pt x="69" y="11"/>
                    <a:pt x="60" y="12"/>
                  </a:cubicBezTo>
                  <a:cubicBezTo>
                    <a:pt x="52" y="10"/>
                    <a:pt x="56" y="12"/>
                    <a:pt x="49" y="5"/>
                  </a:cubicBezTo>
                  <a:close/>
                </a:path>
              </a:pathLst>
            </a:custGeom>
            <a:solidFill>
              <a:srgbClr val="CEEBFA"/>
            </a:solidFill>
            <a:ln w="9525">
              <a:noFill/>
              <a:round/>
              <a:headEnd/>
              <a:tailEnd/>
            </a:ln>
          </p:spPr>
          <p:txBody>
            <a:bodyPr lIns="0" tIns="0" rIns="0" bIns="0" anchor="ctr"/>
            <a:lstStyle/>
            <a:p>
              <a:pPr defTabSz="912546"/>
              <a:endParaRPr>
                <a:solidFill>
                  <a:srgbClr val="000000"/>
                </a:solidFill>
              </a:endParaRPr>
            </a:p>
          </p:txBody>
        </p:sp>
        <p:sp>
          <p:nvSpPr>
            <p:cNvPr id="441631" name="Freeform 748"/>
            <p:cNvSpPr>
              <a:spLocks/>
            </p:cNvSpPr>
            <p:nvPr/>
          </p:nvSpPr>
          <p:spPr bwMode="gray">
            <a:xfrm>
              <a:off x="3637" y="2551"/>
              <a:ext cx="87" cy="50"/>
            </a:xfrm>
            <a:custGeom>
              <a:avLst/>
              <a:gdLst>
                <a:gd name="T0" fmla="*/ 516 w 74"/>
                <a:gd name="T1" fmla="*/ 0 h 42"/>
                <a:gd name="T2" fmla="*/ 313 w 74"/>
                <a:gd name="T3" fmla="*/ 87 h 42"/>
                <a:gd name="T4" fmla="*/ 153 w 74"/>
                <a:gd name="T5" fmla="*/ 148 h 42"/>
                <a:gd name="T6" fmla="*/ 1 w 74"/>
                <a:gd name="T7" fmla="*/ 251 h 42"/>
                <a:gd name="T8" fmla="*/ 34 w 74"/>
                <a:gd name="T9" fmla="*/ 405 h 42"/>
                <a:gd name="T10" fmla="*/ 242 w 74"/>
                <a:gd name="T11" fmla="*/ 251 h 42"/>
                <a:gd name="T12" fmla="*/ 394 w 74"/>
                <a:gd name="T13" fmla="*/ 202 h 42"/>
                <a:gd name="T14" fmla="*/ 565 w 74"/>
                <a:gd name="T15" fmla="*/ 143 h 42"/>
                <a:gd name="T16" fmla="*/ 565 w 74"/>
                <a:gd name="T17" fmla="*/ 35 h 42"/>
                <a:gd name="T18" fmla="*/ 516 w 74"/>
                <a:gd name="T19" fmla="*/ 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4"/>
                <a:gd name="T31" fmla="*/ 0 h 42"/>
                <a:gd name="T32" fmla="*/ 74 w 74"/>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4" h="42">
                  <a:moveTo>
                    <a:pt x="64" y="0"/>
                  </a:moveTo>
                  <a:cubicBezTo>
                    <a:pt x="55" y="4"/>
                    <a:pt x="47" y="7"/>
                    <a:pt x="37" y="9"/>
                  </a:cubicBezTo>
                  <a:cubicBezTo>
                    <a:pt x="31" y="12"/>
                    <a:pt x="25" y="14"/>
                    <a:pt x="19" y="15"/>
                  </a:cubicBezTo>
                  <a:cubicBezTo>
                    <a:pt x="13" y="19"/>
                    <a:pt x="7" y="22"/>
                    <a:pt x="1" y="26"/>
                  </a:cubicBezTo>
                  <a:cubicBezTo>
                    <a:pt x="0" y="33"/>
                    <a:pt x="0" y="36"/>
                    <a:pt x="4" y="42"/>
                  </a:cubicBezTo>
                  <a:cubicBezTo>
                    <a:pt x="14" y="40"/>
                    <a:pt x="15" y="28"/>
                    <a:pt x="30" y="26"/>
                  </a:cubicBezTo>
                  <a:cubicBezTo>
                    <a:pt x="36" y="23"/>
                    <a:pt x="42" y="21"/>
                    <a:pt x="48" y="20"/>
                  </a:cubicBezTo>
                  <a:cubicBezTo>
                    <a:pt x="54" y="17"/>
                    <a:pt x="62" y="15"/>
                    <a:pt x="69" y="14"/>
                  </a:cubicBezTo>
                  <a:cubicBezTo>
                    <a:pt x="74" y="12"/>
                    <a:pt x="72" y="7"/>
                    <a:pt x="69" y="3"/>
                  </a:cubicBezTo>
                  <a:cubicBezTo>
                    <a:pt x="68" y="1"/>
                    <a:pt x="64" y="0"/>
                    <a:pt x="64" y="0"/>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1632" name="Freeform 749"/>
            <p:cNvSpPr>
              <a:spLocks/>
            </p:cNvSpPr>
            <p:nvPr/>
          </p:nvSpPr>
          <p:spPr bwMode="gray">
            <a:xfrm>
              <a:off x="3679" y="2315"/>
              <a:ext cx="52" cy="56"/>
            </a:xfrm>
            <a:custGeom>
              <a:avLst/>
              <a:gdLst>
                <a:gd name="T0" fmla="*/ 128 w 48"/>
                <a:gd name="T1" fmla="*/ 55 h 54"/>
                <a:gd name="T2" fmla="*/ 119 w 48"/>
                <a:gd name="T3" fmla="*/ 11 h 54"/>
                <a:gd name="T4" fmla="*/ 92 w 48"/>
                <a:gd name="T5" fmla="*/ 0 h 54"/>
                <a:gd name="T6" fmla="*/ 52 w 48"/>
                <a:gd name="T7" fmla="*/ 6 h 54"/>
                <a:gd name="T8" fmla="*/ 3 w 48"/>
                <a:gd name="T9" fmla="*/ 33 h 54"/>
                <a:gd name="T10" fmla="*/ 26 w 48"/>
                <a:gd name="T11" fmla="*/ 75 h 54"/>
                <a:gd name="T12" fmla="*/ 56 w 48"/>
                <a:gd name="T13" fmla="*/ 84 h 54"/>
                <a:gd name="T14" fmla="*/ 60 w 48"/>
                <a:gd name="T15" fmla="*/ 61 h 54"/>
                <a:gd name="T16" fmla="*/ 100 w 48"/>
                <a:gd name="T17" fmla="*/ 31 h 54"/>
                <a:gd name="T18" fmla="*/ 128 w 48"/>
                <a:gd name="T19" fmla="*/ 55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4"/>
                <a:gd name="T32" fmla="*/ 48 w 48"/>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4">
                  <a:moveTo>
                    <a:pt x="45" y="35"/>
                  </a:moveTo>
                  <a:cubicBezTo>
                    <a:pt x="48" y="28"/>
                    <a:pt x="45" y="18"/>
                    <a:pt x="42" y="11"/>
                  </a:cubicBezTo>
                  <a:cubicBezTo>
                    <a:pt x="41" y="4"/>
                    <a:pt x="38" y="3"/>
                    <a:pt x="32" y="0"/>
                  </a:cubicBezTo>
                  <a:cubicBezTo>
                    <a:pt x="27" y="2"/>
                    <a:pt x="24" y="5"/>
                    <a:pt x="18" y="6"/>
                  </a:cubicBezTo>
                  <a:cubicBezTo>
                    <a:pt x="11" y="10"/>
                    <a:pt x="7" y="13"/>
                    <a:pt x="3" y="20"/>
                  </a:cubicBezTo>
                  <a:cubicBezTo>
                    <a:pt x="1" y="30"/>
                    <a:pt x="0" y="41"/>
                    <a:pt x="9" y="47"/>
                  </a:cubicBezTo>
                  <a:cubicBezTo>
                    <a:pt x="12" y="53"/>
                    <a:pt x="13" y="54"/>
                    <a:pt x="20" y="53"/>
                  </a:cubicBezTo>
                  <a:cubicBezTo>
                    <a:pt x="21" y="46"/>
                    <a:pt x="23" y="45"/>
                    <a:pt x="21" y="38"/>
                  </a:cubicBezTo>
                  <a:cubicBezTo>
                    <a:pt x="23" y="18"/>
                    <a:pt x="19" y="15"/>
                    <a:pt x="35" y="18"/>
                  </a:cubicBezTo>
                  <a:cubicBezTo>
                    <a:pt x="39" y="25"/>
                    <a:pt x="45" y="27"/>
                    <a:pt x="45" y="35"/>
                  </a:cubicBezTo>
                  <a:close/>
                </a:path>
              </a:pathLst>
            </a:custGeom>
            <a:solidFill>
              <a:srgbClr val="9B6C49"/>
            </a:solidFill>
            <a:ln w="9525">
              <a:noFill/>
              <a:round/>
              <a:headEnd/>
              <a:tailEnd/>
            </a:ln>
          </p:spPr>
          <p:txBody>
            <a:bodyPr lIns="0" tIns="0" rIns="0" bIns="0" anchor="ctr"/>
            <a:lstStyle/>
            <a:p>
              <a:pPr defTabSz="912546"/>
              <a:endParaRPr>
                <a:solidFill>
                  <a:srgbClr val="000000"/>
                </a:solidFill>
              </a:endParaRPr>
            </a:p>
          </p:txBody>
        </p:sp>
        <p:sp>
          <p:nvSpPr>
            <p:cNvPr id="441633" name="Freeform 750"/>
            <p:cNvSpPr>
              <a:spLocks/>
            </p:cNvSpPr>
            <p:nvPr/>
          </p:nvSpPr>
          <p:spPr bwMode="gray">
            <a:xfrm>
              <a:off x="3692" y="2330"/>
              <a:ext cx="40" cy="57"/>
            </a:xfrm>
            <a:custGeom>
              <a:avLst/>
              <a:gdLst>
                <a:gd name="T0" fmla="*/ 10 w 42"/>
                <a:gd name="T1" fmla="*/ 7 h 61"/>
                <a:gd name="T2" fmla="*/ 9 w 42"/>
                <a:gd name="T3" fmla="*/ 10 h 61"/>
                <a:gd name="T4" fmla="*/ 0 w 42"/>
                <a:gd name="T5" fmla="*/ 13 h 61"/>
                <a:gd name="T6" fmla="*/ 9 w 42"/>
                <a:gd name="T7" fmla="*/ 18 h 61"/>
                <a:gd name="T8" fmla="*/ 13 w 42"/>
                <a:gd name="T9" fmla="*/ 26 h 61"/>
                <a:gd name="T10" fmla="*/ 20 w 42"/>
                <a:gd name="T11" fmla="*/ 21 h 61"/>
                <a:gd name="T12" fmla="*/ 23 w 42"/>
                <a:gd name="T13" fmla="*/ 16 h 61"/>
                <a:gd name="T14" fmla="*/ 20 w 42"/>
                <a:gd name="T15" fmla="*/ 7 h 61"/>
                <a:gd name="T16" fmla="*/ 11 w 42"/>
                <a:gd name="T17" fmla="*/ 1 h 61"/>
                <a:gd name="T18" fmla="*/ 10 w 42"/>
                <a:gd name="T19" fmla="*/ 7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61"/>
                <a:gd name="T32" fmla="*/ 42 w 42"/>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61">
                  <a:moveTo>
                    <a:pt x="11" y="7"/>
                  </a:moveTo>
                  <a:cubicBezTo>
                    <a:pt x="8" y="13"/>
                    <a:pt x="8" y="17"/>
                    <a:pt x="9" y="24"/>
                  </a:cubicBezTo>
                  <a:cubicBezTo>
                    <a:pt x="7" y="37"/>
                    <a:pt x="9" y="24"/>
                    <a:pt x="0" y="30"/>
                  </a:cubicBezTo>
                  <a:cubicBezTo>
                    <a:pt x="2" y="36"/>
                    <a:pt x="3" y="39"/>
                    <a:pt x="9" y="42"/>
                  </a:cubicBezTo>
                  <a:cubicBezTo>
                    <a:pt x="15" y="54"/>
                    <a:pt x="10" y="58"/>
                    <a:pt x="26" y="61"/>
                  </a:cubicBezTo>
                  <a:cubicBezTo>
                    <a:pt x="30" y="58"/>
                    <a:pt x="32" y="54"/>
                    <a:pt x="36" y="51"/>
                  </a:cubicBezTo>
                  <a:cubicBezTo>
                    <a:pt x="39" y="46"/>
                    <a:pt x="41" y="43"/>
                    <a:pt x="42" y="37"/>
                  </a:cubicBezTo>
                  <a:cubicBezTo>
                    <a:pt x="41" y="30"/>
                    <a:pt x="39" y="22"/>
                    <a:pt x="36" y="15"/>
                  </a:cubicBezTo>
                  <a:cubicBezTo>
                    <a:pt x="34" y="7"/>
                    <a:pt x="32" y="4"/>
                    <a:pt x="24" y="1"/>
                  </a:cubicBezTo>
                  <a:cubicBezTo>
                    <a:pt x="20" y="0"/>
                    <a:pt x="13" y="3"/>
                    <a:pt x="11" y="7"/>
                  </a:cubicBezTo>
                  <a:close/>
                </a:path>
              </a:pathLst>
            </a:custGeom>
            <a:solidFill>
              <a:srgbClr val="CBA787"/>
            </a:solidFill>
            <a:ln w="9525">
              <a:noFill/>
              <a:round/>
              <a:headEnd/>
              <a:tailEnd/>
            </a:ln>
          </p:spPr>
          <p:txBody>
            <a:bodyPr lIns="0" tIns="0" rIns="0" bIns="0" anchor="ctr"/>
            <a:lstStyle/>
            <a:p>
              <a:pPr defTabSz="912546"/>
              <a:endParaRPr>
                <a:solidFill>
                  <a:srgbClr val="000000"/>
                </a:solidFill>
              </a:endParaRPr>
            </a:p>
          </p:txBody>
        </p:sp>
        <p:sp>
          <p:nvSpPr>
            <p:cNvPr id="441634" name="Freeform 751"/>
            <p:cNvSpPr>
              <a:spLocks/>
            </p:cNvSpPr>
            <p:nvPr/>
          </p:nvSpPr>
          <p:spPr bwMode="gray">
            <a:xfrm>
              <a:off x="3826" y="2347"/>
              <a:ext cx="47" cy="51"/>
            </a:xfrm>
            <a:custGeom>
              <a:avLst/>
              <a:gdLst>
                <a:gd name="T0" fmla="*/ 67 w 42"/>
                <a:gd name="T1" fmla="*/ 20 h 47"/>
                <a:gd name="T2" fmla="*/ 27 w 42"/>
                <a:gd name="T3" fmla="*/ 55 h 47"/>
                <a:gd name="T4" fmla="*/ 0 w 42"/>
                <a:gd name="T5" fmla="*/ 95 h 47"/>
                <a:gd name="T6" fmla="*/ 34 w 42"/>
                <a:gd name="T7" fmla="*/ 122 h 47"/>
                <a:gd name="T8" fmla="*/ 109 w 42"/>
                <a:gd name="T9" fmla="*/ 95 h 47"/>
                <a:gd name="T10" fmla="*/ 181 w 42"/>
                <a:gd name="T11" fmla="*/ 33 h 47"/>
                <a:gd name="T12" fmla="*/ 131 w 42"/>
                <a:gd name="T13" fmla="*/ 22 h 47"/>
                <a:gd name="T14" fmla="*/ 86 w 42"/>
                <a:gd name="T15" fmla="*/ 33 h 47"/>
                <a:gd name="T16" fmla="*/ 67 w 42"/>
                <a:gd name="T17" fmla="*/ 20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47"/>
                <a:gd name="T29" fmla="*/ 42 w 42"/>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47">
                  <a:moveTo>
                    <a:pt x="15" y="6"/>
                  </a:moveTo>
                  <a:cubicBezTo>
                    <a:pt x="14" y="14"/>
                    <a:pt x="10" y="13"/>
                    <a:pt x="6" y="19"/>
                  </a:cubicBezTo>
                  <a:cubicBezTo>
                    <a:pt x="5" y="25"/>
                    <a:pt x="3" y="28"/>
                    <a:pt x="0" y="33"/>
                  </a:cubicBezTo>
                  <a:cubicBezTo>
                    <a:pt x="2" y="40"/>
                    <a:pt x="0" y="47"/>
                    <a:pt x="8" y="42"/>
                  </a:cubicBezTo>
                  <a:cubicBezTo>
                    <a:pt x="12" y="36"/>
                    <a:pt x="19" y="34"/>
                    <a:pt x="26" y="33"/>
                  </a:cubicBezTo>
                  <a:cubicBezTo>
                    <a:pt x="33" y="28"/>
                    <a:pt x="37" y="19"/>
                    <a:pt x="42" y="12"/>
                  </a:cubicBezTo>
                  <a:cubicBezTo>
                    <a:pt x="41" y="0"/>
                    <a:pt x="40" y="5"/>
                    <a:pt x="30" y="7"/>
                  </a:cubicBezTo>
                  <a:cubicBezTo>
                    <a:pt x="27" y="9"/>
                    <a:pt x="13" y="22"/>
                    <a:pt x="20" y="12"/>
                  </a:cubicBezTo>
                  <a:cubicBezTo>
                    <a:pt x="18" y="5"/>
                    <a:pt x="20" y="6"/>
                    <a:pt x="15" y="6"/>
                  </a:cubicBezTo>
                  <a:close/>
                </a:path>
              </a:pathLst>
            </a:custGeom>
            <a:solidFill>
              <a:srgbClr val="CBA787"/>
            </a:solidFill>
            <a:ln w="9525">
              <a:noFill/>
              <a:round/>
              <a:headEnd/>
              <a:tailEnd/>
            </a:ln>
          </p:spPr>
          <p:txBody>
            <a:bodyPr lIns="0" tIns="0" rIns="0" bIns="0" anchor="ctr"/>
            <a:lstStyle/>
            <a:p>
              <a:pPr defTabSz="912546"/>
              <a:endParaRPr>
                <a:solidFill>
                  <a:srgbClr val="000000"/>
                </a:solidFill>
              </a:endParaRPr>
            </a:p>
          </p:txBody>
        </p:sp>
        <p:sp>
          <p:nvSpPr>
            <p:cNvPr id="441635" name="Freeform 752"/>
            <p:cNvSpPr>
              <a:spLocks/>
            </p:cNvSpPr>
            <p:nvPr/>
          </p:nvSpPr>
          <p:spPr bwMode="gray">
            <a:xfrm>
              <a:off x="3709" y="2460"/>
              <a:ext cx="55" cy="35"/>
            </a:xfrm>
            <a:custGeom>
              <a:avLst/>
              <a:gdLst>
                <a:gd name="T0" fmla="*/ 24 w 49"/>
                <a:gd name="T1" fmla="*/ 27 h 33"/>
                <a:gd name="T2" fmla="*/ 89 w 49"/>
                <a:gd name="T3" fmla="*/ 0 h 33"/>
                <a:gd name="T4" fmla="*/ 76 w 49"/>
                <a:gd name="T5" fmla="*/ 31 h 33"/>
                <a:gd name="T6" fmla="*/ 162 w 49"/>
                <a:gd name="T7" fmla="*/ 33 h 33"/>
                <a:gd name="T8" fmla="*/ 104 w 49"/>
                <a:gd name="T9" fmla="*/ 70 h 33"/>
                <a:gd name="T10" fmla="*/ 3 w 49"/>
                <a:gd name="T11" fmla="*/ 55 h 33"/>
                <a:gd name="T12" fmla="*/ 24 w 49"/>
                <a:gd name="T13" fmla="*/ 27 h 33"/>
                <a:gd name="T14" fmla="*/ 0 60000 65536"/>
                <a:gd name="T15" fmla="*/ 0 60000 65536"/>
                <a:gd name="T16" fmla="*/ 0 60000 65536"/>
                <a:gd name="T17" fmla="*/ 0 60000 65536"/>
                <a:gd name="T18" fmla="*/ 0 60000 65536"/>
                <a:gd name="T19" fmla="*/ 0 60000 65536"/>
                <a:gd name="T20" fmla="*/ 0 60000 65536"/>
                <a:gd name="T21" fmla="*/ 0 w 49"/>
                <a:gd name="T22" fmla="*/ 0 h 33"/>
                <a:gd name="T23" fmla="*/ 49 w 4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3">
                  <a:moveTo>
                    <a:pt x="5" y="13"/>
                  </a:moveTo>
                  <a:cubicBezTo>
                    <a:pt x="11" y="8"/>
                    <a:pt x="12" y="2"/>
                    <a:pt x="20" y="0"/>
                  </a:cubicBezTo>
                  <a:cubicBezTo>
                    <a:pt x="21" y="7"/>
                    <a:pt x="18" y="8"/>
                    <a:pt x="17" y="15"/>
                  </a:cubicBezTo>
                  <a:cubicBezTo>
                    <a:pt x="26" y="17"/>
                    <a:pt x="26" y="18"/>
                    <a:pt x="36" y="16"/>
                  </a:cubicBezTo>
                  <a:cubicBezTo>
                    <a:pt x="49" y="24"/>
                    <a:pt x="30" y="31"/>
                    <a:pt x="23" y="33"/>
                  </a:cubicBezTo>
                  <a:cubicBezTo>
                    <a:pt x="12" y="31"/>
                    <a:pt x="11" y="30"/>
                    <a:pt x="3" y="25"/>
                  </a:cubicBezTo>
                  <a:cubicBezTo>
                    <a:pt x="2" y="22"/>
                    <a:pt x="0" y="13"/>
                    <a:pt x="5" y="13"/>
                  </a:cubicBezTo>
                  <a:close/>
                </a:path>
              </a:pathLst>
            </a:custGeom>
            <a:solidFill>
              <a:srgbClr val="CBA787"/>
            </a:solidFill>
            <a:ln w="9525">
              <a:noFill/>
              <a:round/>
              <a:headEnd/>
              <a:tailEnd/>
            </a:ln>
          </p:spPr>
          <p:txBody>
            <a:bodyPr lIns="0" tIns="0" rIns="0" bIns="0" anchor="ctr"/>
            <a:lstStyle/>
            <a:p>
              <a:pPr defTabSz="912546"/>
              <a:endParaRPr>
                <a:solidFill>
                  <a:srgbClr val="000000"/>
                </a:solidFill>
              </a:endParaRPr>
            </a:p>
          </p:txBody>
        </p:sp>
        <p:sp>
          <p:nvSpPr>
            <p:cNvPr id="441636" name="Freeform 753"/>
            <p:cNvSpPr>
              <a:spLocks/>
            </p:cNvSpPr>
            <p:nvPr/>
          </p:nvSpPr>
          <p:spPr bwMode="gray">
            <a:xfrm>
              <a:off x="3697" y="2594"/>
              <a:ext cx="44" cy="45"/>
            </a:xfrm>
            <a:custGeom>
              <a:avLst/>
              <a:gdLst>
                <a:gd name="T0" fmla="*/ 34 w 37"/>
                <a:gd name="T1" fmla="*/ 0 h 39"/>
                <a:gd name="T2" fmla="*/ 1 w 37"/>
                <a:gd name="T3" fmla="*/ 149 h 39"/>
                <a:gd name="T4" fmla="*/ 96 w 37"/>
                <a:gd name="T5" fmla="*/ 210 h 39"/>
                <a:gd name="T6" fmla="*/ 180 w 37"/>
                <a:gd name="T7" fmla="*/ 243 h 39"/>
                <a:gd name="T8" fmla="*/ 345 w 37"/>
                <a:gd name="T9" fmla="*/ 210 h 39"/>
                <a:gd name="T10" fmla="*/ 290 w 37"/>
                <a:gd name="T11" fmla="*/ 149 h 39"/>
                <a:gd name="T12" fmla="*/ 180 w 37"/>
                <a:gd name="T13" fmla="*/ 37 h 39"/>
                <a:gd name="T14" fmla="*/ 34 w 37"/>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39"/>
                <a:gd name="T26" fmla="*/ 37 w 37"/>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39">
                  <a:moveTo>
                    <a:pt x="3" y="0"/>
                  </a:moveTo>
                  <a:cubicBezTo>
                    <a:pt x="0" y="9"/>
                    <a:pt x="0" y="13"/>
                    <a:pt x="1" y="23"/>
                  </a:cubicBezTo>
                  <a:cubicBezTo>
                    <a:pt x="13" y="19"/>
                    <a:pt x="5" y="25"/>
                    <a:pt x="10" y="32"/>
                  </a:cubicBezTo>
                  <a:cubicBezTo>
                    <a:pt x="12" y="35"/>
                    <a:pt x="16" y="36"/>
                    <a:pt x="19" y="38"/>
                  </a:cubicBezTo>
                  <a:cubicBezTo>
                    <a:pt x="20" y="38"/>
                    <a:pt x="35" y="39"/>
                    <a:pt x="36" y="32"/>
                  </a:cubicBezTo>
                  <a:cubicBezTo>
                    <a:pt x="37" y="26"/>
                    <a:pt x="33" y="27"/>
                    <a:pt x="30" y="23"/>
                  </a:cubicBezTo>
                  <a:cubicBezTo>
                    <a:pt x="26" y="16"/>
                    <a:pt x="23" y="13"/>
                    <a:pt x="19" y="6"/>
                  </a:cubicBezTo>
                  <a:cubicBezTo>
                    <a:pt x="10" y="8"/>
                    <a:pt x="5" y="10"/>
                    <a:pt x="3" y="0"/>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1637" name="Freeform 754"/>
            <p:cNvSpPr>
              <a:spLocks/>
            </p:cNvSpPr>
            <p:nvPr/>
          </p:nvSpPr>
          <p:spPr bwMode="gray">
            <a:xfrm>
              <a:off x="3918" y="2259"/>
              <a:ext cx="114" cy="148"/>
            </a:xfrm>
            <a:custGeom>
              <a:avLst/>
              <a:gdLst>
                <a:gd name="T0" fmla="*/ 370 w 97"/>
                <a:gd name="T1" fmla="*/ 0 h 127"/>
                <a:gd name="T2" fmla="*/ 269 w 97"/>
                <a:gd name="T3" fmla="*/ 65 h 127"/>
                <a:gd name="T4" fmla="*/ 94 w 97"/>
                <a:gd name="T5" fmla="*/ 126 h 127"/>
                <a:gd name="T6" fmla="*/ 65 w 97"/>
                <a:gd name="T7" fmla="*/ 270 h 127"/>
                <a:gd name="T8" fmla="*/ 170 w 97"/>
                <a:gd name="T9" fmla="*/ 528 h 127"/>
                <a:gd name="T10" fmla="*/ 170 w 97"/>
                <a:gd name="T11" fmla="*/ 650 h 127"/>
                <a:gd name="T12" fmla="*/ 123 w 97"/>
                <a:gd name="T13" fmla="*/ 830 h 127"/>
                <a:gd name="T14" fmla="*/ 315 w 97"/>
                <a:gd name="T15" fmla="*/ 717 h 127"/>
                <a:gd name="T16" fmla="*/ 435 w 97"/>
                <a:gd name="T17" fmla="*/ 548 h 127"/>
                <a:gd name="T18" fmla="*/ 527 w 97"/>
                <a:gd name="T19" fmla="*/ 672 h 127"/>
                <a:gd name="T20" fmla="*/ 602 w 97"/>
                <a:gd name="T21" fmla="*/ 790 h 127"/>
                <a:gd name="T22" fmla="*/ 638 w 97"/>
                <a:gd name="T23" fmla="*/ 576 h 127"/>
                <a:gd name="T24" fmla="*/ 651 w 97"/>
                <a:gd name="T25" fmla="*/ 535 h 127"/>
                <a:gd name="T26" fmla="*/ 686 w 97"/>
                <a:gd name="T27" fmla="*/ 524 h 127"/>
                <a:gd name="T28" fmla="*/ 727 w 97"/>
                <a:gd name="T29" fmla="*/ 365 h 127"/>
                <a:gd name="T30" fmla="*/ 597 w 97"/>
                <a:gd name="T31" fmla="*/ 77 h 127"/>
                <a:gd name="T32" fmla="*/ 464 w 97"/>
                <a:gd name="T33" fmla="*/ 35 h 127"/>
                <a:gd name="T34" fmla="*/ 370 w 97"/>
                <a:gd name="T35" fmla="*/ 0 h 1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7"/>
                <a:gd name="T55" fmla="*/ 0 h 127"/>
                <a:gd name="T56" fmla="*/ 97 w 97"/>
                <a:gd name="T57" fmla="*/ 127 h 1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7" h="127">
                  <a:moveTo>
                    <a:pt x="45" y="0"/>
                  </a:moveTo>
                  <a:cubicBezTo>
                    <a:pt x="41" y="6"/>
                    <a:pt x="40" y="8"/>
                    <a:pt x="33" y="9"/>
                  </a:cubicBezTo>
                  <a:cubicBezTo>
                    <a:pt x="27" y="14"/>
                    <a:pt x="20" y="17"/>
                    <a:pt x="12" y="18"/>
                  </a:cubicBezTo>
                  <a:cubicBezTo>
                    <a:pt x="11" y="25"/>
                    <a:pt x="9" y="31"/>
                    <a:pt x="8" y="38"/>
                  </a:cubicBezTo>
                  <a:cubicBezTo>
                    <a:pt x="8" y="48"/>
                    <a:pt x="0" y="82"/>
                    <a:pt x="21" y="72"/>
                  </a:cubicBezTo>
                  <a:cubicBezTo>
                    <a:pt x="28" y="75"/>
                    <a:pt x="24" y="82"/>
                    <a:pt x="21" y="89"/>
                  </a:cubicBezTo>
                  <a:cubicBezTo>
                    <a:pt x="20" y="97"/>
                    <a:pt x="15" y="113"/>
                    <a:pt x="15" y="113"/>
                  </a:cubicBezTo>
                  <a:cubicBezTo>
                    <a:pt x="20" y="127"/>
                    <a:pt x="34" y="105"/>
                    <a:pt x="38" y="98"/>
                  </a:cubicBezTo>
                  <a:cubicBezTo>
                    <a:pt x="40" y="87"/>
                    <a:pt x="42" y="79"/>
                    <a:pt x="53" y="75"/>
                  </a:cubicBezTo>
                  <a:cubicBezTo>
                    <a:pt x="57" y="81"/>
                    <a:pt x="61" y="86"/>
                    <a:pt x="65" y="92"/>
                  </a:cubicBezTo>
                  <a:cubicBezTo>
                    <a:pt x="66" y="99"/>
                    <a:pt x="67" y="107"/>
                    <a:pt x="74" y="108"/>
                  </a:cubicBezTo>
                  <a:cubicBezTo>
                    <a:pt x="93" y="118"/>
                    <a:pt x="81" y="87"/>
                    <a:pt x="78" y="78"/>
                  </a:cubicBezTo>
                  <a:cubicBezTo>
                    <a:pt x="79" y="77"/>
                    <a:pt x="79" y="75"/>
                    <a:pt x="80" y="74"/>
                  </a:cubicBezTo>
                  <a:cubicBezTo>
                    <a:pt x="81" y="73"/>
                    <a:pt x="83" y="72"/>
                    <a:pt x="84" y="71"/>
                  </a:cubicBezTo>
                  <a:cubicBezTo>
                    <a:pt x="87" y="66"/>
                    <a:pt x="87" y="56"/>
                    <a:pt x="89" y="50"/>
                  </a:cubicBezTo>
                  <a:cubicBezTo>
                    <a:pt x="90" y="27"/>
                    <a:pt x="97" y="13"/>
                    <a:pt x="72" y="11"/>
                  </a:cubicBezTo>
                  <a:cubicBezTo>
                    <a:pt x="67" y="8"/>
                    <a:pt x="63" y="6"/>
                    <a:pt x="57" y="5"/>
                  </a:cubicBezTo>
                  <a:cubicBezTo>
                    <a:pt x="50" y="1"/>
                    <a:pt x="48" y="9"/>
                    <a:pt x="45" y="0"/>
                  </a:cubicBezTo>
                  <a:close/>
                </a:path>
              </a:pathLst>
            </a:custGeom>
            <a:solidFill>
              <a:schemeClr val="hlink"/>
            </a:solidFill>
            <a:ln w="9525">
              <a:noFill/>
              <a:round/>
              <a:headEnd/>
              <a:tailEnd/>
            </a:ln>
          </p:spPr>
          <p:txBody>
            <a:bodyPr lIns="0" tIns="0" rIns="0" bIns="0" anchor="ctr"/>
            <a:lstStyle/>
            <a:p>
              <a:pPr defTabSz="912546"/>
              <a:endParaRPr>
                <a:solidFill>
                  <a:srgbClr val="000000"/>
                </a:solidFill>
              </a:endParaRPr>
            </a:p>
          </p:txBody>
        </p:sp>
        <p:sp>
          <p:nvSpPr>
            <p:cNvPr id="441638" name="Freeform 755"/>
            <p:cNvSpPr>
              <a:spLocks/>
            </p:cNvSpPr>
            <p:nvPr/>
          </p:nvSpPr>
          <p:spPr bwMode="gray">
            <a:xfrm>
              <a:off x="3690" y="2542"/>
              <a:ext cx="51" cy="66"/>
            </a:xfrm>
            <a:custGeom>
              <a:avLst/>
              <a:gdLst>
                <a:gd name="T0" fmla="*/ 52 w 44"/>
                <a:gd name="T1" fmla="*/ 29 h 56"/>
                <a:gd name="T2" fmla="*/ 94 w 44"/>
                <a:gd name="T3" fmla="*/ 475 h 56"/>
                <a:gd name="T4" fmla="*/ 218 w 44"/>
                <a:gd name="T5" fmla="*/ 372 h 56"/>
                <a:gd name="T6" fmla="*/ 94 w 44"/>
                <a:gd name="T7" fmla="*/ 65 h 56"/>
                <a:gd name="T8" fmla="*/ 52 w 44"/>
                <a:gd name="T9" fmla="*/ 29 h 56"/>
                <a:gd name="T10" fmla="*/ 0 60000 65536"/>
                <a:gd name="T11" fmla="*/ 0 60000 65536"/>
                <a:gd name="T12" fmla="*/ 0 60000 65536"/>
                <a:gd name="T13" fmla="*/ 0 60000 65536"/>
                <a:gd name="T14" fmla="*/ 0 60000 65536"/>
                <a:gd name="T15" fmla="*/ 0 w 44"/>
                <a:gd name="T16" fmla="*/ 0 h 56"/>
                <a:gd name="T17" fmla="*/ 44 w 44"/>
                <a:gd name="T18" fmla="*/ 56 h 56"/>
              </a:gdLst>
              <a:ahLst/>
              <a:cxnLst>
                <a:cxn ang="T10">
                  <a:pos x="T0" y="T1"/>
                </a:cxn>
                <a:cxn ang="T11">
                  <a:pos x="T2" y="T3"/>
                </a:cxn>
                <a:cxn ang="T12">
                  <a:pos x="T4" y="T5"/>
                </a:cxn>
                <a:cxn ang="T13">
                  <a:pos x="T6" y="T7"/>
                </a:cxn>
                <a:cxn ang="T14">
                  <a:pos x="T8" y="T9"/>
                </a:cxn>
              </a:cxnLst>
              <a:rect l="T15" t="T16" r="T17" b="T18"/>
              <a:pathLst>
                <a:path w="44" h="56">
                  <a:moveTo>
                    <a:pt x="8" y="3"/>
                  </a:moveTo>
                  <a:cubicBezTo>
                    <a:pt x="11" y="16"/>
                    <a:pt x="0" y="49"/>
                    <a:pt x="14" y="56"/>
                  </a:cubicBezTo>
                  <a:cubicBezTo>
                    <a:pt x="28" y="54"/>
                    <a:pt x="30" y="56"/>
                    <a:pt x="32" y="44"/>
                  </a:cubicBezTo>
                  <a:cubicBezTo>
                    <a:pt x="31" y="26"/>
                    <a:pt x="44" y="17"/>
                    <a:pt x="14" y="8"/>
                  </a:cubicBezTo>
                  <a:cubicBezTo>
                    <a:pt x="13" y="8"/>
                    <a:pt x="5" y="0"/>
                    <a:pt x="8" y="3"/>
                  </a:cubicBezTo>
                  <a:close/>
                </a:path>
              </a:pathLst>
            </a:custGeom>
            <a:solidFill>
              <a:schemeClr val="tx2"/>
            </a:solidFill>
            <a:ln w="9525">
              <a:noFill/>
              <a:round/>
              <a:headEnd/>
              <a:tailEnd/>
            </a:ln>
          </p:spPr>
          <p:txBody>
            <a:bodyPr lIns="0" tIns="0" rIns="0" bIns="0" anchor="ctr"/>
            <a:lstStyle/>
            <a:p>
              <a:pPr defTabSz="912546"/>
              <a:endParaRPr>
                <a:solidFill>
                  <a:srgbClr val="000000"/>
                </a:solidFill>
              </a:endParaRPr>
            </a:p>
          </p:txBody>
        </p:sp>
        <p:sp>
          <p:nvSpPr>
            <p:cNvPr id="441639" name="Freeform 756"/>
            <p:cNvSpPr>
              <a:spLocks/>
            </p:cNvSpPr>
            <p:nvPr/>
          </p:nvSpPr>
          <p:spPr bwMode="gray">
            <a:xfrm>
              <a:off x="3790" y="2576"/>
              <a:ext cx="43" cy="48"/>
            </a:xfrm>
            <a:custGeom>
              <a:avLst/>
              <a:gdLst>
                <a:gd name="T0" fmla="*/ 3 w 37"/>
                <a:gd name="T1" fmla="*/ 0 h 39"/>
                <a:gd name="T2" fmla="*/ 1 w 37"/>
                <a:gd name="T3" fmla="*/ 336 h 39"/>
                <a:gd name="T4" fmla="*/ 76 w 37"/>
                <a:gd name="T5" fmla="*/ 478 h 39"/>
                <a:gd name="T6" fmla="*/ 138 w 37"/>
                <a:gd name="T7" fmla="*/ 564 h 39"/>
                <a:gd name="T8" fmla="*/ 253 w 37"/>
                <a:gd name="T9" fmla="*/ 478 h 39"/>
                <a:gd name="T10" fmla="*/ 216 w 37"/>
                <a:gd name="T11" fmla="*/ 336 h 39"/>
                <a:gd name="T12" fmla="*/ 138 w 37"/>
                <a:gd name="T13" fmla="*/ 90 h 39"/>
                <a:gd name="T14" fmla="*/ 3 w 37"/>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39"/>
                <a:gd name="T26" fmla="*/ 37 w 37"/>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39">
                  <a:moveTo>
                    <a:pt x="3" y="0"/>
                  </a:moveTo>
                  <a:cubicBezTo>
                    <a:pt x="0" y="9"/>
                    <a:pt x="0" y="13"/>
                    <a:pt x="1" y="23"/>
                  </a:cubicBezTo>
                  <a:cubicBezTo>
                    <a:pt x="13" y="19"/>
                    <a:pt x="5" y="25"/>
                    <a:pt x="10" y="32"/>
                  </a:cubicBezTo>
                  <a:cubicBezTo>
                    <a:pt x="12" y="35"/>
                    <a:pt x="16" y="36"/>
                    <a:pt x="19" y="38"/>
                  </a:cubicBezTo>
                  <a:cubicBezTo>
                    <a:pt x="20" y="38"/>
                    <a:pt x="35" y="39"/>
                    <a:pt x="36" y="32"/>
                  </a:cubicBezTo>
                  <a:cubicBezTo>
                    <a:pt x="37" y="26"/>
                    <a:pt x="33" y="27"/>
                    <a:pt x="30" y="23"/>
                  </a:cubicBezTo>
                  <a:cubicBezTo>
                    <a:pt x="26" y="16"/>
                    <a:pt x="23" y="13"/>
                    <a:pt x="19" y="6"/>
                  </a:cubicBezTo>
                  <a:cubicBezTo>
                    <a:pt x="10" y="8"/>
                    <a:pt x="5" y="10"/>
                    <a:pt x="3" y="0"/>
                  </a:cubicBezTo>
                  <a:close/>
                </a:path>
              </a:pathLst>
            </a:custGeom>
            <a:solidFill>
              <a:schemeClr val="tx1"/>
            </a:solidFill>
            <a:ln w="9525">
              <a:noFill/>
              <a:round/>
              <a:headEnd/>
              <a:tailEnd/>
            </a:ln>
          </p:spPr>
          <p:txBody>
            <a:bodyPr lIns="0" tIns="0" rIns="0" bIns="0" anchor="ctr"/>
            <a:lstStyle/>
            <a:p>
              <a:pPr defTabSz="912546"/>
              <a:endParaRPr>
                <a:solidFill>
                  <a:srgbClr val="000000"/>
                </a:solidFill>
              </a:endParaRPr>
            </a:p>
          </p:txBody>
        </p:sp>
        <p:sp>
          <p:nvSpPr>
            <p:cNvPr id="441640" name="Freeform 757"/>
            <p:cNvSpPr>
              <a:spLocks/>
            </p:cNvSpPr>
            <p:nvPr/>
          </p:nvSpPr>
          <p:spPr bwMode="gray">
            <a:xfrm>
              <a:off x="3936" y="2204"/>
              <a:ext cx="66" cy="66"/>
            </a:xfrm>
            <a:custGeom>
              <a:avLst/>
              <a:gdLst>
                <a:gd name="T0" fmla="*/ 318 w 56"/>
                <a:gd name="T1" fmla="*/ 65 h 56"/>
                <a:gd name="T2" fmla="*/ 171 w 56"/>
                <a:gd name="T3" fmla="*/ 2 h 56"/>
                <a:gd name="T4" fmla="*/ 55 w 56"/>
                <a:gd name="T5" fmla="*/ 145 h 56"/>
                <a:gd name="T6" fmla="*/ 40 w 56"/>
                <a:gd name="T7" fmla="*/ 270 h 56"/>
                <a:gd name="T8" fmla="*/ 107 w 56"/>
                <a:gd name="T9" fmla="*/ 433 h 56"/>
                <a:gd name="T10" fmla="*/ 438 w 56"/>
                <a:gd name="T11" fmla="*/ 396 h 56"/>
                <a:gd name="T12" fmla="*/ 433 w 56"/>
                <a:gd name="T13" fmla="*/ 285 h 56"/>
                <a:gd name="T14" fmla="*/ 318 w 56"/>
                <a:gd name="T15" fmla="*/ 65 h 56"/>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6"/>
                <a:gd name="T26" fmla="*/ 56 w 56"/>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6">
                  <a:moveTo>
                    <a:pt x="38" y="8"/>
                  </a:moveTo>
                  <a:cubicBezTo>
                    <a:pt x="32" y="0"/>
                    <a:pt x="31" y="1"/>
                    <a:pt x="20" y="2"/>
                  </a:cubicBezTo>
                  <a:cubicBezTo>
                    <a:pt x="11" y="6"/>
                    <a:pt x="12" y="10"/>
                    <a:pt x="7" y="17"/>
                  </a:cubicBezTo>
                  <a:cubicBezTo>
                    <a:pt x="8" y="23"/>
                    <a:pt x="8" y="27"/>
                    <a:pt x="5" y="32"/>
                  </a:cubicBezTo>
                  <a:cubicBezTo>
                    <a:pt x="3" y="42"/>
                    <a:pt x="0" y="47"/>
                    <a:pt x="13" y="50"/>
                  </a:cubicBezTo>
                  <a:cubicBezTo>
                    <a:pt x="25" y="56"/>
                    <a:pt x="40" y="54"/>
                    <a:pt x="52" y="47"/>
                  </a:cubicBezTo>
                  <a:cubicBezTo>
                    <a:pt x="56" y="41"/>
                    <a:pt x="53" y="40"/>
                    <a:pt x="50" y="34"/>
                  </a:cubicBezTo>
                  <a:cubicBezTo>
                    <a:pt x="54" y="18"/>
                    <a:pt x="49" y="15"/>
                    <a:pt x="38" y="8"/>
                  </a:cubicBezTo>
                  <a:close/>
                </a:path>
              </a:pathLst>
            </a:custGeom>
            <a:solidFill>
              <a:srgbClr val="8E6C3E"/>
            </a:solidFill>
            <a:ln w="9525">
              <a:noFill/>
              <a:round/>
              <a:headEnd/>
              <a:tailEnd/>
            </a:ln>
          </p:spPr>
          <p:txBody>
            <a:bodyPr lIns="0" tIns="0" rIns="0" bIns="0" anchor="ctr"/>
            <a:lstStyle/>
            <a:p>
              <a:pPr defTabSz="912546"/>
              <a:endParaRPr>
                <a:solidFill>
                  <a:srgbClr val="000000"/>
                </a:solidFill>
              </a:endParaRPr>
            </a:p>
          </p:txBody>
        </p:sp>
        <p:sp>
          <p:nvSpPr>
            <p:cNvPr id="441641" name="Freeform 758"/>
            <p:cNvSpPr>
              <a:spLocks/>
            </p:cNvSpPr>
            <p:nvPr/>
          </p:nvSpPr>
          <p:spPr bwMode="gray">
            <a:xfrm>
              <a:off x="3952" y="2213"/>
              <a:ext cx="44" cy="74"/>
            </a:xfrm>
            <a:custGeom>
              <a:avLst/>
              <a:gdLst>
                <a:gd name="T0" fmla="*/ 361 w 36"/>
                <a:gd name="T1" fmla="*/ 123 h 63"/>
                <a:gd name="T2" fmla="*/ 243 w 36"/>
                <a:gd name="T3" fmla="*/ 40 h 63"/>
                <a:gd name="T4" fmla="*/ 43 w 36"/>
                <a:gd name="T5" fmla="*/ 76 h 63"/>
                <a:gd name="T6" fmla="*/ 2 w 36"/>
                <a:gd name="T7" fmla="*/ 193 h 63"/>
                <a:gd name="T8" fmla="*/ 145 w 36"/>
                <a:gd name="T9" fmla="*/ 316 h 63"/>
                <a:gd name="T10" fmla="*/ 199 w 36"/>
                <a:gd name="T11" fmla="*/ 512 h 63"/>
                <a:gd name="T12" fmla="*/ 310 w 36"/>
                <a:gd name="T13" fmla="*/ 379 h 63"/>
                <a:gd name="T14" fmla="*/ 363 w 36"/>
                <a:gd name="T15" fmla="*/ 234 h 63"/>
                <a:gd name="T16" fmla="*/ 361 w 36"/>
                <a:gd name="T17" fmla="*/ 123 h 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63"/>
                <a:gd name="T29" fmla="*/ 36 w 36"/>
                <a:gd name="T30" fmla="*/ 63 h 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63">
                  <a:moveTo>
                    <a:pt x="26" y="15"/>
                  </a:moveTo>
                  <a:cubicBezTo>
                    <a:pt x="23" y="9"/>
                    <a:pt x="25" y="6"/>
                    <a:pt x="18" y="5"/>
                  </a:cubicBezTo>
                  <a:cubicBezTo>
                    <a:pt x="13" y="6"/>
                    <a:pt x="8" y="8"/>
                    <a:pt x="3" y="9"/>
                  </a:cubicBezTo>
                  <a:cubicBezTo>
                    <a:pt x="0" y="13"/>
                    <a:pt x="1" y="18"/>
                    <a:pt x="2" y="23"/>
                  </a:cubicBezTo>
                  <a:cubicBezTo>
                    <a:pt x="3" y="28"/>
                    <a:pt x="3" y="32"/>
                    <a:pt x="11" y="39"/>
                  </a:cubicBezTo>
                  <a:cubicBezTo>
                    <a:pt x="9" y="49"/>
                    <a:pt x="9" y="55"/>
                    <a:pt x="15" y="63"/>
                  </a:cubicBezTo>
                  <a:cubicBezTo>
                    <a:pt x="26" y="62"/>
                    <a:pt x="36" y="56"/>
                    <a:pt x="23" y="47"/>
                  </a:cubicBezTo>
                  <a:cubicBezTo>
                    <a:pt x="20" y="41"/>
                    <a:pt x="23" y="35"/>
                    <a:pt x="27" y="29"/>
                  </a:cubicBezTo>
                  <a:cubicBezTo>
                    <a:pt x="25" y="19"/>
                    <a:pt x="15" y="0"/>
                    <a:pt x="26" y="15"/>
                  </a:cubicBezTo>
                  <a:close/>
                </a:path>
              </a:pathLst>
            </a:custGeom>
            <a:solidFill>
              <a:srgbClr val="D7BBA1"/>
            </a:solidFill>
            <a:ln w="9525">
              <a:noFill/>
              <a:round/>
              <a:headEnd/>
              <a:tailEnd/>
            </a:ln>
          </p:spPr>
          <p:txBody>
            <a:bodyPr lIns="0" tIns="0" rIns="0" bIns="0" anchor="ctr"/>
            <a:lstStyle/>
            <a:p>
              <a:pPr defTabSz="912546"/>
              <a:endParaRPr>
                <a:solidFill>
                  <a:srgbClr val="000000"/>
                </a:solidFill>
              </a:endParaRPr>
            </a:p>
          </p:txBody>
        </p:sp>
        <p:sp>
          <p:nvSpPr>
            <p:cNvPr id="441642" name="Freeform 759"/>
            <p:cNvSpPr>
              <a:spLocks/>
            </p:cNvSpPr>
            <p:nvPr/>
          </p:nvSpPr>
          <p:spPr bwMode="gray">
            <a:xfrm>
              <a:off x="3963" y="2282"/>
              <a:ext cx="30" cy="28"/>
            </a:xfrm>
            <a:custGeom>
              <a:avLst/>
              <a:gdLst>
                <a:gd name="T0" fmla="*/ 222 w 25"/>
                <a:gd name="T1" fmla="*/ 0 h 24"/>
                <a:gd name="T2" fmla="*/ 72 w 25"/>
                <a:gd name="T3" fmla="*/ 1 h 24"/>
                <a:gd name="T4" fmla="*/ 103 w 25"/>
                <a:gd name="T5" fmla="*/ 182 h 24"/>
                <a:gd name="T6" fmla="*/ 222 w 25"/>
                <a:gd name="T7" fmla="*/ 66 h 24"/>
                <a:gd name="T8" fmla="*/ 222 w 25"/>
                <a:gd name="T9" fmla="*/ 0 h 24"/>
                <a:gd name="T10" fmla="*/ 0 60000 65536"/>
                <a:gd name="T11" fmla="*/ 0 60000 65536"/>
                <a:gd name="T12" fmla="*/ 0 60000 65536"/>
                <a:gd name="T13" fmla="*/ 0 60000 65536"/>
                <a:gd name="T14" fmla="*/ 0 60000 65536"/>
                <a:gd name="T15" fmla="*/ 0 w 25"/>
                <a:gd name="T16" fmla="*/ 0 h 24"/>
                <a:gd name="T17" fmla="*/ 25 w 25"/>
                <a:gd name="T18" fmla="*/ 24 h 24"/>
              </a:gdLst>
              <a:ahLst/>
              <a:cxnLst>
                <a:cxn ang="T10">
                  <a:pos x="T0" y="T1"/>
                </a:cxn>
                <a:cxn ang="T11">
                  <a:pos x="T2" y="T3"/>
                </a:cxn>
                <a:cxn ang="T12">
                  <a:pos x="T4" y="T5"/>
                </a:cxn>
                <a:cxn ang="T13">
                  <a:pos x="T6" y="T7"/>
                </a:cxn>
                <a:cxn ang="T14">
                  <a:pos x="T8" y="T9"/>
                </a:cxn>
              </a:cxnLst>
              <a:rect l="T15" t="T16" r="T17" b="T18"/>
              <a:pathLst>
                <a:path w="25" h="24">
                  <a:moveTo>
                    <a:pt x="21" y="0"/>
                  </a:moveTo>
                  <a:cubicBezTo>
                    <a:pt x="14" y="1"/>
                    <a:pt x="13" y="4"/>
                    <a:pt x="7" y="1"/>
                  </a:cubicBezTo>
                  <a:cubicBezTo>
                    <a:pt x="0" y="5"/>
                    <a:pt x="3" y="20"/>
                    <a:pt x="10" y="24"/>
                  </a:cubicBezTo>
                  <a:cubicBezTo>
                    <a:pt x="19" y="21"/>
                    <a:pt x="17" y="17"/>
                    <a:pt x="21" y="9"/>
                  </a:cubicBezTo>
                  <a:cubicBezTo>
                    <a:pt x="22" y="0"/>
                    <a:pt x="25" y="0"/>
                    <a:pt x="21" y="0"/>
                  </a:cubicBezTo>
                  <a:close/>
                </a:path>
              </a:pathLst>
            </a:custGeom>
            <a:solidFill>
              <a:schemeClr val="bg1"/>
            </a:solidFill>
            <a:ln w="9525">
              <a:noFill/>
              <a:round/>
              <a:headEnd/>
              <a:tailEnd/>
            </a:ln>
          </p:spPr>
          <p:txBody>
            <a:bodyPr lIns="0" tIns="0" rIns="0" bIns="0" anchor="ctr"/>
            <a:lstStyle/>
            <a:p>
              <a:pPr defTabSz="912546"/>
              <a:endParaRPr>
                <a:solidFill>
                  <a:srgbClr val="000000"/>
                </a:solidFill>
              </a:endParaRPr>
            </a:p>
          </p:txBody>
        </p:sp>
        <p:sp>
          <p:nvSpPr>
            <p:cNvPr id="441643" name="Freeform 760"/>
            <p:cNvSpPr>
              <a:spLocks/>
            </p:cNvSpPr>
            <p:nvPr/>
          </p:nvSpPr>
          <p:spPr bwMode="gray">
            <a:xfrm>
              <a:off x="3968" y="2325"/>
              <a:ext cx="18" cy="34"/>
            </a:xfrm>
            <a:custGeom>
              <a:avLst/>
              <a:gdLst>
                <a:gd name="T0" fmla="*/ 48 w 16"/>
                <a:gd name="T1" fmla="*/ 61 h 28"/>
                <a:gd name="T2" fmla="*/ 0 w 16"/>
                <a:gd name="T3" fmla="*/ 222 h 28"/>
                <a:gd name="T4" fmla="*/ 54 w 16"/>
                <a:gd name="T5" fmla="*/ 222 h 28"/>
                <a:gd name="T6" fmla="*/ 48 w 16"/>
                <a:gd name="T7" fmla="*/ 61 h 28"/>
                <a:gd name="T8" fmla="*/ 0 60000 65536"/>
                <a:gd name="T9" fmla="*/ 0 60000 65536"/>
                <a:gd name="T10" fmla="*/ 0 60000 65536"/>
                <a:gd name="T11" fmla="*/ 0 60000 65536"/>
                <a:gd name="T12" fmla="*/ 0 w 16"/>
                <a:gd name="T13" fmla="*/ 0 h 28"/>
                <a:gd name="T14" fmla="*/ 16 w 16"/>
                <a:gd name="T15" fmla="*/ 28 h 28"/>
              </a:gdLst>
              <a:ahLst/>
              <a:cxnLst>
                <a:cxn ang="T8">
                  <a:pos x="T0" y="T1"/>
                </a:cxn>
                <a:cxn ang="T9">
                  <a:pos x="T2" y="T3"/>
                </a:cxn>
                <a:cxn ang="T10">
                  <a:pos x="T4" y="T5"/>
                </a:cxn>
                <a:cxn ang="T11">
                  <a:pos x="T6" y="T7"/>
                </a:cxn>
              </a:cxnLst>
              <a:rect l="T12" t="T13" r="T14" b="T15"/>
              <a:pathLst>
                <a:path w="16" h="28">
                  <a:moveTo>
                    <a:pt x="11" y="5"/>
                  </a:moveTo>
                  <a:cubicBezTo>
                    <a:pt x="0" y="8"/>
                    <a:pt x="4" y="8"/>
                    <a:pt x="0" y="17"/>
                  </a:cubicBezTo>
                  <a:cubicBezTo>
                    <a:pt x="3" y="25"/>
                    <a:pt x="16" y="28"/>
                    <a:pt x="12" y="17"/>
                  </a:cubicBezTo>
                  <a:cubicBezTo>
                    <a:pt x="11" y="4"/>
                    <a:pt x="11" y="0"/>
                    <a:pt x="11" y="5"/>
                  </a:cubicBezTo>
                  <a:close/>
                </a:path>
              </a:pathLst>
            </a:custGeom>
            <a:solidFill>
              <a:schemeClr val="bg1"/>
            </a:solidFill>
            <a:ln w="9525">
              <a:noFill/>
              <a:round/>
              <a:headEnd/>
              <a:tailEnd/>
            </a:ln>
          </p:spPr>
          <p:txBody>
            <a:bodyPr lIns="0" tIns="0" rIns="0" bIns="0" anchor="ctr"/>
            <a:lstStyle/>
            <a:p>
              <a:pPr defTabSz="912546"/>
              <a:endParaRPr>
                <a:solidFill>
                  <a:srgbClr val="000000"/>
                </a:solidFill>
              </a:endParaRPr>
            </a:p>
          </p:txBody>
        </p:sp>
        <p:sp>
          <p:nvSpPr>
            <p:cNvPr id="441644" name="Freeform 761"/>
            <p:cNvSpPr>
              <a:spLocks/>
            </p:cNvSpPr>
            <p:nvPr/>
          </p:nvSpPr>
          <p:spPr bwMode="gray">
            <a:xfrm>
              <a:off x="4069" y="2278"/>
              <a:ext cx="150" cy="164"/>
            </a:xfrm>
            <a:custGeom>
              <a:avLst/>
              <a:gdLst>
                <a:gd name="T0" fmla="*/ 855 w 127"/>
                <a:gd name="T1" fmla="*/ 121 h 138"/>
                <a:gd name="T2" fmla="*/ 762 w 127"/>
                <a:gd name="T3" fmla="*/ 68 h 138"/>
                <a:gd name="T4" fmla="*/ 648 w 127"/>
                <a:gd name="T5" fmla="*/ 150 h 138"/>
                <a:gd name="T6" fmla="*/ 524 w 127"/>
                <a:gd name="T7" fmla="*/ 178 h 138"/>
                <a:gd name="T8" fmla="*/ 318 w 127"/>
                <a:gd name="T9" fmla="*/ 462 h 138"/>
                <a:gd name="T10" fmla="*/ 106 w 127"/>
                <a:gd name="T11" fmla="*/ 632 h 138"/>
                <a:gd name="T12" fmla="*/ 0 w 127"/>
                <a:gd name="T13" fmla="*/ 709 h 138"/>
                <a:gd name="T14" fmla="*/ 41 w 127"/>
                <a:gd name="T15" fmla="*/ 856 h 138"/>
                <a:gd name="T16" fmla="*/ 154 w 127"/>
                <a:gd name="T17" fmla="*/ 809 h 138"/>
                <a:gd name="T18" fmla="*/ 300 w 127"/>
                <a:gd name="T19" fmla="*/ 758 h 138"/>
                <a:gd name="T20" fmla="*/ 491 w 127"/>
                <a:gd name="T21" fmla="*/ 625 h 138"/>
                <a:gd name="T22" fmla="*/ 491 w 127"/>
                <a:gd name="T23" fmla="*/ 775 h 138"/>
                <a:gd name="T24" fmla="*/ 731 w 127"/>
                <a:gd name="T25" fmla="*/ 961 h 138"/>
                <a:gd name="T26" fmla="*/ 814 w 127"/>
                <a:gd name="T27" fmla="*/ 1028 h 138"/>
                <a:gd name="T28" fmla="*/ 765 w 127"/>
                <a:gd name="T29" fmla="*/ 1161 h 138"/>
                <a:gd name="T30" fmla="*/ 783 w 127"/>
                <a:gd name="T31" fmla="*/ 1210 h 138"/>
                <a:gd name="T32" fmla="*/ 863 w 127"/>
                <a:gd name="T33" fmla="*/ 1304 h 138"/>
                <a:gd name="T34" fmla="*/ 965 w 127"/>
                <a:gd name="T35" fmla="*/ 1134 h 138"/>
                <a:gd name="T36" fmla="*/ 1093 w 127"/>
                <a:gd name="T37" fmla="*/ 921 h 138"/>
                <a:gd name="T38" fmla="*/ 1103 w 127"/>
                <a:gd name="T39" fmla="*/ 658 h 138"/>
                <a:gd name="T40" fmla="*/ 885 w 127"/>
                <a:gd name="T41" fmla="*/ 171 h 138"/>
                <a:gd name="T42" fmla="*/ 855 w 127"/>
                <a:gd name="T43" fmla="*/ 121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7"/>
                <a:gd name="T67" fmla="*/ 0 h 138"/>
                <a:gd name="T68" fmla="*/ 127 w 127"/>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7" h="138">
                  <a:moveTo>
                    <a:pt x="98" y="13"/>
                  </a:moveTo>
                  <a:cubicBezTo>
                    <a:pt x="95" y="0"/>
                    <a:pt x="97" y="5"/>
                    <a:pt x="87" y="7"/>
                  </a:cubicBezTo>
                  <a:cubicBezTo>
                    <a:pt x="84" y="9"/>
                    <a:pt x="78" y="15"/>
                    <a:pt x="75" y="16"/>
                  </a:cubicBezTo>
                  <a:cubicBezTo>
                    <a:pt x="70" y="18"/>
                    <a:pt x="60" y="19"/>
                    <a:pt x="60" y="19"/>
                  </a:cubicBezTo>
                  <a:cubicBezTo>
                    <a:pt x="51" y="26"/>
                    <a:pt x="43" y="40"/>
                    <a:pt x="36" y="49"/>
                  </a:cubicBezTo>
                  <a:cubicBezTo>
                    <a:pt x="34" y="59"/>
                    <a:pt x="21" y="65"/>
                    <a:pt x="12" y="67"/>
                  </a:cubicBezTo>
                  <a:cubicBezTo>
                    <a:pt x="6" y="70"/>
                    <a:pt x="4" y="69"/>
                    <a:pt x="0" y="75"/>
                  </a:cubicBezTo>
                  <a:cubicBezTo>
                    <a:pt x="2" y="81"/>
                    <a:pt x="2" y="86"/>
                    <a:pt x="5" y="91"/>
                  </a:cubicBezTo>
                  <a:cubicBezTo>
                    <a:pt x="10" y="87"/>
                    <a:pt x="12" y="84"/>
                    <a:pt x="18" y="87"/>
                  </a:cubicBezTo>
                  <a:cubicBezTo>
                    <a:pt x="24" y="85"/>
                    <a:pt x="29" y="82"/>
                    <a:pt x="35" y="81"/>
                  </a:cubicBezTo>
                  <a:cubicBezTo>
                    <a:pt x="43" y="75"/>
                    <a:pt x="45" y="68"/>
                    <a:pt x="56" y="66"/>
                  </a:cubicBezTo>
                  <a:cubicBezTo>
                    <a:pt x="52" y="72"/>
                    <a:pt x="53" y="76"/>
                    <a:pt x="56" y="82"/>
                  </a:cubicBezTo>
                  <a:cubicBezTo>
                    <a:pt x="57" y="104"/>
                    <a:pt x="64" y="101"/>
                    <a:pt x="84" y="103"/>
                  </a:cubicBezTo>
                  <a:cubicBezTo>
                    <a:pt x="90" y="105"/>
                    <a:pt x="104" y="102"/>
                    <a:pt x="93" y="109"/>
                  </a:cubicBezTo>
                  <a:cubicBezTo>
                    <a:pt x="92" y="114"/>
                    <a:pt x="90" y="118"/>
                    <a:pt x="89" y="123"/>
                  </a:cubicBezTo>
                  <a:cubicBezTo>
                    <a:pt x="89" y="125"/>
                    <a:pt x="91" y="127"/>
                    <a:pt x="90" y="129"/>
                  </a:cubicBezTo>
                  <a:cubicBezTo>
                    <a:pt x="88" y="136"/>
                    <a:pt x="82" y="134"/>
                    <a:pt x="99" y="138"/>
                  </a:cubicBezTo>
                  <a:cubicBezTo>
                    <a:pt x="103" y="132"/>
                    <a:pt x="106" y="125"/>
                    <a:pt x="111" y="120"/>
                  </a:cubicBezTo>
                  <a:cubicBezTo>
                    <a:pt x="114" y="111"/>
                    <a:pt x="122" y="106"/>
                    <a:pt x="125" y="97"/>
                  </a:cubicBezTo>
                  <a:cubicBezTo>
                    <a:pt x="126" y="88"/>
                    <a:pt x="125" y="79"/>
                    <a:pt x="126" y="70"/>
                  </a:cubicBezTo>
                  <a:cubicBezTo>
                    <a:pt x="125" y="51"/>
                    <a:pt x="127" y="23"/>
                    <a:pt x="102" y="18"/>
                  </a:cubicBezTo>
                  <a:cubicBezTo>
                    <a:pt x="101" y="12"/>
                    <a:pt x="103" y="13"/>
                    <a:pt x="98" y="13"/>
                  </a:cubicBezTo>
                  <a:close/>
                </a:path>
              </a:pathLst>
            </a:custGeom>
            <a:solidFill>
              <a:srgbClr val="F8F8F8"/>
            </a:solidFill>
            <a:ln w="9525">
              <a:noFill/>
              <a:round/>
              <a:headEnd/>
              <a:tailEnd/>
            </a:ln>
          </p:spPr>
          <p:txBody>
            <a:bodyPr lIns="0" tIns="0" rIns="0" bIns="0" anchor="ctr"/>
            <a:lstStyle/>
            <a:p>
              <a:pPr defTabSz="912546"/>
              <a:endParaRPr>
                <a:solidFill>
                  <a:srgbClr val="000000"/>
                </a:solidFill>
              </a:endParaRPr>
            </a:p>
          </p:txBody>
        </p:sp>
        <p:sp>
          <p:nvSpPr>
            <p:cNvPr id="441645" name="Freeform 762"/>
            <p:cNvSpPr>
              <a:spLocks/>
            </p:cNvSpPr>
            <p:nvPr/>
          </p:nvSpPr>
          <p:spPr bwMode="gray">
            <a:xfrm>
              <a:off x="3941" y="2307"/>
              <a:ext cx="55" cy="40"/>
            </a:xfrm>
            <a:custGeom>
              <a:avLst/>
              <a:gdLst>
                <a:gd name="T0" fmla="*/ 251 w 46"/>
                <a:gd name="T1" fmla="*/ 150 h 32"/>
                <a:gd name="T2" fmla="*/ 72 w 46"/>
                <a:gd name="T3" fmla="*/ 96 h 32"/>
                <a:gd name="T4" fmla="*/ 0 w 46"/>
                <a:gd name="T5" fmla="*/ 362 h 32"/>
                <a:gd name="T6" fmla="*/ 123 w 46"/>
                <a:gd name="T7" fmla="*/ 292 h 32"/>
                <a:gd name="T8" fmla="*/ 164 w 46"/>
                <a:gd name="T9" fmla="*/ 271 h 32"/>
                <a:gd name="T10" fmla="*/ 335 w 46"/>
                <a:gd name="T11" fmla="*/ 362 h 32"/>
                <a:gd name="T12" fmla="*/ 466 w 46"/>
                <a:gd name="T13" fmla="*/ 217 h 32"/>
                <a:gd name="T14" fmla="*/ 361 w 46"/>
                <a:gd name="T15" fmla="*/ 50 h 32"/>
                <a:gd name="T16" fmla="*/ 251 w 46"/>
                <a:gd name="T17" fmla="*/ 15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32"/>
                <a:gd name="T29" fmla="*/ 46 w 4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32">
                  <a:moveTo>
                    <a:pt x="24" y="9"/>
                  </a:moveTo>
                  <a:cubicBezTo>
                    <a:pt x="18" y="5"/>
                    <a:pt x="14" y="5"/>
                    <a:pt x="7" y="6"/>
                  </a:cubicBezTo>
                  <a:cubicBezTo>
                    <a:pt x="1" y="10"/>
                    <a:pt x="1" y="13"/>
                    <a:pt x="0" y="20"/>
                  </a:cubicBezTo>
                  <a:cubicBezTo>
                    <a:pt x="7" y="25"/>
                    <a:pt x="4" y="19"/>
                    <a:pt x="12" y="17"/>
                  </a:cubicBezTo>
                  <a:cubicBezTo>
                    <a:pt x="13" y="12"/>
                    <a:pt x="20" y="7"/>
                    <a:pt x="16" y="15"/>
                  </a:cubicBezTo>
                  <a:cubicBezTo>
                    <a:pt x="19" y="32"/>
                    <a:pt x="20" y="22"/>
                    <a:pt x="33" y="20"/>
                  </a:cubicBezTo>
                  <a:cubicBezTo>
                    <a:pt x="38" y="18"/>
                    <a:pt x="42" y="15"/>
                    <a:pt x="46" y="12"/>
                  </a:cubicBezTo>
                  <a:cubicBezTo>
                    <a:pt x="45" y="3"/>
                    <a:pt x="43" y="6"/>
                    <a:pt x="36" y="3"/>
                  </a:cubicBezTo>
                  <a:cubicBezTo>
                    <a:pt x="31" y="5"/>
                    <a:pt x="20" y="0"/>
                    <a:pt x="24" y="9"/>
                  </a:cubicBezTo>
                  <a:close/>
                </a:path>
              </a:pathLst>
            </a:custGeom>
            <a:solidFill>
              <a:srgbClr val="D7BBA1"/>
            </a:solidFill>
            <a:ln w="9525">
              <a:noFill/>
              <a:round/>
              <a:headEnd/>
              <a:tailEnd/>
            </a:ln>
          </p:spPr>
          <p:txBody>
            <a:bodyPr lIns="0" tIns="0" rIns="0" bIns="0" anchor="ctr"/>
            <a:lstStyle/>
            <a:p>
              <a:pPr defTabSz="912546"/>
              <a:endParaRPr>
                <a:solidFill>
                  <a:srgbClr val="000000"/>
                </a:solidFill>
              </a:endParaRPr>
            </a:p>
          </p:txBody>
        </p:sp>
        <p:sp>
          <p:nvSpPr>
            <p:cNvPr id="441646" name="Freeform 763"/>
            <p:cNvSpPr>
              <a:spLocks/>
            </p:cNvSpPr>
            <p:nvPr/>
          </p:nvSpPr>
          <p:spPr bwMode="gray">
            <a:xfrm>
              <a:off x="4148" y="2298"/>
              <a:ext cx="32" cy="108"/>
            </a:xfrm>
            <a:custGeom>
              <a:avLst/>
              <a:gdLst>
                <a:gd name="T0" fmla="*/ 137 w 26"/>
                <a:gd name="T1" fmla="*/ 34 h 92"/>
                <a:gd name="T2" fmla="*/ 111 w 26"/>
                <a:gd name="T3" fmla="*/ 164 h 92"/>
                <a:gd name="T4" fmla="*/ 0 w 26"/>
                <a:gd name="T5" fmla="*/ 664 h 92"/>
                <a:gd name="T6" fmla="*/ 176 w 26"/>
                <a:gd name="T7" fmla="*/ 708 h 92"/>
                <a:gd name="T8" fmla="*/ 199 w 26"/>
                <a:gd name="T9" fmla="*/ 541 h 92"/>
                <a:gd name="T10" fmla="*/ 329 w 26"/>
                <a:gd name="T11" fmla="*/ 80 h 92"/>
                <a:gd name="T12" fmla="*/ 217 w 26"/>
                <a:gd name="T13" fmla="*/ 80 h 92"/>
                <a:gd name="T14" fmla="*/ 137 w 26"/>
                <a:gd name="T15" fmla="*/ 34 h 9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92"/>
                <a:gd name="T26" fmla="*/ 26 w 26"/>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92">
                  <a:moveTo>
                    <a:pt x="9" y="4"/>
                  </a:moveTo>
                  <a:cubicBezTo>
                    <a:pt x="10" y="10"/>
                    <a:pt x="10" y="14"/>
                    <a:pt x="7" y="20"/>
                  </a:cubicBezTo>
                  <a:cubicBezTo>
                    <a:pt x="3" y="41"/>
                    <a:pt x="4" y="62"/>
                    <a:pt x="0" y="83"/>
                  </a:cubicBezTo>
                  <a:cubicBezTo>
                    <a:pt x="4" y="89"/>
                    <a:pt x="5" y="92"/>
                    <a:pt x="12" y="89"/>
                  </a:cubicBezTo>
                  <a:cubicBezTo>
                    <a:pt x="18" y="81"/>
                    <a:pt x="15" y="76"/>
                    <a:pt x="13" y="67"/>
                  </a:cubicBezTo>
                  <a:cubicBezTo>
                    <a:pt x="12" y="51"/>
                    <a:pt x="7" y="21"/>
                    <a:pt x="22" y="10"/>
                  </a:cubicBezTo>
                  <a:cubicBezTo>
                    <a:pt x="26" y="0"/>
                    <a:pt x="19" y="7"/>
                    <a:pt x="15" y="10"/>
                  </a:cubicBezTo>
                  <a:cubicBezTo>
                    <a:pt x="9" y="7"/>
                    <a:pt x="10" y="10"/>
                    <a:pt x="9" y="4"/>
                  </a:cubicBezTo>
                  <a:close/>
                </a:path>
              </a:pathLst>
            </a:custGeom>
            <a:solidFill>
              <a:srgbClr val="A34735"/>
            </a:solidFill>
            <a:ln w="9525">
              <a:noFill/>
              <a:round/>
              <a:headEnd/>
              <a:tailEnd/>
            </a:ln>
          </p:spPr>
          <p:txBody>
            <a:bodyPr lIns="0" tIns="0" rIns="0" bIns="0" anchor="ctr"/>
            <a:lstStyle/>
            <a:p>
              <a:pPr defTabSz="912546"/>
              <a:endParaRPr>
                <a:solidFill>
                  <a:srgbClr val="000000"/>
                </a:solidFill>
              </a:endParaRPr>
            </a:p>
          </p:txBody>
        </p:sp>
        <p:sp>
          <p:nvSpPr>
            <p:cNvPr id="441647" name="Freeform 764"/>
            <p:cNvSpPr>
              <a:spLocks/>
            </p:cNvSpPr>
            <p:nvPr/>
          </p:nvSpPr>
          <p:spPr bwMode="gray">
            <a:xfrm>
              <a:off x="3828" y="2391"/>
              <a:ext cx="110" cy="89"/>
            </a:xfrm>
            <a:custGeom>
              <a:avLst/>
              <a:gdLst>
                <a:gd name="T0" fmla="*/ 343 w 93"/>
                <a:gd name="T1" fmla="*/ 475 h 75"/>
                <a:gd name="T2" fmla="*/ 0 w 93"/>
                <a:gd name="T3" fmla="*/ 553 h 75"/>
                <a:gd name="T4" fmla="*/ 0 w 93"/>
                <a:gd name="T5" fmla="*/ 609 h 75"/>
                <a:gd name="T6" fmla="*/ 343 w 93"/>
                <a:gd name="T7" fmla="*/ 699 h 75"/>
                <a:gd name="T8" fmla="*/ 768 w 93"/>
                <a:gd name="T9" fmla="*/ 529 h 75"/>
                <a:gd name="T10" fmla="*/ 822 w 93"/>
                <a:gd name="T11" fmla="*/ 0 h 75"/>
                <a:gd name="T12" fmla="*/ 392 w 93"/>
                <a:gd name="T13" fmla="*/ 142 h 75"/>
                <a:gd name="T14" fmla="*/ 343 w 93"/>
                <a:gd name="T15" fmla="*/ 475 h 75"/>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75"/>
                <a:gd name="T26" fmla="*/ 93 w 93"/>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75">
                  <a:moveTo>
                    <a:pt x="39" y="51"/>
                  </a:moveTo>
                  <a:lnTo>
                    <a:pt x="0" y="60"/>
                  </a:lnTo>
                  <a:lnTo>
                    <a:pt x="0" y="66"/>
                  </a:lnTo>
                  <a:lnTo>
                    <a:pt x="39" y="75"/>
                  </a:lnTo>
                  <a:lnTo>
                    <a:pt x="86" y="57"/>
                  </a:lnTo>
                  <a:lnTo>
                    <a:pt x="93" y="0"/>
                  </a:lnTo>
                  <a:lnTo>
                    <a:pt x="44" y="15"/>
                  </a:lnTo>
                  <a:lnTo>
                    <a:pt x="39" y="51"/>
                  </a:lnTo>
                  <a:close/>
                </a:path>
              </a:pathLst>
            </a:custGeom>
            <a:solidFill>
              <a:schemeClr val="accent2"/>
            </a:solidFill>
            <a:ln w="9525">
              <a:noFill/>
              <a:round/>
              <a:headEnd/>
              <a:tailEnd/>
            </a:ln>
          </p:spPr>
          <p:txBody>
            <a:bodyPr lIns="0" tIns="0" rIns="0" bIns="0" anchor="ctr"/>
            <a:lstStyle/>
            <a:p>
              <a:pPr defTabSz="912546"/>
              <a:endParaRPr>
                <a:solidFill>
                  <a:srgbClr val="000000"/>
                </a:solidFill>
              </a:endParaRPr>
            </a:p>
          </p:txBody>
        </p:sp>
        <p:sp>
          <p:nvSpPr>
            <p:cNvPr id="441648" name="Freeform 765"/>
            <p:cNvSpPr>
              <a:spLocks/>
            </p:cNvSpPr>
            <p:nvPr/>
          </p:nvSpPr>
          <p:spPr bwMode="gray">
            <a:xfrm>
              <a:off x="4032" y="2371"/>
              <a:ext cx="49" cy="39"/>
            </a:xfrm>
            <a:custGeom>
              <a:avLst/>
              <a:gdLst>
                <a:gd name="T0" fmla="*/ 441 w 40"/>
                <a:gd name="T1" fmla="*/ 0 h 33"/>
                <a:gd name="T2" fmla="*/ 1 w 40"/>
                <a:gd name="T3" fmla="*/ 48 h 33"/>
                <a:gd name="T4" fmla="*/ 58 w 40"/>
                <a:gd name="T5" fmla="*/ 154 h 33"/>
                <a:gd name="T6" fmla="*/ 134 w 40"/>
                <a:gd name="T7" fmla="*/ 290 h 33"/>
                <a:gd name="T8" fmla="*/ 301 w 40"/>
                <a:gd name="T9" fmla="*/ 215 h 33"/>
                <a:gd name="T10" fmla="*/ 452 w 40"/>
                <a:gd name="T11" fmla="*/ 130 h 33"/>
                <a:gd name="T12" fmla="*/ 441 w 40"/>
                <a:gd name="T13" fmla="*/ 0 h 33"/>
                <a:gd name="T14" fmla="*/ 0 60000 65536"/>
                <a:gd name="T15" fmla="*/ 0 60000 65536"/>
                <a:gd name="T16" fmla="*/ 0 60000 65536"/>
                <a:gd name="T17" fmla="*/ 0 60000 65536"/>
                <a:gd name="T18" fmla="*/ 0 60000 65536"/>
                <a:gd name="T19" fmla="*/ 0 60000 65536"/>
                <a:gd name="T20" fmla="*/ 0 60000 65536"/>
                <a:gd name="T21" fmla="*/ 0 w 40"/>
                <a:gd name="T22" fmla="*/ 0 h 33"/>
                <a:gd name="T23" fmla="*/ 40 w 4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3">
                  <a:moveTo>
                    <a:pt x="31" y="0"/>
                  </a:moveTo>
                  <a:cubicBezTo>
                    <a:pt x="20" y="1"/>
                    <a:pt x="11" y="4"/>
                    <a:pt x="1" y="6"/>
                  </a:cubicBezTo>
                  <a:cubicBezTo>
                    <a:pt x="9" y="11"/>
                    <a:pt x="17" y="10"/>
                    <a:pt x="4" y="18"/>
                  </a:cubicBezTo>
                  <a:cubicBezTo>
                    <a:pt x="2" y="28"/>
                    <a:pt x="0" y="28"/>
                    <a:pt x="10" y="33"/>
                  </a:cubicBezTo>
                  <a:cubicBezTo>
                    <a:pt x="15" y="31"/>
                    <a:pt x="17" y="28"/>
                    <a:pt x="22" y="25"/>
                  </a:cubicBezTo>
                  <a:cubicBezTo>
                    <a:pt x="25" y="20"/>
                    <a:pt x="28" y="18"/>
                    <a:pt x="33" y="15"/>
                  </a:cubicBezTo>
                  <a:cubicBezTo>
                    <a:pt x="34" y="8"/>
                    <a:pt x="40" y="3"/>
                    <a:pt x="31" y="0"/>
                  </a:cubicBezTo>
                  <a:close/>
                </a:path>
              </a:pathLst>
            </a:custGeom>
            <a:solidFill>
              <a:srgbClr val="C9A381"/>
            </a:solidFill>
            <a:ln w="9525">
              <a:noFill/>
              <a:round/>
              <a:headEnd/>
              <a:tailEnd/>
            </a:ln>
          </p:spPr>
          <p:txBody>
            <a:bodyPr lIns="0" tIns="0" rIns="0" bIns="0" anchor="ctr"/>
            <a:lstStyle/>
            <a:p>
              <a:pPr defTabSz="912546"/>
              <a:endParaRPr>
                <a:solidFill>
                  <a:srgbClr val="000000"/>
                </a:solidFill>
              </a:endParaRPr>
            </a:p>
          </p:txBody>
        </p:sp>
        <p:sp>
          <p:nvSpPr>
            <p:cNvPr id="441649" name="Freeform 766"/>
            <p:cNvSpPr>
              <a:spLocks/>
            </p:cNvSpPr>
            <p:nvPr/>
          </p:nvSpPr>
          <p:spPr bwMode="gray">
            <a:xfrm>
              <a:off x="4146" y="2427"/>
              <a:ext cx="46" cy="32"/>
            </a:xfrm>
            <a:custGeom>
              <a:avLst/>
              <a:gdLst>
                <a:gd name="T0" fmla="*/ 208 w 39"/>
                <a:gd name="T1" fmla="*/ 1 h 26"/>
                <a:gd name="T2" fmla="*/ 55 w 39"/>
                <a:gd name="T3" fmla="*/ 111 h 26"/>
                <a:gd name="T4" fmla="*/ 29 w 39"/>
                <a:gd name="T5" fmla="*/ 273 h 26"/>
                <a:gd name="T6" fmla="*/ 107 w 39"/>
                <a:gd name="T7" fmla="*/ 256 h 26"/>
                <a:gd name="T8" fmla="*/ 289 w 39"/>
                <a:gd name="T9" fmla="*/ 169 h 26"/>
                <a:gd name="T10" fmla="*/ 208 w 39"/>
                <a:gd name="T11" fmla="*/ 1 h 26"/>
                <a:gd name="T12" fmla="*/ 0 60000 65536"/>
                <a:gd name="T13" fmla="*/ 0 60000 65536"/>
                <a:gd name="T14" fmla="*/ 0 60000 65536"/>
                <a:gd name="T15" fmla="*/ 0 60000 65536"/>
                <a:gd name="T16" fmla="*/ 0 60000 65536"/>
                <a:gd name="T17" fmla="*/ 0 60000 65536"/>
                <a:gd name="T18" fmla="*/ 0 w 39"/>
                <a:gd name="T19" fmla="*/ 0 h 26"/>
                <a:gd name="T20" fmla="*/ 39 w 3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39" h="26">
                  <a:moveTo>
                    <a:pt x="25" y="1"/>
                  </a:moveTo>
                  <a:cubicBezTo>
                    <a:pt x="19" y="5"/>
                    <a:pt x="14" y="5"/>
                    <a:pt x="7" y="7"/>
                  </a:cubicBezTo>
                  <a:cubicBezTo>
                    <a:pt x="0" y="12"/>
                    <a:pt x="8" y="11"/>
                    <a:pt x="3" y="19"/>
                  </a:cubicBezTo>
                  <a:cubicBezTo>
                    <a:pt x="8" y="26"/>
                    <a:pt x="7" y="20"/>
                    <a:pt x="13" y="17"/>
                  </a:cubicBezTo>
                  <a:cubicBezTo>
                    <a:pt x="24" y="21"/>
                    <a:pt x="26" y="15"/>
                    <a:pt x="34" y="11"/>
                  </a:cubicBezTo>
                  <a:cubicBezTo>
                    <a:pt x="39" y="0"/>
                    <a:pt x="25" y="10"/>
                    <a:pt x="25" y="1"/>
                  </a:cubicBezTo>
                  <a:close/>
                </a:path>
              </a:pathLst>
            </a:custGeom>
            <a:solidFill>
              <a:srgbClr val="C9A381"/>
            </a:solidFill>
            <a:ln w="9525">
              <a:noFill/>
              <a:round/>
              <a:headEnd/>
              <a:tailEnd/>
            </a:ln>
          </p:spPr>
          <p:txBody>
            <a:bodyPr lIns="0" tIns="0" rIns="0" bIns="0" anchor="ctr"/>
            <a:lstStyle/>
            <a:p>
              <a:pPr defTabSz="912546"/>
              <a:endParaRPr>
                <a:solidFill>
                  <a:srgbClr val="000000"/>
                </a:solidFill>
              </a:endParaRPr>
            </a:p>
          </p:txBody>
        </p:sp>
        <p:sp>
          <p:nvSpPr>
            <p:cNvPr id="441650" name="Freeform 767"/>
            <p:cNvSpPr>
              <a:spLocks/>
            </p:cNvSpPr>
            <p:nvPr/>
          </p:nvSpPr>
          <p:spPr bwMode="gray">
            <a:xfrm>
              <a:off x="3633" y="2478"/>
              <a:ext cx="577" cy="260"/>
            </a:xfrm>
            <a:custGeom>
              <a:avLst/>
              <a:gdLst>
                <a:gd name="T0" fmla="*/ 34 w 490"/>
                <a:gd name="T1" fmla="*/ 371 h 221"/>
                <a:gd name="T2" fmla="*/ 29 w 490"/>
                <a:gd name="T3" fmla="*/ 448 h 221"/>
                <a:gd name="T4" fmla="*/ 0 w 490"/>
                <a:gd name="T5" fmla="*/ 1206 h 221"/>
                <a:gd name="T6" fmla="*/ 85 w 490"/>
                <a:gd name="T7" fmla="*/ 1187 h 221"/>
                <a:gd name="T8" fmla="*/ 148 w 490"/>
                <a:gd name="T9" fmla="*/ 387 h 221"/>
                <a:gd name="T10" fmla="*/ 1122 w 490"/>
                <a:gd name="T11" fmla="*/ 871 h 221"/>
                <a:gd name="T12" fmla="*/ 1081 w 490"/>
                <a:gd name="T13" fmla="*/ 1833 h 221"/>
                <a:gd name="T14" fmla="*/ 1159 w 490"/>
                <a:gd name="T15" fmla="*/ 1788 h 221"/>
                <a:gd name="T16" fmla="*/ 1258 w 490"/>
                <a:gd name="T17" fmla="*/ 813 h 221"/>
                <a:gd name="T18" fmla="*/ 3975 w 490"/>
                <a:gd name="T19" fmla="*/ 65 h 221"/>
                <a:gd name="T20" fmla="*/ 3995 w 490"/>
                <a:gd name="T21" fmla="*/ 933 h 221"/>
                <a:gd name="T22" fmla="*/ 4068 w 490"/>
                <a:gd name="T23" fmla="*/ 871 h 221"/>
                <a:gd name="T24" fmla="*/ 4101 w 490"/>
                <a:gd name="T25" fmla="*/ 0 h 221"/>
                <a:gd name="T26" fmla="*/ 1159 w 490"/>
                <a:gd name="T27" fmla="*/ 808 h 221"/>
                <a:gd name="T28" fmla="*/ 77 w 490"/>
                <a:gd name="T29" fmla="*/ 335 h 221"/>
                <a:gd name="T30" fmla="*/ 34 w 490"/>
                <a:gd name="T31" fmla="*/ 371 h 2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0"/>
                <a:gd name="T49" fmla="*/ 0 h 221"/>
                <a:gd name="T50" fmla="*/ 490 w 490"/>
                <a:gd name="T51" fmla="*/ 221 h 2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0" h="221">
                  <a:moveTo>
                    <a:pt x="4" y="45"/>
                  </a:moveTo>
                  <a:cubicBezTo>
                    <a:pt x="3" y="53"/>
                    <a:pt x="3" y="50"/>
                    <a:pt x="3" y="54"/>
                  </a:cubicBezTo>
                  <a:lnTo>
                    <a:pt x="0" y="146"/>
                  </a:lnTo>
                  <a:lnTo>
                    <a:pt x="10" y="144"/>
                  </a:lnTo>
                  <a:lnTo>
                    <a:pt x="18" y="47"/>
                  </a:lnTo>
                  <a:lnTo>
                    <a:pt x="133" y="105"/>
                  </a:lnTo>
                  <a:lnTo>
                    <a:pt x="129" y="221"/>
                  </a:lnTo>
                  <a:lnTo>
                    <a:pt x="138" y="216"/>
                  </a:lnTo>
                  <a:lnTo>
                    <a:pt x="150" y="99"/>
                  </a:lnTo>
                  <a:lnTo>
                    <a:pt x="475" y="8"/>
                  </a:lnTo>
                  <a:lnTo>
                    <a:pt x="477" y="113"/>
                  </a:lnTo>
                  <a:lnTo>
                    <a:pt x="486" y="105"/>
                  </a:lnTo>
                  <a:lnTo>
                    <a:pt x="490" y="0"/>
                  </a:lnTo>
                  <a:lnTo>
                    <a:pt x="138" y="98"/>
                  </a:lnTo>
                  <a:lnTo>
                    <a:pt x="9" y="41"/>
                  </a:lnTo>
                  <a:lnTo>
                    <a:pt x="4" y="45"/>
                  </a:lnTo>
                  <a:close/>
                </a:path>
              </a:pathLst>
            </a:custGeom>
            <a:solidFill>
              <a:srgbClr val="6B4A31"/>
            </a:solidFill>
            <a:ln w="9525">
              <a:noFill/>
              <a:round/>
              <a:headEnd/>
              <a:tailEnd/>
            </a:ln>
          </p:spPr>
          <p:txBody>
            <a:bodyPr lIns="0" tIns="0" rIns="0" bIns="0" anchor="ctr"/>
            <a:lstStyle/>
            <a:p>
              <a:pPr defTabSz="912546"/>
              <a:endParaRPr>
                <a:solidFill>
                  <a:srgbClr val="000000"/>
                </a:solidFill>
              </a:endParaRPr>
            </a:p>
          </p:txBody>
        </p:sp>
        <p:sp>
          <p:nvSpPr>
            <p:cNvPr id="441651" name="Freeform 768"/>
            <p:cNvSpPr>
              <a:spLocks/>
            </p:cNvSpPr>
            <p:nvPr/>
          </p:nvSpPr>
          <p:spPr bwMode="gray">
            <a:xfrm>
              <a:off x="3622" y="2482"/>
              <a:ext cx="575" cy="256"/>
            </a:xfrm>
            <a:custGeom>
              <a:avLst/>
              <a:gdLst>
                <a:gd name="T0" fmla="*/ 30 w 487"/>
                <a:gd name="T1" fmla="*/ 1134 h 218"/>
                <a:gd name="T2" fmla="*/ 106 w 487"/>
                <a:gd name="T3" fmla="*/ 1164 h 218"/>
                <a:gd name="T4" fmla="*/ 130 w 487"/>
                <a:gd name="T5" fmla="*/ 334 h 218"/>
                <a:gd name="T6" fmla="*/ 1066 w 487"/>
                <a:gd name="T7" fmla="*/ 773 h 218"/>
                <a:gd name="T8" fmla="*/ 1142 w 487"/>
                <a:gd name="T9" fmla="*/ 1719 h 218"/>
                <a:gd name="T10" fmla="*/ 1217 w 487"/>
                <a:gd name="T11" fmla="*/ 1764 h 218"/>
                <a:gd name="T12" fmla="*/ 1257 w 487"/>
                <a:gd name="T13" fmla="*/ 745 h 218"/>
                <a:gd name="T14" fmla="*/ 4105 w 487"/>
                <a:gd name="T15" fmla="*/ 76 h 218"/>
                <a:gd name="T16" fmla="*/ 4137 w 487"/>
                <a:gd name="T17" fmla="*/ 844 h 218"/>
                <a:gd name="T18" fmla="*/ 4217 w 487"/>
                <a:gd name="T19" fmla="*/ 875 h 218"/>
                <a:gd name="T20" fmla="*/ 4226 w 487"/>
                <a:gd name="T21" fmla="*/ 0 h 218"/>
                <a:gd name="T22" fmla="*/ 1175 w 487"/>
                <a:gd name="T23" fmla="*/ 666 h 218"/>
                <a:gd name="T24" fmla="*/ 0 w 487"/>
                <a:gd name="T25" fmla="*/ 284 h 218"/>
                <a:gd name="T26" fmla="*/ 30 w 487"/>
                <a:gd name="T27" fmla="*/ 1134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7"/>
                <a:gd name="T43" fmla="*/ 0 h 218"/>
                <a:gd name="T44" fmla="*/ 487 w 487"/>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7" h="218">
                  <a:moveTo>
                    <a:pt x="3" y="140"/>
                  </a:moveTo>
                  <a:lnTo>
                    <a:pt x="12" y="144"/>
                  </a:lnTo>
                  <a:lnTo>
                    <a:pt x="15" y="41"/>
                  </a:lnTo>
                  <a:lnTo>
                    <a:pt x="124" y="95"/>
                  </a:lnTo>
                  <a:lnTo>
                    <a:pt x="132" y="213"/>
                  </a:lnTo>
                  <a:lnTo>
                    <a:pt x="141" y="218"/>
                  </a:lnTo>
                  <a:lnTo>
                    <a:pt x="145" y="92"/>
                  </a:lnTo>
                  <a:lnTo>
                    <a:pt x="474" y="9"/>
                  </a:lnTo>
                  <a:lnTo>
                    <a:pt x="477" y="105"/>
                  </a:lnTo>
                  <a:lnTo>
                    <a:pt x="486" y="108"/>
                  </a:lnTo>
                  <a:lnTo>
                    <a:pt x="487" y="0"/>
                  </a:lnTo>
                  <a:lnTo>
                    <a:pt x="136" y="83"/>
                  </a:lnTo>
                  <a:lnTo>
                    <a:pt x="0" y="35"/>
                  </a:lnTo>
                  <a:lnTo>
                    <a:pt x="3" y="140"/>
                  </a:lnTo>
                  <a:close/>
                </a:path>
              </a:pathLst>
            </a:custGeom>
            <a:solidFill>
              <a:srgbClr val="7B5539"/>
            </a:solidFill>
            <a:ln w="9525">
              <a:noFill/>
              <a:round/>
              <a:headEnd/>
              <a:tailEnd/>
            </a:ln>
          </p:spPr>
          <p:txBody>
            <a:bodyPr lIns="0" tIns="0" rIns="0" bIns="0" anchor="ctr"/>
            <a:lstStyle/>
            <a:p>
              <a:pPr defTabSz="912546"/>
              <a:endParaRPr>
                <a:solidFill>
                  <a:srgbClr val="000000"/>
                </a:solidFill>
              </a:endParaRPr>
            </a:p>
          </p:txBody>
        </p:sp>
        <p:sp>
          <p:nvSpPr>
            <p:cNvPr id="441652" name="Freeform 769"/>
            <p:cNvSpPr>
              <a:spLocks/>
            </p:cNvSpPr>
            <p:nvPr/>
          </p:nvSpPr>
          <p:spPr bwMode="gray">
            <a:xfrm>
              <a:off x="3615" y="2498"/>
              <a:ext cx="176" cy="110"/>
            </a:xfrm>
            <a:custGeom>
              <a:avLst/>
              <a:gdLst>
                <a:gd name="T0" fmla="*/ 0 w 148"/>
                <a:gd name="T1" fmla="*/ 0 h 93"/>
                <a:gd name="T2" fmla="*/ 1 w 148"/>
                <a:gd name="T3" fmla="*/ 207 h 93"/>
                <a:gd name="T4" fmla="*/ 1398 w 148"/>
                <a:gd name="T5" fmla="*/ 822 h 93"/>
                <a:gd name="T6" fmla="*/ 1407 w 148"/>
                <a:gd name="T7" fmla="*/ 497 h 93"/>
                <a:gd name="T8" fmla="*/ 0 w 148"/>
                <a:gd name="T9" fmla="*/ 0 h 93"/>
                <a:gd name="T10" fmla="*/ 0 60000 65536"/>
                <a:gd name="T11" fmla="*/ 0 60000 65536"/>
                <a:gd name="T12" fmla="*/ 0 60000 65536"/>
                <a:gd name="T13" fmla="*/ 0 60000 65536"/>
                <a:gd name="T14" fmla="*/ 0 60000 65536"/>
                <a:gd name="T15" fmla="*/ 0 w 148"/>
                <a:gd name="T16" fmla="*/ 0 h 93"/>
                <a:gd name="T17" fmla="*/ 148 w 148"/>
                <a:gd name="T18" fmla="*/ 93 h 93"/>
              </a:gdLst>
              <a:ahLst/>
              <a:cxnLst>
                <a:cxn ang="T10">
                  <a:pos x="T0" y="T1"/>
                </a:cxn>
                <a:cxn ang="T11">
                  <a:pos x="T2" y="T3"/>
                </a:cxn>
                <a:cxn ang="T12">
                  <a:pos x="T4" y="T5"/>
                </a:cxn>
                <a:cxn ang="T13">
                  <a:pos x="T6" y="T7"/>
                </a:cxn>
                <a:cxn ang="T14">
                  <a:pos x="T8" y="T9"/>
                </a:cxn>
              </a:cxnLst>
              <a:rect l="T15" t="T16" r="T17" b="T18"/>
              <a:pathLst>
                <a:path w="148" h="93">
                  <a:moveTo>
                    <a:pt x="0" y="0"/>
                  </a:moveTo>
                  <a:lnTo>
                    <a:pt x="1" y="24"/>
                  </a:lnTo>
                  <a:lnTo>
                    <a:pt x="147" y="93"/>
                  </a:lnTo>
                  <a:lnTo>
                    <a:pt x="148" y="57"/>
                  </a:lnTo>
                  <a:lnTo>
                    <a:pt x="0" y="0"/>
                  </a:lnTo>
                  <a:close/>
                </a:path>
              </a:pathLst>
            </a:custGeom>
            <a:solidFill>
              <a:srgbClr val="7B5539"/>
            </a:solidFill>
            <a:ln w="9525">
              <a:noFill/>
              <a:round/>
              <a:headEnd/>
              <a:tailEnd/>
            </a:ln>
          </p:spPr>
          <p:txBody>
            <a:bodyPr lIns="0" tIns="0" rIns="0" bIns="0" anchor="ctr"/>
            <a:lstStyle/>
            <a:p>
              <a:pPr defTabSz="912546"/>
              <a:endParaRPr>
                <a:solidFill>
                  <a:srgbClr val="000000"/>
                </a:solidFill>
              </a:endParaRPr>
            </a:p>
          </p:txBody>
        </p:sp>
        <p:sp>
          <p:nvSpPr>
            <p:cNvPr id="441653" name="Freeform 770"/>
            <p:cNvSpPr>
              <a:spLocks/>
            </p:cNvSpPr>
            <p:nvPr/>
          </p:nvSpPr>
          <p:spPr bwMode="gray">
            <a:xfrm>
              <a:off x="3787" y="2460"/>
              <a:ext cx="427" cy="139"/>
            </a:xfrm>
            <a:custGeom>
              <a:avLst/>
              <a:gdLst>
                <a:gd name="T0" fmla="*/ 3096 w 362"/>
                <a:gd name="T1" fmla="*/ 0 h 120"/>
                <a:gd name="T2" fmla="*/ 3096 w 362"/>
                <a:gd name="T3" fmla="*/ 161 h 120"/>
                <a:gd name="T4" fmla="*/ 0 w 362"/>
                <a:gd name="T5" fmla="*/ 806 h 120"/>
                <a:gd name="T6" fmla="*/ 2 w 362"/>
                <a:gd name="T7" fmla="*/ 601 h 120"/>
                <a:gd name="T8" fmla="*/ 3096 w 362"/>
                <a:gd name="T9" fmla="*/ 0 h 120"/>
                <a:gd name="T10" fmla="*/ 0 60000 65536"/>
                <a:gd name="T11" fmla="*/ 0 60000 65536"/>
                <a:gd name="T12" fmla="*/ 0 60000 65536"/>
                <a:gd name="T13" fmla="*/ 0 60000 65536"/>
                <a:gd name="T14" fmla="*/ 0 60000 65536"/>
                <a:gd name="T15" fmla="*/ 0 w 362"/>
                <a:gd name="T16" fmla="*/ 0 h 120"/>
                <a:gd name="T17" fmla="*/ 362 w 362"/>
                <a:gd name="T18" fmla="*/ 120 h 120"/>
              </a:gdLst>
              <a:ahLst/>
              <a:cxnLst>
                <a:cxn ang="T10">
                  <a:pos x="T0" y="T1"/>
                </a:cxn>
                <a:cxn ang="T11">
                  <a:pos x="T2" y="T3"/>
                </a:cxn>
                <a:cxn ang="T12">
                  <a:pos x="T4" y="T5"/>
                </a:cxn>
                <a:cxn ang="T13">
                  <a:pos x="T6" y="T7"/>
                </a:cxn>
                <a:cxn ang="T14">
                  <a:pos x="T8" y="T9"/>
                </a:cxn>
              </a:cxnLst>
              <a:rect l="T15" t="T16" r="T17" b="T18"/>
              <a:pathLst>
                <a:path w="362" h="120">
                  <a:moveTo>
                    <a:pt x="362" y="0"/>
                  </a:moveTo>
                  <a:lnTo>
                    <a:pt x="362" y="24"/>
                  </a:lnTo>
                  <a:lnTo>
                    <a:pt x="0" y="120"/>
                  </a:lnTo>
                  <a:lnTo>
                    <a:pt x="2" y="90"/>
                  </a:lnTo>
                  <a:lnTo>
                    <a:pt x="362" y="0"/>
                  </a:lnTo>
                  <a:close/>
                </a:path>
              </a:pathLst>
            </a:custGeom>
            <a:solidFill>
              <a:srgbClr val="6B4A31"/>
            </a:solidFill>
            <a:ln w="9525">
              <a:noFill/>
              <a:round/>
              <a:headEnd/>
              <a:tailEnd/>
            </a:ln>
          </p:spPr>
          <p:txBody>
            <a:bodyPr lIns="0" tIns="0" rIns="0" bIns="0" anchor="ctr"/>
            <a:lstStyle/>
            <a:p>
              <a:pPr defTabSz="912546"/>
              <a:endParaRPr>
                <a:solidFill>
                  <a:srgbClr val="000000"/>
                </a:solidFill>
              </a:endParaRPr>
            </a:p>
          </p:txBody>
        </p:sp>
        <p:sp>
          <p:nvSpPr>
            <p:cNvPr id="441654" name="Freeform 771"/>
            <p:cNvSpPr>
              <a:spLocks/>
            </p:cNvSpPr>
            <p:nvPr/>
          </p:nvSpPr>
          <p:spPr bwMode="gray">
            <a:xfrm>
              <a:off x="3605" y="2451"/>
              <a:ext cx="613" cy="120"/>
            </a:xfrm>
            <a:custGeom>
              <a:avLst/>
              <a:gdLst>
                <a:gd name="T0" fmla="*/ 0 w 519"/>
                <a:gd name="T1" fmla="*/ 314 h 102"/>
                <a:gd name="T2" fmla="*/ 1310 w 519"/>
                <a:gd name="T3" fmla="*/ 839 h 102"/>
                <a:gd name="T4" fmla="*/ 4515 w 519"/>
                <a:gd name="T5" fmla="*/ 80 h 102"/>
                <a:gd name="T6" fmla="*/ 4501 w 519"/>
                <a:gd name="T7" fmla="*/ 0 h 102"/>
                <a:gd name="T8" fmla="*/ 1337 w 519"/>
                <a:gd name="T9" fmla="*/ 753 h 102"/>
                <a:gd name="T10" fmla="*/ 0 w 519"/>
                <a:gd name="T11" fmla="*/ 234 h 102"/>
                <a:gd name="T12" fmla="*/ 0 w 519"/>
                <a:gd name="T13" fmla="*/ 314 h 102"/>
                <a:gd name="T14" fmla="*/ 0 60000 65536"/>
                <a:gd name="T15" fmla="*/ 0 60000 65536"/>
                <a:gd name="T16" fmla="*/ 0 60000 65536"/>
                <a:gd name="T17" fmla="*/ 0 60000 65536"/>
                <a:gd name="T18" fmla="*/ 0 60000 65536"/>
                <a:gd name="T19" fmla="*/ 0 60000 65536"/>
                <a:gd name="T20" fmla="*/ 0 60000 65536"/>
                <a:gd name="T21" fmla="*/ 0 w 519"/>
                <a:gd name="T22" fmla="*/ 0 h 102"/>
                <a:gd name="T23" fmla="*/ 519 w 519"/>
                <a:gd name="T24" fmla="*/ 102 h 10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9" h="102">
                  <a:moveTo>
                    <a:pt x="0" y="37"/>
                  </a:moveTo>
                  <a:lnTo>
                    <a:pt x="151" y="102"/>
                  </a:lnTo>
                  <a:lnTo>
                    <a:pt x="519" y="10"/>
                  </a:lnTo>
                  <a:lnTo>
                    <a:pt x="517" y="0"/>
                  </a:lnTo>
                  <a:lnTo>
                    <a:pt x="153" y="91"/>
                  </a:lnTo>
                  <a:lnTo>
                    <a:pt x="0" y="28"/>
                  </a:lnTo>
                  <a:lnTo>
                    <a:pt x="0" y="37"/>
                  </a:lnTo>
                  <a:close/>
                </a:path>
              </a:pathLst>
            </a:custGeom>
            <a:solidFill>
              <a:srgbClr val="966846"/>
            </a:solidFill>
            <a:ln w="9525">
              <a:noFill/>
              <a:round/>
              <a:headEnd/>
              <a:tailEnd/>
            </a:ln>
          </p:spPr>
          <p:txBody>
            <a:bodyPr lIns="0" tIns="0" rIns="0" bIns="0" anchor="ctr"/>
            <a:lstStyle/>
            <a:p>
              <a:pPr defTabSz="912546"/>
              <a:endParaRPr>
                <a:solidFill>
                  <a:srgbClr val="000000"/>
                </a:solidFill>
              </a:endParaRPr>
            </a:p>
          </p:txBody>
        </p:sp>
        <p:sp>
          <p:nvSpPr>
            <p:cNvPr id="441655" name="Freeform 772"/>
            <p:cNvSpPr>
              <a:spLocks/>
            </p:cNvSpPr>
            <p:nvPr/>
          </p:nvSpPr>
          <p:spPr bwMode="gray">
            <a:xfrm>
              <a:off x="3713" y="2380"/>
              <a:ext cx="31" cy="80"/>
            </a:xfrm>
            <a:custGeom>
              <a:avLst/>
              <a:gdLst>
                <a:gd name="T0" fmla="*/ 3 w 27"/>
                <a:gd name="T1" fmla="*/ 34 h 68"/>
                <a:gd name="T2" fmla="*/ 72 w 27"/>
                <a:gd name="T3" fmla="*/ 65 h 68"/>
                <a:gd name="T4" fmla="*/ 125 w 27"/>
                <a:gd name="T5" fmla="*/ 511 h 68"/>
                <a:gd name="T6" fmla="*/ 34 w 27"/>
                <a:gd name="T7" fmla="*/ 565 h 68"/>
                <a:gd name="T8" fmla="*/ 30 w 27"/>
                <a:gd name="T9" fmla="*/ 80 h 68"/>
                <a:gd name="T10" fmla="*/ 0 w 27"/>
                <a:gd name="T11" fmla="*/ 55 h 68"/>
                <a:gd name="T12" fmla="*/ 3 w 27"/>
                <a:gd name="T13" fmla="*/ 34 h 68"/>
                <a:gd name="T14" fmla="*/ 0 60000 65536"/>
                <a:gd name="T15" fmla="*/ 0 60000 65536"/>
                <a:gd name="T16" fmla="*/ 0 60000 65536"/>
                <a:gd name="T17" fmla="*/ 0 60000 65536"/>
                <a:gd name="T18" fmla="*/ 0 60000 65536"/>
                <a:gd name="T19" fmla="*/ 0 60000 65536"/>
                <a:gd name="T20" fmla="*/ 0 60000 65536"/>
                <a:gd name="T21" fmla="*/ 0 w 27"/>
                <a:gd name="T22" fmla="*/ 0 h 68"/>
                <a:gd name="T23" fmla="*/ 27 w 2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68">
                  <a:moveTo>
                    <a:pt x="3" y="4"/>
                  </a:moveTo>
                  <a:cubicBezTo>
                    <a:pt x="8" y="2"/>
                    <a:pt x="16" y="0"/>
                    <a:pt x="12" y="8"/>
                  </a:cubicBezTo>
                  <a:cubicBezTo>
                    <a:pt x="15" y="15"/>
                    <a:pt x="19" y="54"/>
                    <a:pt x="21" y="61"/>
                  </a:cubicBezTo>
                  <a:cubicBezTo>
                    <a:pt x="15" y="65"/>
                    <a:pt x="27" y="64"/>
                    <a:pt x="6" y="68"/>
                  </a:cubicBezTo>
                  <a:cubicBezTo>
                    <a:pt x="6" y="49"/>
                    <a:pt x="7" y="29"/>
                    <a:pt x="5" y="10"/>
                  </a:cubicBezTo>
                  <a:cubicBezTo>
                    <a:pt x="5" y="8"/>
                    <a:pt x="0" y="9"/>
                    <a:pt x="0" y="7"/>
                  </a:cubicBezTo>
                  <a:cubicBezTo>
                    <a:pt x="0" y="6"/>
                    <a:pt x="3" y="3"/>
                    <a:pt x="3" y="4"/>
                  </a:cubicBezTo>
                  <a:close/>
                </a:path>
              </a:pathLst>
            </a:custGeom>
            <a:solidFill>
              <a:schemeClr val="hlink"/>
            </a:solidFill>
            <a:ln w="9525">
              <a:noFill/>
              <a:round/>
              <a:headEnd/>
              <a:tailEnd/>
            </a:ln>
          </p:spPr>
          <p:txBody>
            <a:bodyPr lIns="0" tIns="0" rIns="0" bIns="0" anchor="ctr"/>
            <a:lstStyle/>
            <a:p>
              <a:pPr defTabSz="912546"/>
              <a:endParaRPr>
                <a:solidFill>
                  <a:srgbClr val="000000"/>
                </a:solidFill>
              </a:endParaRPr>
            </a:p>
          </p:txBody>
        </p:sp>
        <p:sp>
          <p:nvSpPr>
            <p:cNvPr id="441656" name="Freeform 773"/>
            <p:cNvSpPr>
              <a:spLocks/>
            </p:cNvSpPr>
            <p:nvPr/>
          </p:nvSpPr>
          <p:spPr bwMode="gray">
            <a:xfrm>
              <a:off x="3950" y="2418"/>
              <a:ext cx="87" cy="42"/>
            </a:xfrm>
            <a:custGeom>
              <a:avLst/>
              <a:gdLst>
                <a:gd name="T0" fmla="*/ 0 w 76"/>
                <a:gd name="T1" fmla="*/ 219 h 36"/>
                <a:gd name="T2" fmla="*/ 270 w 76"/>
                <a:gd name="T3" fmla="*/ 264 h 36"/>
                <a:gd name="T4" fmla="*/ 438 w 76"/>
                <a:gd name="T5" fmla="*/ 57 h 36"/>
                <a:gd name="T6" fmla="*/ 236 w 76"/>
                <a:gd name="T7" fmla="*/ 0 h 36"/>
                <a:gd name="T8" fmla="*/ 0 w 76"/>
                <a:gd name="T9" fmla="*/ 219 h 36"/>
                <a:gd name="T10" fmla="*/ 0 60000 65536"/>
                <a:gd name="T11" fmla="*/ 0 60000 65536"/>
                <a:gd name="T12" fmla="*/ 0 60000 65536"/>
                <a:gd name="T13" fmla="*/ 0 60000 65536"/>
                <a:gd name="T14" fmla="*/ 0 60000 65536"/>
                <a:gd name="T15" fmla="*/ 0 w 76"/>
                <a:gd name="T16" fmla="*/ 0 h 36"/>
                <a:gd name="T17" fmla="*/ 76 w 76"/>
                <a:gd name="T18" fmla="*/ 36 h 36"/>
              </a:gdLst>
              <a:ahLst/>
              <a:cxnLst>
                <a:cxn ang="T10">
                  <a:pos x="T0" y="T1"/>
                </a:cxn>
                <a:cxn ang="T11">
                  <a:pos x="T2" y="T3"/>
                </a:cxn>
                <a:cxn ang="T12">
                  <a:pos x="T4" y="T5"/>
                </a:cxn>
                <a:cxn ang="T13">
                  <a:pos x="T6" y="T7"/>
                </a:cxn>
                <a:cxn ang="T14">
                  <a:pos x="T8" y="T9"/>
                </a:cxn>
              </a:cxnLst>
              <a:rect l="T15" t="T16" r="T17" b="T18"/>
              <a:pathLst>
                <a:path w="76" h="36">
                  <a:moveTo>
                    <a:pt x="0" y="29"/>
                  </a:moveTo>
                  <a:lnTo>
                    <a:pt x="46" y="36"/>
                  </a:lnTo>
                  <a:lnTo>
                    <a:pt x="76" y="8"/>
                  </a:lnTo>
                  <a:lnTo>
                    <a:pt x="40" y="0"/>
                  </a:lnTo>
                  <a:lnTo>
                    <a:pt x="0" y="29"/>
                  </a:lnTo>
                  <a:close/>
                </a:path>
              </a:pathLst>
            </a:custGeom>
            <a:solidFill>
              <a:srgbClr val="DDDDDD"/>
            </a:solidFill>
            <a:ln w="9525">
              <a:noFill/>
              <a:round/>
              <a:headEnd/>
              <a:tailEnd/>
            </a:ln>
          </p:spPr>
          <p:txBody>
            <a:bodyPr lIns="0" tIns="0" rIns="0" bIns="0" anchor="ctr"/>
            <a:lstStyle/>
            <a:p>
              <a:pPr defTabSz="912546"/>
              <a:endParaRPr>
                <a:solidFill>
                  <a:srgbClr val="000000"/>
                </a:solidFill>
              </a:endParaRPr>
            </a:p>
          </p:txBody>
        </p:sp>
        <p:sp>
          <p:nvSpPr>
            <p:cNvPr id="441657" name="Freeform 774"/>
            <p:cNvSpPr>
              <a:spLocks/>
            </p:cNvSpPr>
            <p:nvPr/>
          </p:nvSpPr>
          <p:spPr bwMode="gray">
            <a:xfrm>
              <a:off x="3981" y="2432"/>
              <a:ext cx="89" cy="42"/>
            </a:xfrm>
            <a:custGeom>
              <a:avLst/>
              <a:gdLst>
                <a:gd name="T0" fmla="*/ 0 w 77"/>
                <a:gd name="T1" fmla="*/ 340 h 35"/>
                <a:gd name="T2" fmla="*/ 334 w 77"/>
                <a:gd name="T3" fmla="*/ 372 h 35"/>
                <a:gd name="T4" fmla="*/ 507 w 77"/>
                <a:gd name="T5" fmla="*/ 50 h 35"/>
                <a:gd name="T6" fmla="*/ 247 w 77"/>
                <a:gd name="T7" fmla="*/ 0 h 35"/>
                <a:gd name="T8" fmla="*/ 0 w 77"/>
                <a:gd name="T9" fmla="*/ 340 h 35"/>
                <a:gd name="T10" fmla="*/ 0 60000 65536"/>
                <a:gd name="T11" fmla="*/ 0 60000 65536"/>
                <a:gd name="T12" fmla="*/ 0 60000 65536"/>
                <a:gd name="T13" fmla="*/ 0 60000 65536"/>
                <a:gd name="T14" fmla="*/ 0 60000 65536"/>
                <a:gd name="T15" fmla="*/ 0 w 77"/>
                <a:gd name="T16" fmla="*/ 0 h 35"/>
                <a:gd name="T17" fmla="*/ 77 w 77"/>
                <a:gd name="T18" fmla="*/ 35 h 35"/>
              </a:gdLst>
              <a:ahLst/>
              <a:cxnLst>
                <a:cxn ang="T10">
                  <a:pos x="T0" y="T1"/>
                </a:cxn>
                <a:cxn ang="T11">
                  <a:pos x="T2" y="T3"/>
                </a:cxn>
                <a:cxn ang="T12">
                  <a:pos x="T4" y="T5"/>
                </a:cxn>
                <a:cxn ang="T13">
                  <a:pos x="T6" y="T7"/>
                </a:cxn>
                <a:cxn ang="T14">
                  <a:pos x="T8" y="T9"/>
                </a:cxn>
              </a:cxnLst>
              <a:rect l="T15" t="T16" r="T17" b="T18"/>
              <a:pathLst>
                <a:path w="77" h="35">
                  <a:moveTo>
                    <a:pt x="0" y="32"/>
                  </a:moveTo>
                  <a:lnTo>
                    <a:pt x="51" y="35"/>
                  </a:lnTo>
                  <a:lnTo>
                    <a:pt x="77" y="5"/>
                  </a:lnTo>
                  <a:lnTo>
                    <a:pt x="37" y="0"/>
                  </a:lnTo>
                  <a:lnTo>
                    <a:pt x="0" y="32"/>
                  </a:lnTo>
                  <a:close/>
                </a:path>
              </a:pathLst>
            </a:custGeom>
            <a:solidFill>
              <a:srgbClr val="F8F8F8"/>
            </a:solidFill>
            <a:ln w="9525">
              <a:noFill/>
              <a:round/>
              <a:headEnd/>
              <a:tailEnd/>
            </a:ln>
          </p:spPr>
          <p:txBody>
            <a:bodyPr lIns="0" tIns="0" rIns="0" bIns="0" anchor="ctr"/>
            <a:lstStyle/>
            <a:p>
              <a:pPr defTabSz="912546"/>
              <a:endParaRPr>
                <a:solidFill>
                  <a:srgbClr val="000000"/>
                </a:solidFill>
              </a:endParaRPr>
            </a:p>
          </p:txBody>
        </p:sp>
        <p:sp>
          <p:nvSpPr>
            <p:cNvPr id="441658" name="Freeform 775"/>
            <p:cNvSpPr>
              <a:spLocks/>
            </p:cNvSpPr>
            <p:nvPr/>
          </p:nvSpPr>
          <p:spPr bwMode="gray">
            <a:xfrm>
              <a:off x="3763" y="2451"/>
              <a:ext cx="97" cy="54"/>
            </a:xfrm>
            <a:custGeom>
              <a:avLst/>
              <a:gdLst>
                <a:gd name="T0" fmla="*/ 0 w 83"/>
                <a:gd name="T1" fmla="*/ 190 h 45"/>
                <a:gd name="T2" fmla="*/ 235 w 83"/>
                <a:gd name="T3" fmla="*/ 0 h 45"/>
                <a:gd name="T4" fmla="*/ 623 w 83"/>
                <a:gd name="T5" fmla="*/ 222 h 45"/>
                <a:gd name="T6" fmla="*/ 363 w 83"/>
                <a:gd name="T7" fmla="*/ 487 h 45"/>
                <a:gd name="T8" fmla="*/ 0 w 83"/>
                <a:gd name="T9" fmla="*/ 190 h 45"/>
                <a:gd name="T10" fmla="*/ 0 60000 65536"/>
                <a:gd name="T11" fmla="*/ 0 60000 65536"/>
                <a:gd name="T12" fmla="*/ 0 60000 65536"/>
                <a:gd name="T13" fmla="*/ 0 60000 65536"/>
                <a:gd name="T14" fmla="*/ 0 60000 65536"/>
                <a:gd name="T15" fmla="*/ 0 w 83"/>
                <a:gd name="T16" fmla="*/ 0 h 45"/>
                <a:gd name="T17" fmla="*/ 83 w 83"/>
                <a:gd name="T18" fmla="*/ 45 h 45"/>
              </a:gdLst>
              <a:ahLst/>
              <a:cxnLst>
                <a:cxn ang="T10">
                  <a:pos x="T0" y="T1"/>
                </a:cxn>
                <a:cxn ang="T11">
                  <a:pos x="T2" y="T3"/>
                </a:cxn>
                <a:cxn ang="T12">
                  <a:pos x="T4" y="T5"/>
                </a:cxn>
                <a:cxn ang="T13">
                  <a:pos x="T6" y="T7"/>
                </a:cxn>
                <a:cxn ang="T14">
                  <a:pos x="T8" y="T9"/>
                </a:cxn>
              </a:cxnLst>
              <a:rect l="T15" t="T16" r="T17" b="T18"/>
              <a:pathLst>
                <a:path w="83" h="45">
                  <a:moveTo>
                    <a:pt x="0" y="18"/>
                  </a:moveTo>
                  <a:lnTo>
                    <a:pt x="32" y="0"/>
                  </a:lnTo>
                  <a:lnTo>
                    <a:pt x="83" y="21"/>
                  </a:lnTo>
                  <a:lnTo>
                    <a:pt x="48" y="45"/>
                  </a:lnTo>
                  <a:lnTo>
                    <a:pt x="0" y="18"/>
                  </a:lnTo>
                  <a:close/>
                </a:path>
              </a:pathLst>
            </a:custGeom>
            <a:solidFill>
              <a:schemeClr val="bg1"/>
            </a:solidFill>
            <a:ln w="9525">
              <a:noFill/>
              <a:round/>
              <a:headEnd/>
              <a:tailEnd/>
            </a:ln>
          </p:spPr>
          <p:txBody>
            <a:bodyPr lIns="0" tIns="0" rIns="0" bIns="0" anchor="ctr"/>
            <a:lstStyle/>
            <a:p>
              <a:pPr defTabSz="912546"/>
              <a:endParaRPr>
                <a:solidFill>
                  <a:srgbClr val="000000"/>
                </a:solidFill>
              </a:endParaRPr>
            </a:p>
          </p:txBody>
        </p:sp>
        <p:sp>
          <p:nvSpPr>
            <p:cNvPr id="441659" name="Freeform 776"/>
            <p:cNvSpPr>
              <a:spLocks/>
            </p:cNvSpPr>
            <p:nvPr/>
          </p:nvSpPr>
          <p:spPr bwMode="gray">
            <a:xfrm>
              <a:off x="3674" y="2403"/>
              <a:ext cx="36" cy="63"/>
            </a:xfrm>
            <a:custGeom>
              <a:avLst/>
              <a:gdLst>
                <a:gd name="T0" fmla="*/ 27 w 32"/>
                <a:gd name="T1" fmla="*/ 0 h 54"/>
                <a:gd name="T2" fmla="*/ 89 w 32"/>
                <a:gd name="T3" fmla="*/ 58 h 54"/>
                <a:gd name="T4" fmla="*/ 54 w 32"/>
                <a:gd name="T5" fmla="*/ 306 h 54"/>
                <a:gd name="T6" fmla="*/ 48 w 32"/>
                <a:gd name="T7" fmla="*/ 352 h 54"/>
                <a:gd name="T8" fmla="*/ 145 w 32"/>
                <a:gd name="T9" fmla="*/ 357 h 54"/>
                <a:gd name="T10" fmla="*/ 111 w 32"/>
                <a:gd name="T11" fmla="*/ 266 h 54"/>
                <a:gd name="T12" fmla="*/ 27 w 32"/>
                <a:gd name="T13" fmla="*/ 0 h 54"/>
                <a:gd name="T14" fmla="*/ 0 60000 65536"/>
                <a:gd name="T15" fmla="*/ 0 60000 65536"/>
                <a:gd name="T16" fmla="*/ 0 60000 65536"/>
                <a:gd name="T17" fmla="*/ 0 60000 65536"/>
                <a:gd name="T18" fmla="*/ 0 60000 65536"/>
                <a:gd name="T19" fmla="*/ 0 60000 65536"/>
                <a:gd name="T20" fmla="*/ 0 60000 65536"/>
                <a:gd name="T21" fmla="*/ 0 w 32"/>
                <a:gd name="T22" fmla="*/ 0 h 54"/>
                <a:gd name="T23" fmla="*/ 32 w 32"/>
                <a:gd name="T24" fmla="*/ 54 h 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54">
                  <a:moveTo>
                    <a:pt x="6" y="0"/>
                  </a:moveTo>
                  <a:cubicBezTo>
                    <a:pt x="11" y="2"/>
                    <a:pt x="15" y="5"/>
                    <a:pt x="20" y="8"/>
                  </a:cubicBezTo>
                  <a:cubicBezTo>
                    <a:pt x="16" y="19"/>
                    <a:pt x="24" y="34"/>
                    <a:pt x="12" y="41"/>
                  </a:cubicBezTo>
                  <a:cubicBezTo>
                    <a:pt x="10" y="44"/>
                    <a:pt x="0" y="54"/>
                    <a:pt x="11" y="47"/>
                  </a:cubicBezTo>
                  <a:cubicBezTo>
                    <a:pt x="19" y="48"/>
                    <a:pt x="24" y="51"/>
                    <a:pt x="32" y="48"/>
                  </a:cubicBezTo>
                  <a:cubicBezTo>
                    <a:pt x="23" y="46"/>
                    <a:pt x="23" y="45"/>
                    <a:pt x="24" y="36"/>
                  </a:cubicBezTo>
                  <a:cubicBezTo>
                    <a:pt x="22" y="14"/>
                    <a:pt x="26" y="5"/>
                    <a:pt x="6" y="0"/>
                  </a:cubicBezTo>
                  <a:close/>
                </a:path>
              </a:pathLst>
            </a:custGeom>
            <a:solidFill>
              <a:srgbClr val="AED9EE"/>
            </a:solidFill>
            <a:ln w="9525">
              <a:noFill/>
              <a:round/>
              <a:headEnd/>
              <a:tailEnd/>
            </a:ln>
          </p:spPr>
          <p:txBody>
            <a:bodyPr lIns="0" tIns="0" rIns="0" bIns="0" anchor="ctr"/>
            <a:lstStyle/>
            <a:p>
              <a:pPr defTabSz="912546"/>
              <a:endParaRPr>
                <a:solidFill>
                  <a:srgbClr val="000000"/>
                </a:solidFill>
              </a:endParaRPr>
            </a:p>
          </p:txBody>
        </p:sp>
        <p:sp>
          <p:nvSpPr>
            <p:cNvPr id="441660" name="Freeform 777"/>
            <p:cNvSpPr>
              <a:spLocks/>
            </p:cNvSpPr>
            <p:nvPr/>
          </p:nvSpPr>
          <p:spPr bwMode="gray">
            <a:xfrm>
              <a:off x="3699" y="2379"/>
              <a:ext cx="24" cy="24"/>
            </a:xfrm>
            <a:custGeom>
              <a:avLst/>
              <a:gdLst>
                <a:gd name="T0" fmla="*/ 51 w 19"/>
                <a:gd name="T1" fmla="*/ 0 h 21"/>
                <a:gd name="T2" fmla="*/ 163 w 19"/>
                <a:gd name="T3" fmla="*/ 119 h 21"/>
                <a:gd name="T4" fmla="*/ 206 w 19"/>
                <a:gd name="T5" fmla="*/ 83 h 21"/>
                <a:gd name="T6" fmla="*/ 51 w 19"/>
                <a:gd name="T7" fmla="*/ 0 h 21"/>
                <a:gd name="T8" fmla="*/ 0 60000 65536"/>
                <a:gd name="T9" fmla="*/ 0 60000 65536"/>
                <a:gd name="T10" fmla="*/ 0 60000 65536"/>
                <a:gd name="T11" fmla="*/ 0 60000 65536"/>
                <a:gd name="T12" fmla="*/ 0 w 19"/>
                <a:gd name="T13" fmla="*/ 0 h 21"/>
                <a:gd name="T14" fmla="*/ 19 w 19"/>
                <a:gd name="T15" fmla="*/ 21 h 21"/>
              </a:gdLst>
              <a:ahLst/>
              <a:cxnLst>
                <a:cxn ang="T8">
                  <a:pos x="T0" y="T1"/>
                </a:cxn>
                <a:cxn ang="T9">
                  <a:pos x="T2" y="T3"/>
                </a:cxn>
                <a:cxn ang="T10">
                  <a:pos x="T4" y="T5"/>
                </a:cxn>
                <a:cxn ang="T11">
                  <a:pos x="T6" y="T7"/>
                </a:cxn>
              </a:cxnLst>
              <a:rect l="T12" t="T13" r="T14" b="T15"/>
              <a:pathLst>
                <a:path w="19" h="21">
                  <a:moveTo>
                    <a:pt x="2" y="0"/>
                  </a:moveTo>
                  <a:cubicBezTo>
                    <a:pt x="1" y="9"/>
                    <a:pt x="1" y="16"/>
                    <a:pt x="8" y="21"/>
                  </a:cubicBezTo>
                  <a:cubicBezTo>
                    <a:pt x="12" y="19"/>
                    <a:pt x="19" y="10"/>
                    <a:pt x="10" y="15"/>
                  </a:cubicBezTo>
                  <a:cubicBezTo>
                    <a:pt x="3" y="12"/>
                    <a:pt x="0" y="8"/>
                    <a:pt x="2" y="0"/>
                  </a:cubicBezTo>
                  <a:close/>
                </a:path>
              </a:pathLst>
            </a:custGeom>
            <a:solidFill>
              <a:srgbClr val="AED9EE"/>
            </a:solidFill>
            <a:ln w="9525">
              <a:noFill/>
              <a:round/>
              <a:headEnd/>
              <a:tailEnd/>
            </a:ln>
          </p:spPr>
          <p:txBody>
            <a:bodyPr lIns="0" tIns="0" rIns="0" bIns="0" anchor="ctr"/>
            <a:lstStyle/>
            <a:p>
              <a:pPr defTabSz="912546"/>
              <a:endParaRPr>
                <a:solidFill>
                  <a:srgbClr val="000000"/>
                </a:solidFill>
              </a:endParaRPr>
            </a:p>
          </p:txBody>
        </p:sp>
        <p:sp>
          <p:nvSpPr>
            <p:cNvPr id="441661" name="Freeform 778"/>
            <p:cNvSpPr>
              <a:spLocks/>
            </p:cNvSpPr>
            <p:nvPr/>
          </p:nvSpPr>
          <p:spPr bwMode="gray">
            <a:xfrm>
              <a:off x="3722" y="2375"/>
              <a:ext cx="16" cy="26"/>
            </a:xfrm>
            <a:custGeom>
              <a:avLst/>
              <a:gdLst>
                <a:gd name="T0" fmla="*/ 56 w 14"/>
                <a:gd name="T1" fmla="*/ 2 h 21"/>
                <a:gd name="T2" fmla="*/ 56 w 14"/>
                <a:gd name="T3" fmla="*/ 319 h 21"/>
                <a:gd name="T4" fmla="*/ 56 w 14"/>
                <a:gd name="T5" fmla="*/ 2 h 21"/>
                <a:gd name="T6" fmla="*/ 0 60000 65536"/>
                <a:gd name="T7" fmla="*/ 0 60000 65536"/>
                <a:gd name="T8" fmla="*/ 0 60000 65536"/>
                <a:gd name="T9" fmla="*/ 0 w 14"/>
                <a:gd name="T10" fmla="*/ 0 h 21"/>
                <a:gd name="T11" fmla="*/ 14 w 14"/>
                <a:gd name="T12" fmla="*/ 21 h 21"/>
              </a:gdLst>
              <a:ahLst/>
              <a:cxnLst>
                <a:cxn ang="T6">
                  <a:pos x="T0" y="T1"/>
                </a:cxn>
                <a:cxn ang="T7">
                  <a:pos x="T2" y="T3"/>
                </a:cxn>
                <a:cxn ang="T8">
                  <a:pos x="T4" y="T5"/>
                </a:cxn>
              </a:cxnLst>
              <a:rect l="T9" t="T10" r="T11" b="T12"/>
              <a:pathLst>
                <a:path w="14" h="21">
                  <a:moveTo>
                    <a:pt x="10" y="2"/>
                  </a:moveTo>
                  <a:cubicBezTo>
                    <a:pt x="12" y="21"/>
                    <a:pt x="0" y="0"/>
                    <a:pt x="10" y="20"/>
                  </a:cubicBezTo>
                  <a:cubicBezTo>
                    <a:pt x="14" y="14"/>
                    <a:pt x="14" y="9"/>
                    <a:pt x="10" y="2"/>
                  </a:cubicBezTo>
                  <a:close/>
                </a:path>
              </a:pathLst>
            </a:custGeom>
            <a:solidFill>
              <a:srgbClr val="AED9EE"/>
            </a:solidFill>
            <a:ln w="9525">
              <a:noFill/>
              <a:round/>
              <a:headEnd/>
              <a:tailEnd/>
            </a:ln>
          </p:spPr>
          <p:txBody>
            <a:bodyPr lIns="0" tIns="0" rIns="0" bIns="0" anchor="ctr"/>
            <a:lstStyle/>
            <a:p>
              <a:pPr defTabSz="912546"/>
              <a:endParaRPr>
                <a:solidFill>
                  <a:srgbClr val="000000"/>
                </a:solidFill>
              </a:endParaRPr>
            </a:p>
          </p:txBody>
        </p:sp>
        <p:sp>
          <p:nvSpPr>
            <p:cNvPr id="441662" name="Freeform 779"/>
            <p:cNvSpPr>
              <a:spLocks/>
            </p:cNvSpPr>
            <p:nvPr/>
          </p:nvSpPr>
          <p:spPr bwMode="gray">
            <a:xfrm>
              <a:off x="3744" y="2387"/>
              <a:ext cx="48" cy="45"/>
            </a:xfrm>
            <a:custGeom>
              <a:avLst/>
              <a:gdLst>
                <a:gd name="T0" fmla="*/ 0 w 41"/>
                <a:gd name="T1" fmla="*/ 0 h 39"/>
                <a:gd name="T2" fmla="*/ 64 w 41"/>
                <a:gd name="T3" fmla="*/ 119 h 39"/>
                <a:gd name="T4" fmla="*/ 130 w 41"/>
                <a:gd name="T5" fmla="*/ 211 h 39"/>
                <a:gd name="T6" fmla="*/ 318 w 41"/>
                <a:gd name="T7" fmla="*/ 218 h 39"/>
                <a:gd name="T8" fmla="*/ 121 w 41"/>
                <a:gd name="T9" fmla="*/ 164 h 39"/>
                <a:gd name="T10" fmla="*/ 75 w 41"/>
                <a:gd name="T11" fmla="*/ 50 h 39"/>
                <a:gd name="T12" fmla="*/ 64 w 41"/>
                <a:gd name="T13" fmla="*/ 89 h 39"/>
                <a:gd name="T14" fmla="*/ 40 w 41"/>
                <a:gd name="T15" fmla="*/ 58 h 39"/>
                <a:gd name="T16" fmla="*/ 0 w 41"/>
                <a:gd name="T17" fmla="*/ 0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39"/>
                <a:gd name="T29" fmla="*/ 41 w 41"/>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39">
                  <a:moveTo>
                    <a:pt x="0" y="0"/>
                  </a:moveTo>
                  <a:cubicBezTo>
                    <a:pt x="4" y="6"/>
                    <a:pt x="5" y="12"/>
                    <a:pt x="8" y="18"/>
                  </a:cubicBezTo>
                  <a:cubicBezTo>
                    <a:pt x="9" y="25"/>
                    <a:pt x="10" y="32"/>
                    <a:pt x="17" y="33"/>
                  </a:cubicBezTo>
                  <a:cubicBezTo>
                    <a:pt x="26" y="39"/>
                    <a:pt x="31" y="37"/>
                    <a:pt x="41" y="35"/>
                  </a:cubicBezTo>
                  <a:cubicBezTo>
                    <a:pt x="34" y="31"/>
                    <a:pt x="23" y="28"/>
                    <a:pt x="15" y="26"/>
                  </a:cubicBezTo>
                  <a:cubicBezTo>
                    <a:pt x="14" y="20"/>
                    <a:pt x="12" y="14"/>
                    <a:pt x="9" y="8"/>
                  </a:cubicBezTo>
                  <a:cubicBezTo>
                    <a:pt x="9" y="10"/>
                    <a:pt x="10" y="14"/>
                    <a:pt x="8" y="14"/>
                  </a:cubicBezTo>
                  <a:cubicBezTo>
                    <a:pt x="6" y="14"/>
                    <a:pt x="6" y="11"/>
                    <a:pt x="5" y="9"/>
                  </a:cubicBezTo>
                  <a:cubicBezTo>
                    <a:pt x="3" y="6"/>
                    <a:pt x="0" y="0"/>
                    <a:pt x="0" y="0"/>
                  </a:cubicBezTo>
                  <a:close/>
                </a:path>
              </a:pathLst>
            </a:custGeom>
            <a:solidFill>
              <a:srgbClr val="AED9EE"/>
            </a:solidFill>
            <a:ln w="9525">
              <a:noFill/>
              <a:round/>
              <a:headEnd/>
              <a:tailEnd/>
            </a:ln>
          </p:spPr>
          <p:txBody>
            <a:bodyPr lIns="0" tIns="0" rIns="0" bIns="0" anchor="ctr"/>
            <a:lstStyle/>
            <a:p>
              <a:pPr defTabSz="912546"/>
              <a:endParaRPr>
                <a:solidFill>
                  <a:srgbClr val="000000"/>
                </a:solidFill>
              </a:endParaRPr>
            </a:p>
          </p:txBody>
        </p:sp>
        <p:sp>
          <p:nvSpPr>
            <p:cNvPr id="441663" name="Freeform 780"/>
            <p:cNvSpPr>
              <a:spLocks/>
            </p:cNvSpPr>
            <p:nvPr/>
          </p:nvSpPr>
          <p:spPr bwMode="gray">
            <a:xfrm>
              <a:off x="3668" y="2474"/>
              <a:ext cx="40" cy="14"/>
            </a:xfrm>
            <a:custGeom>
              <a:avLst/>
              <a:gdLst>
                <a:gd name="T0" fmla="*/ 0 w 33"/>
                <a:gd name="T1" fmla="*/ 3 h 13"/>
                <a:gd name="T2" fmla="*/ 223 w 33"/>
                <a:gd name="T3" fmla="*/ 24 h 13"/>
                <a:gd name="T4" fmla="*/ 362 w 33"/>
                <a:gd name="T5" fmla="*/ 0 h 13"/>
                <a:gd name="T6" fmla="*/ 396 w 33"/>
                <a:gd name="T7" fmla="*/ 30 h 13"/>
                <a:gd name="T8" fmla="*/ 125 w 33"/>
                <a:gd name="T9" fmla="*/ 24 h 13"/>
                <a:gd name="T10" fmla="*/ 0 w 33"/>
                <a:gd name="T11" fmla="*/ 3 h 13"/>
                <a:gd name="T12" fmla="*/ 0 60000 65536"/>
                <a:gd name="T13" fmla="*/ 0 60000 65536"/>
                <a:gd name="T14" fmla="*/ 0 60000 65536"/>
                <a:gd name="T15" fmla="*/ 0 60000 65536"/>
                <a:gd name="T16" fmla="*/ 0 60000 65536"/>
                <a:gd name="T17" fmla="*/ 0 60000 65536"/>
                <a:gd name="T18" fmla="*/ 0 w 33"/>
                <a:gd name="T19" fmla="*/ 0 h 13"/>
                <a:gd name="T20" fmla="*/ 33 w 3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33" h="13">
                  <a:moveTo>
                    <a:pt x="0" y="3"/>
                  </a:moveTo>
                  <a:cubicBezTo>
                    <a:pt x="6" y="7"/>
                    <a:pt x="11" y="7"/>
                    <a:pt x="18" y="9"/>
                  </a:cubicBezTo>
                  <a:cubicBezTo>
                    <a:pt x="24" y="4"/>
                    <a:pt x="22" y="1"/>
                    <a:pt x="30" y="0"/>
                  </a:cubicBezTo>
                  <a:cubicBezTo>
                    <a:pt x="25" y="6"/>
                    <a:pt x="27" y="8"/>
                    <a:pt x="33" y="12"/>
                  </a:cubicBezTo>
                  <a:cubicBezTo>
                    <a:pt x="26" y="13"/>
                    <a:pt x="18" y="10"/>
                    <a:pt x="10" y="9"/>
                  </a:cubicBezTo>
                  <a:cubicBezTo>
                    <a:pt x="6" y="7"/>
                    <a:pt x="5" y="3"/>
                    <a:pt x="0" y="3"/>
                  </a:cubicBezTo>
                  <a:close/>
                </a:path>
              </a:pathLst>
            </a:custGeom>
            <a:solidFill>
              <a:srgbClr val="AED9EE"/>
            </a:solidFill>
            <a:ln w="9525">
              <a:noFill/>
              <a:round/>
              <a:headEnd/>
              <a:tailEnd/>
            </a:ln>
          </p:spPr>
          <p:txBody>
            <a:bodyPr lIns="0" tIns="0" rIns="0" bIns="0" anchor="ctr"/>
            <a:lstStyle/>
            <a:p>
              <a:pPr defTabSz="912546"/>
              <a:endParaRPr>
                <a:solidFill>
                  <a:srgbClr val="000000"/>
                </a:solidFill>
              </a:endParaRPr>
            </a:p>
          </p:txBody>
        </p:sp>
        <p:sp>
          <p:nvSpPr>
            <p:cNvPr id="441664" name="Freeform 781"/>
            <p:cNvSpPr>
              <a:spLocks/>
            </p:cNvSpPr>
            <p:nvPr/>
          </p:nvSpPr>
          <p:spPr bwMode="gray">
            <a:xfrm>
              <a:off x="4073" y="2314"/>
              <a:ext cx="69" cy="77"/>
            </a:xfrm>
            <a:custGeom>
              <a:avLst/>
              <a:gdLst>
                <a:gd name="T0" fmla="*/ 454 w 59"/>
                <a:gd name="T1" fmla="*/ 60 h 67"/>
                <a:gd name="T2" fmla="*/ 418 w 59"/>
                <a:gd name="T3" fmla="*/ 179 h 67"/>
                <a:gd name="T4" fmla="*/ 272 w 59"/>
                <a:gd name="T5" fmla="*/ 282 h 67"/>
                <a:gd name="T6" fmla="*/ 164 w 59"/>
                <a:gd name="T7" fmla="*/ 324 h 67"/>
                <a:gd name="T8" fmla="*/ 75 w 59"/>
                <a:gd name="T9" fmla="*/ 299 h 67"/>
                <a:gd name="T10" fmla="*/ 0 w 59"/>
                <a:gd name="T11" fmla="*/ 360 h 67"/>
                <a:gd name="T12" fmla="*/ 88 w 59"/>
                <a:gd name="T13" fmla="*/ 372 h 67"/>
                <a:gd name="T14" fmla="*/ 195 w 59"/>
                <a:gd name="T15" fmla="*/ 331 h 67"/>
                <a:gd name="T16" fmla="*/ 418 w 59"/>
                <a:gd name="T17" fmla="*/ 237 h 67"/>
                <a:gd name="T18" fmla="*/ 454 w 59"/>
                <a:gd name="T19" fmla="*/ 156 h 67"/>
                <a:gd name="T20" fmla="*/ 435 w 59"/>
                <a:gd name="T21" fmla="*/ 2 h 67"/>
                <a:gd name="T22" fmla="*/ 427 w 59"/>
                <a:gd name="T23" fmla="*/ 39 h 67"/>
                <a:gd name="T24" fmla="*/ 454 w 59"/>
                <a:gd name="T25" fmla="*/ 6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9"/>
                <a:gd name="T40" fmla="*/ 0 h 67"/>
                <a:gd name="T41" fmla="*/ 59 w 59"/>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9" h="67">
                  <a:moveTo>
                    <a:pt x="59" y="10"/>
                  </a:moveTo>
                  <a:cubicBezTo>
                    <a:pt x="58" y="17"/>
                    <a:pt x="57" y="23"/>
                    <a:pt x="54" y="29"/>
                  </a:cubicBezTo>
                  <a:cubicBezTo>
                    <a:pt x="52" y="39"/>
                    <a:pt x="44" y="41"/>
                    <a:pt x="36" y="46"/>
                  </a:cubicBezTo>
                  <a:cubicBezTo>
                    <a:pt x="32" y="52"/>
                    <a:pt x="28" y="52"/>
                    <a:pt x="21" y="53"/>
                  </a:cubicBezTo>
                  <a:cubicBezTo>
                    <a:pt x="14" y="56"/>
                    <a:pt x="16" y="50"/>
                    <a:pt x="9" y="49"/>
                  </a:cubicBezTo>
                  <a:cubicBezTo>
                    <a:pt x="13" y="57"/>
                    <a:pt x="7" y="58"/>
                    <a:pt x="0" y="59"/>
                  </a:cubicBezTo>
                  <a:cubicBezTo>
                    <a:pt x="3" y="67"/>
                    <a:pt x="4" y="62"/>
                    <a:pt x="11" y="61"/>
                  </a:cubicBezTo>
                  <a:cubicBezTo>
                    <a:pt x="16" y="57"/>
                    <a:pt x="20" y="56"/>
                    <a:pt x="26" y="55"/>
                  </a:cubicBezTo>
                  <a:cubicBezTo>
                    <a:pt x="35" y="48"/>
                    <a:pt x="45" y="45"/>
                    <a:pt x="54" y="38"/>
                  </a:cubicBezTo>
                  <a:cubicBezTo>
                    <a:pt x="56" y="34"/>
                    <a:pt x="57" y="29"/>
                    <a:pt x="59" y="25"/>
                  </a:cubicBezTo>
                  <a:cubicBezTo>
                    <a:pt x="58" y="17"/>
                    <a:pt x="58" y="10"/>
                    <a:pt x="57" y="2"/>
                  </a:cubicBezTo>
                  <a:cubicBezTo>
                    <a:pt x="57" y="0"/>
                    <a:pt x="56" y="5"/>
                    <a:pt x="56" y="7"/>
                  </a:cubicBezTo>
                  <a:cubicBezTo>
                    <a:pt x="56" y="8"/>
                    <a:pt x="58" y="9"/>
                    <a:pt x="59" y="10"/>
                  </a:cubicBezTo>
                  <a:close/>
                </a:path>
              </a:pathLst>
            </a:custGeom>
            <a:solidFill>
              <a:srgbClr val="DDDDDD"/>
            </a:solidFill>
            <a:ln w="9525">
              <a:noFill/>
              <a:round/>
              <a:headEnd/>
              <a:tailEnd/>
            </a:ln>
          </p:spPr>
          <p:txBody>
            <a:bodyPr lIns="0" tIns="0" rIns="0" bIns="0" anchor="ctr"/>
            <a:lstStyle/>
            <a:p>
              <a:pPr defTabSz="912546"/>
              <a:endParaRPr>
                <a:solidFill>
                  <a:srgbClr val="000000"/>
                </a:solidFill>
              </a:endParaRPr>
            </a:p>
          </p:txBody>
        </p:sp>
        <p:sp>
          <p:nvSpPr>
            <p:cNvPr id="441665" name="Freeform 782"/>
            <p:cNvSpPr>
              <a:spLocks/>
            </p:cNvSpPr>
            <p:nvPr/>
          </p:nvSpPr>
          <p:spPr bwMode="gray">
            <a:xfrm>
              <a:off x="4146" y="2297"/>
              <a:ext cx="15" cy="18"/>
            </a:xfrm>
            <a:custGeom>
              <a:avLst/>
              <a:gdLst>
                <a:gd name="T0" fmla="*/ 73 w 13"/>
                <a:gd name="T1" fmla="*/ 0 h 16"/>
                <a:gd name="T2" fmla="*/ 28 w 13"/>
                <a:gd name="T3" fmla="*/ 69 h 16"/>
                <a:gd name="T4" fmla="*/ 43 w 13"/>
                <a:gd name="T5" fmla="*/ 43 h 16"/>
                <a:gd name="T6" fmla="*/ 84 w 13"/>
                <a:gd name="T7" fmla="*/ 38 h 16"/>
                <a:gd name="T8" fmla="*/ 73 w 13"/>
                <a:gd name="T9" fmla="*/ 0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11" y="0"/>
                  </a:moveTo>
                  <a:cubicBezTo>
                    <a:pt x="10" y="1"/>
                    <a:pt x="0" y="13"/>
                    <a:pt x="4" y="15"/>
                  </a:cubicBezTo>
                  <a:cubicBezTo>
                    <a:pt x="6" y="16"/>
                    <a:pt x="5" y="11"/>
                    <a:pt x="7" y="10"/>
                  </a:cubicBezTo>
                  <a:cubicBezTo>
                    <a:pt x="9" y="9"/>
                    <a:pt x="11" y="9"/>
                    <a:pt x="13" y="9"/>
                  </a:cubicBezTo>
                  <a:cubicBezTo>
                    <a:pt x="5" y="6"/>
                    <a:pt x="9" y="6"/>
                    <a:pt x="11" y="0"/>
                  </a:cubicBezTo>
                  <a:close/>
                </a:path>
              </a:pathLst>
            </a:custGeom>
            <a:solidFill>
              <a:srgbClr val="DDDDDD"/>
            </a:solidFill>
            <a:ln w="9525">
              <a:noFill/>
              <a:round/>
              <a:headEnd/>
              <a:tailEnd/>
            </a:ln>
          </p:spPr>
          <p:txBody>
            <a:bodyPr lIns="0" tIns="0" rIns="0" bIns="0" anchor="ctr"/>
            <a:lstStyle/>
            <a:p>
              <a:pPr defTabSz="912546"/>
              <a:endParaRPr>
                <a:solidFill>
                  <a:srgbClr val="000000"/>
                </a:solidFill>
              </a:endParaRPr>
            </a:p>
          </p:txBody>
        </p:sp>
        <p:sp>
          <p:nvSpPr>
            <p:cNvPr id="441666" name="Freeform 783"/>
            <p:cNvSpPr>
              <a:spLocks/>
            </p:cNvSpPr>
            <p:nvPr/>
          </p:nvSpPr>
          <p:spPr bwMode="gray">
            <a:xfrm>
              <a:off x="4164" y="2298"/>
              <a:ext cx="23" cy="21"/>
            </a:xfrm>
            <a:custGeom>
              <a:avLst/>
              <a:gdLst>
                <a:gd name="T0" fmla="*/ 40 w 19"/>
                <a:gd name="T1" fmla="*/ 42 h 18"/>
                <a:gd name="T2" fmla="*/ 151 w 19"/>
                <a:gd name="T3" fmla="*/ 132 h 18"/>
                <a:gd name="T4" fmla="*/ 235 w 19"/>
                <a:gd name="T5" fmla="*/ 3 h 18"/>
                <a:gd name="T6" fmla="*/ 183 w 19"/>
                <a:gd name="T7" fmla="*/ 89 h 18"/>
                <a:gd name="T8" fmla="*/ 40 w 19"/>
                <a:gd name="T9" fmla="*/ 42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3" y="6"/>
                  </a:moveTo>
                  <a:cubicBezTo>
                    <a:pt x="9" y="9"/>
                    <a:pt x="10" y="12"/>
                    <a:pt x="12" y="18"/>
                  </a:cubicBezTo>
                  <a:cubicBezTo>
                    <a:pt x="16" y="13"/>
                    <a:pt x="19" y="9"/>
                    <a:pt x="19" y="3"/>
                  </a:cubicBezTo>
                  <a:cubicBezTo>
                    <a:pt x="19" y="0"/>
                    <a:pt x="17" y="9"/>
                    <a:pt x="15" y="12"/>
                  </a:cubicBezTo>
                  <a:cubicBezTo>
                    <a:pt x="12" y="8"/>
                    <a:pt x="0" y="4"/>
                    <a:pt x="3" y="6"/>
                  </a:cubicBezTo>
                  <a:close/>
                </a:path>
              </a:pathLst>
            </a:custGeom>
            <a:solidFill>
              <a:srgbClr val="DDDDDD"/>
            </a:solidFill>
            <a:ln w="9525">
              <a:noFill/>
              <a:round/>
              <a:headEnd/>
              <a:tailEnd/>
            </a:ln>
          </p:spPr>
          <p:txBody>
            <a:bodyPr lIns="0" tIns="0" rIns="0" bIns="0" anchor="ctr"/>
            <a:lstStyle/>
            <a:p>
              <a:pPr defTabSz="912546"/>
              <a:endParaRPr>
                <a:solidFill>
                  <a:srgbClr val="000000"/>
                </a:solidFill>
              </a:endParaRPr>
            </a:p>
          </p:txBody>
        </p:sp>
        <p:sp>
          <p:nvSpPr>
            <p:cNvPr id="441667" name="Freeform 784"/>
            <p:cNvSpPr>
              <a:spLocks/>
            </p:cNvSpPr>
            <p:nvPr/>
          </p:nvSpPr>
          <p:spPr bwMode="gray">
            <a:xfrm>
              <a:off x="4157" y="2319"/>
              <a:ext cx="44" cy="81"/>
            </a:xfrm>
            <a:custGeom>
              <a:avLst/>
              <a:gdLst>
                <a:gd name="T0" fmla="*/ 483 w 36"/>
                <a:gd name="T1" fmla="*/ 2 h 69"/>
                <a:gd name="T2" fmla="*/ 361 w 36"/>
                <a:gd name="T3" fmla="*/ 110 h 69"/>
                <a:gd name="T4" fmla="*/ 493 w 36"/>
                <a:gd name="T5" fmla="*/ 430 h 69"/>
                <a:gd name="T6" fmla="*/ 395 w 36"/>
                <a:gd name="T7" fmla="*/ 436 h 69"/>
                <a:gd name="T8" fmla="*/ 444 w 36"/>
                <a:gd name="T9" fmla="*/ 461 h 69"/>
                <a:gd name="T10" fmla="*/ 395 w 36"/>
                <a:gd name="T11" fmla="*/ 473 h 69"/>
                <a:gd name="T12" fmla="*/ 243 w 36"/>
                <a:gd name="T13" fmla="*/ 555 h 69"/>
                <a:gd name="T14" fmla="*/ 264 w 36"/>
                <a:gd name="T15" fmla="*/ 514 h 69"/>
                <a:gd name="T16" fmla="*/ 295 w 36"/>
                <a:gd name="T17" fmla="*/ 316 h 69"/>
                <a:gd name="T18" fmla="*/ 323 w 36"/>
                <a:gd name="T19" fmla="*/ 236 h 69"/>
                <a:gd name="T20" fmla="*/ 310 w 36"/>
                <a:gd name="T21" fmla="*/ 122 h 69"/>
                <a:gd name="T22" fmla="*/ 310 w 36"/>
                <a:gd name="T23" fmla="*/ 0 h 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69"/>
                <a:gd name="T38" fmla="*/ 36 w 36"/>
                <a:gd name="T39" fmla="*/ 69 h 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69">
                  <a:moveTo>
                    <a:pt x="35" y="2"/>
                  </a:moveTo>
                  <a:cubicBezTo>
                    <a:pt x="31" y="7"/>
                    <a:pt x="27" y="7"/>
                    <a:pt x="26" y="14"/>
                  </a:cubicBezTo>
                  <a:cubicBezTo>
                    <a:pt x="27" y="23"/>
                    <a:pt x="26" y="48"/>
                    <a:pt x="36" y="53"/>
                  </a:cubicBezTo>
                  <a:cubicBezTo>
                    <a:pt x="34" y="53"/>
                    <a:pt x="30" y="52"/>
                    <a:pt x="29" y="54"/>
                  </a:cubicBezTo>
                  <a:cubicBezTo>
                    <a:pt x="28" y="55"/>
                    <a:pt x="33" y="55"/>
                    <a:pt x="33" y="57"/>
                  </a:cubicBezTo>
                  <a:cubicBezTo>
                    <a:pt x="33" y="58"/>
                    <a:pt x="30" y="58"/>
                    <a:pt x="29" y="59"/>
                  </a:cubicBezTo>
                  <a:cubicBezTo>
                    <a:pt x="25" y="64"/>
                    <a:pt x="25" y="68"/>
                    <a:pt x="18" y="69"/>
                  </a:cubicBezTo>
                  <a:cubicBezTo>
                    <a:pt x="0" y="67"/>
                    <a:pt x="14" y="66"/>
                    <a:pt x="20" y="65"/>
                  </a:cubicBezTo>
                  <a:cubicBezTo>
                    <a:pt x="31" y="60"/>
                    <a:pt x="32" y="45"/>
                    <a:pt x="21" y="39"/>
                  </a:cubicBezTo>
                  <a:cubicBezTo>
                    <a:pt x="13" y="29"/>
                    <a:pt x="21" y="45"/>
                    <a:pt x="24" y="30"/>
                  </a:cubicBezTo>
                  <a:cubicBezTo>
                    <a:pt x="23" y="23"/>
                    <a:pt x="20" y="21"/>
                    <a:pt x="23" y="15"/>
                  </a:cubicBezTo>
                  <a:cubicBezTo>
                    <a:pt x="24" y="10"/>
                    <a:pt x="23" y="0"/>
                    <a:pt x="23" y="0"/>
                  </a:cubicBezTo>
                </a:path>
              </a:pathLst>
            </a:custGeom>
            <a:solidFill>
              <a:srgbClr val="DDDDDD"/>
            </a:solidFill>
            <a:ln w="9525">
              <a:noFill/>
              <a:round/>
              <a:headEnd/>
              <a:tailEnd/>
            </a:ln>
          </p:spPr>
          <p:txBody>
            <a:bodyPr lIns="0" tIns="0" rIns="0" bIns="0" anchor="ctr"/>
            <a:lstStyle/>
            <a:p>
              <a:pPr defTabSz="912546"/>
              <a:endParaRPr>
                <a:solidFill>
                  <a:srgbClr val="000000"/>
                </a:solidFill>
              </a:endParaRPr>
            </a:p>
          </p:txBody>
        </p:sp>
        <p:sp>
          <p:nvSpPr>
            <p:cNvPr id="441668" name="Freeform 785"/>
            <p:cNvSpPr>
              <a:spLocks/>
            </p:cNvSpPr>
            <p:nvPr/>
          </p:nvSpPr>
          <p:spPr bwMode="gray">
            <a:xfrm>
              <a:off x="3706" y="2346"/>
              <a:ext cx="27" cy="13"/>
            </a:xfrm>
            <a:custGeom>
              <a:avLst/>
              <a:gdLst>
                <a:gd name="T0" fmla="*/ 84 w 24"/>
                <a:gd name="T1" fmla="*/ 1 h 13"/>
                <a:gd name="T2" fmla="*/ 0 w 24"/>
                <a:gd name="T3" fmla="*/ 10 h 13"/>
                <a:gd name="T4" fmla="*/ 60 w 24"/>
                <a:gd name="T5" fmla="*/ 4 h 13"/>
                <a:gd name="T6" fmla="*/ 95 w 24"/>
                <a:gd name="T7" fmla="*/ 2 h 13"/>
                <a:gd name="T8" fmla="*/ 84 w 24"/>
                <a:gd name="T9" fmla="*/ 1 h 13"/>
                <a:gd name="T10" fmla="*/ 0 60000 65536"/>
                <a:gd name="T11" fmla="*/ 0 60000 65536"/>
                <a:gd name="T12" fmla="*/ 0 60000 65536"/>
                <a:gd name="T13" fmla="*/ 0 60000 65536"/>
                <a:gd name="T14" fmla="*/ 0 60000 65536"/>
                <a:gd name="T15" fmla="*/ 0 w 24"/>
                <a:gd name="T16" fmla="*/ 0 h 13"/>
                <a:gd name="T17" fmla="*/ 24 w 24"/>
                <a:gd name="T18" fmla="*/ 13 h 13"/>
              </a:gdLst>
              <a:ahLst/>
              <a:cxnLst>
                <a:cxn ang="T10">
                  <a:pos x="T0" y="T1"/>
                </a:cxn>
                <a:cxn ang="T11">
                  <a:pos x="T2" y="T3"/>
                </a:cxn>
                <a:cxn ang="T12">
                  <a:pos x="T4" y="T5"/>
                </a:cxn>
                <a:cxn ang="T13">
                  <a:pos x="T6" y="T7"/>
                </a:cxn>
                <a:cxn ang="T14">
                  <a:pos x="T8" y="T9"/>
                </a:cxn>
              </a:cxnLst>
              <a:rect l="T15" t="T16" r="T17" b="T18"/>
              <a:pathLst>
                <a:path w="24" h="13">
                  <a:moveTo>
                    <a:pt x="18" y="1"/>
                  </a:moveTo>
                  <a:cubicBezTo>
                    <a:pt x="7" y="2"/>
                    <a:pt x="4" y="0"/>
                    <a:pt x="0" y="10"/>
                  </a:cubicBezTo>
                  <a:cubicBezTo>
                    <a:pt x="7" y="11"/>
                    <a:pt x="7" y="8"/>
                    <a:pt x="12" y="4"/>
                  </a:cubicBezTo>
                  <a:cubicBezTo>
                    <a:pt x="13" y="5"/>
                    <a:pt x="24" y="13"/>
                    <a:pt x="20" y="2"/>
                  </a:cubicBezTo>
                  <a:cubicBezTo>
                    <a:pt x="20" y="1"/>
                    <a:pt x="10" y="1"/>
                    <a:pt x="18" y="1"/>
                  </a:cubicBezTo>
                  <a:close/>
                </a:path>
              </a:pathLst>
            </a:custGeom>
            <a:solidFill>
              <a:srgbClr val="BE9168"/>
            </a:solidFill>
            <a:ln w="9525">
              <a:noFill/>
              <a:round/>
              <a:headEnd/>
              <a:tailEnd/>
            </a:ln>
          </p:spPr>
          <p:txBody>
            <a:bodyPr lIns="0" tIns="0" rIns="0" bIns="0" anchor="ctr"/>
            <a:lstStyle/>
            <a:p>
              <a:pPr defTabSz="912546"/>
              <a:endParaRPr>
                <a:solidFill>
                  <a:srgbClr val="000000"/>
                </a:solidFill>
              </a:endParaRPr>
            </a:p>
          </p:txBody>
        </p:sp>
        <p:sp>
          <p:nvSpPr>
            <p:cNvPr id="441669" name="Freeform 786"/>
            <p:cNvSpPr>
              <a:spLocks/>
            </p:cNvSpPr>
            <p:nvPr/>
          </p:nvSpPr>
          <p:spPr bwMode="gray">
            <a:xfrm>
              <a:off x="3706" y="2371"/>
              <a:ext cx="23" cy="18"/>
            </a:xfrm>
            <a:custGeom>
              <a:avLst/>
              <a:gdLst>
                <a:gd name="T0" fmla="*/ 121 w 20"/>
                <a:gd name="T1" fmla="*/ 30 h 16"/>
                <a:gd name="T2" fmla="*/ 3 w 20"/>
                <a:gd name="T3" fmla="*/ 70 h 16"/>
                <a:gd name="T4" fmla="*/ 105 w 20"/>
                <a:gd name="T5" fmla="*/ 48 h 16"/>
                <a:gd name="T6" fmla="*/ 121 w 20"/>
                <a:gd name="T7" fmla="*/ 30 h 16"/>
                <a:gd name="T8" fmla="*/ 0 60000 65536"/>
                <a:gd name="T9" fmla="*/ 0 60000 65536"/>
                <a:gd name="T10" fmla="*/ 0 60000 65536"/>
                <a:gd name="T11" fmla="*/ 0 60000 65536"/>
                <a:gd name="T12" fmla="*/ 0 w 20"/>
                <a:gd name="T13" fmla="*/ 0 h 16"/>
                <a:gd name="T14" fmla="*/ 20 w 20"/>
                <a:gd name="T15" fmla="*/ 16 h 16"/>
              </a:gdLst>
              <a:ahLst/>
              <a:cxnLst>
                <a:cxn ang="T8">
                  <a:pos x="T0" y="T1"/>
                </a:cxn>
                <a:cxn ang="T9">
                  <a:pos x="T2" y="T3"/>
                </a:cxn>
                <a:cxn ang="T10">
                  <a:pos x="T4" y="T5"/>
                </a:cxn>
                <a:cxn ang="T11">
                  <a:pos x="T6" y="T7"/>
                </a:cxn>
              </a:cxnLst>
              <a:rect l="T12" t="T13" r="T14" b="T15"/>
              <a:pathLst>
                <a:path w="20" h="16">
                  <a:moveTo>
                    <a:pt x="20" y="7"/>
                  </a:moveTo>
                  <a:cubicBezTo>
                    <a:pt x="2" y="4"/>
                    <a:pt x="0" y="0"/>
                    <a:pt x="3" y="16"/>
                  </a:cubicBezTo>
                  <a:cubicBezTo>
                    <a:pt x="7" y="9"/>
                    <a:pt x="9" y="10"/>
                    <a:pt x="17" y="11"/>
                  </a:cubicBezTo>
                  <a:cubicBezTo>
                    <a:pt x="18" y="10"/>
                    <a:pt x="20" y="7"/>
                    <a:pt x="20" y="7"/>
                  </a:cubicBezTo>
                  <a:close/>
                </a:path>
              </a:pathLst>
            </a:custGeom>
            <a:solidFill>
              <a:srgbClr val="BE9168"/>
            </a:solidFill>
            <a:ln w="9525">
              <a:noFill/>
              <a:round/>
              <a:headEnd/>
              <a:tailEnd/>
            </a:ln>
          </p:spPr>
          <p:txBody>
            <a:bodyPr lIns="0" tIns="0" rIns="0" bIns="0" anchor="ctr"/>
            <a:lstStyle/>
            <a:p>
              <a:pPr defTabSz="912546"/>
              <a:endParaRPr>
                <a:solidFill>
                  <a:srgbClr val="000000"/>
                </a:solidFill>
              </a:endParaRPr>
            </a:p>
          </p:txBody>
        </p:sp>
        <p:sp>
          <p:nvSpPr>
            <p:cNvPr id="441670" name="Freeform 787"/>
            <p:cNvSpPr>
              <a:spLocks/>
            </p:cNvSpPr>
            <p:nvPr/>
          </p:nvSpPr>
          <p:spPr bwMode="gray">
            <a:xfrm>
              <a:off x="3954" y="2229"/>
              <a:ext cx="27" cy="16"/>
            </a:xfrm>
            <a:custGeom>
              <a:avLst/>
              <a:gdLst>
                <a:gd name="T0" fmla="*/ 164 w 23"/>
                <a:gd name="T1" fmla="*/ 1 h 13"/>
                <a:gd name="T2" fmla="*/ 34 w 23"/>
                <a:gd name="T3" fmla="*/ 59 h 13"/>
                <a:gd name="T4" fmla="*/ 80 w 23"/>
                <a:gd name="T5" fmla="*/ 176 h 13"/>
                <a:gd name="T6" fmla="*/ 65 w 23"/>
                <a:gd name="T7" fmla="*/ 48 h 13"/>
                <a:gd name="T8" fmla="*/ 110 w 23"/>
                <a:gd name="T9" fmla="*/ 143 h 13"/>
                <a:gd name="T10" fmla="*/ 151 w 23"/>
                <a:gd name="T11" fmla="*/ 176 h 13"/>
                <a:gd name="T12" fmla="*/ 164 w 23"/>
                <a:gd name="T13" fmla="*/ 1 h 13"/>
                <a:gd name="T14" fmla="*/ 0 60000 65536"/>
                <a:gd name="T15" fmla="*/ 0 60000 65536"/>
                <a:gd name="T16" fmla="*/ 0 60000 65536"/>
                <a:gd name="T17" fmla="*/ 0 60000 65536"/>
                <a:gd name="T18" fmla="*/ 0 60000 65536"/>
                <a:gd name="T19" fmla="*/ 0 60000 65536"/>
                <a:gd name="T20" fmla="*/ 0 60000 65536"/>
                <a:gd name="T21" fmla="*/ 0 w 23"/>
                <a:gd name="T22" fmla="*/ 0 h 13"/>
                <a:gd name="T23" fmla="*/ 23 w 23"/>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3">
                  <a:moveTo>
                    <a:pt x="20" y="1"/>
                  </a:moveTo>
                  <a:cubicBezTo>
                    <a:pt x="13" y="0"/>
                    <a:pt x="10" y="0"/>
                    <a:pt x="4" y="4"/>
                  </a:cubicBezTo>
                  <a:cubicBezTo>
                    <a:pt x="0" y="11"/>
                    <a:pt x="2" y="13"/>
                    <a:pt x="10" y="12"/>
                  </a:cubicBezTo>
                  <a:cubicBezTo>
                    <a:pt x="10" y="11"/>
                    <a:pt x="13" y="3"/>
                    <a:pt x="8" y="3"/>
                  </a:cubicBezTo>
                  <a:cubicBezTo>
                    <a:pt x="5" y="3"/>
                    <a:pt x="11" y="9"/>
                    <a:pt x="14" y="10"/>
                  </a:cubicBezTo>
                  <a:cubicBezTo>
                    <a:pt x="16" y="11"/>
                    <a:pt x="17" y="11"/>
                    <a:pt x="19" y="12"/>
                  </a:cubicBezTo>
                  <a:cubicBezTo>
                    <a:pt x="23" y="5"/>
                    <a:pt x="23" y="9"/>
                    <a:pt x="20" y="1"/>
                  </a:cubicBezTo>
                  <a:close/>
                </a:path>
              </a:pathLst>
            </a:custGeom>
            <a:solidFill>
              <a:srgbClr val="CBA583"/>
            </a:solidFill>
            <a:ln w="9525">
              <a:noFill/>
              <a:round/>
              <a:headEnd/>
              <a:tailEnd/>
            </a:ln>
          </p:spPr>
          <p:txBody>
            <a:bodyPr lIns="0" tIns="0" rIns="0" bIns="0" anchor="ctr"/>
            <a:lstStyle/>
            <a:p>
              <a:pPr defTabSz="912546"/>
              <a:endParaRPr>
                <a:solidFill>
                  <a:srgbClr val="000000"/>
                </a:solidFill>
              </a:endParaRPr>
            </a:p>
          </p:txBody>
        </p:sp>
        <p:sp>
          <p:nvSpPr>
            <p:cNvPr id="441671" name="Freeform 788"/>
            <p:cNvSpPr>
              <a:spLocks/>
            </p:cNvSpPr>
            <p:nvPr/>
          </p:nvSpPr>
          <p:spPr bwMode="gray">
            <a:xfrm>
              <a:off x="3965" y="2251"/>
              <a:ext cx="16" cy="18"/>
            </a:xfrm>
            <a:custGeom>
              <a:avLst/>
              <a:gdLst>
                <a:gd name="T0" fmla="*/ 199 w 13"/>
                <a:gd name="T1" fmla="*/ 21 h 16"/>
                <a:gd name="T2" fmla="*/ 0 w 13"/>
                <a:gd name="T3" fmla="*/ 24 h 16"/>
                <a:gd name="T4" fmla="*/ 176 w 13"/>
                <a:gd name="T5" fmla="*/ 30 h 16"/>
                <a:gd name="T6" fmla="*/ 199 w 13"/>
                <a:gd name="T7" fmla="*/ 21 h 16"/>
                <a:gd name="T8" fmla="*/ 0 60000 65536"/>
                <a:gd name="T9" fmla="*/ 0 60000 65536"/>
                <a:gd name="T10" fmla="*/ 0 60000 65536"/>
                <a:gd name="T11" fmla="*/ 0 60000 65536"/>
                <a:gd name="T12" fmla="*/ 0 w 13"/>
                <a:gd name="T13" fmla="*/ 0 h 16"/>
                <a:gd name="T14" fmla="*/ 13 w 13"/>
                <a:gd name="T15" fmla="*/ 16 h 16"/>
              </a:gdLst>
              <a:ahLst/>
              <a:cxnLst>
                <a:cxn ang="T8">
                  <a:pos x="T0" y="T1"/>
                </a:cxn>
                <a:cxn ang="T9">
                  <a:pos x="T2" y="T3"/>
                </a:cxn>
                <a:cxn ang="T10">
                  <a:pos x="T4" y="T5"/>
                </a:cxn>
                <a:cxn ang="T11">
                  <a:pos x="T6" y="T7"/>
                </a:cxn>
              </a:cxnLst>
              <a:rect l="T12" t="T13" r="T14" b="T15"/>
              <a:pathLst>
                <a:path w="13" h="16">
                  <a:moveTo>
                    <a:pt x="13" y="4"/>
                  </a:moveTo>
                  <a:cubicBezTo>
                    <a:pt x="8" y="8"/>
                    <a:pt x="6" y="9"/>
                    <a:pt x="0" y="5"/>
                  </a:cubicBezTo>
                  <a:cubicBezTo>
                    <a:pt x="1" y="16"/>
                    <a:pt x="6" y="15"/>
                    <a:pt x="12" y="7"/>
                  </a:cubicBezTo>
                  <a:cubicBezTo>
                    <a:pt x="13" y="1"/>
                    <a:pt x="13" y="0"/>
                    <a:pt x="13" y="4"/>
                  </a:cubicBezTo>
                  <a:close/>
                </a:path>
              </a:pathLst>
            </a:custGeom>
            <a:solidFill>
              <a:srgbClr val="CBA583"/>
            </a:solidFill>
            <a:ln w="9525">
              <a:noFill/>
              <a:round/>
              <a:headEnd/>
              <a:tailEnd/>
            </a:ln>
          </p:spPr>
          <p:txBody>
            <a:bodyPr lIns="0" tIns="0" rIns="0" bIns="0" anchor="ctr"/>
            <a:lstStyle/>
            <a:p>
              <a:pPr defTabSz="912546"/>
              <a:endParaRPr>
                <a:solidFill>
                  <a:srgbClr val="000000"/>
                </a:solidFill>
              </a:endParaRPr>
            </a:p>
          </p:txBody>
        </p:sp>
        <p:grpSp>
          <p:nvGrpSpPr>
            <p:cNvPr id="265145" name="Group 789"/>
            <p:cNvGrpSpPr>
              <a:grpSpLocks/>
            </p:cNvGrpSpPr>
            <p:nvPr/>
          </p:nvGrpSpPr>
          <p:grpSpPr bwMode="gray">
            <a:xfrm>
              <a:off x="4146" y="2236"/>
              <a:ext cx="51" cy="66"/>
              <a:chOff x="2123" y="1767"/>
              <a:chExt cx="48" cy="63"/>
            </a:xfrm>
          </p:grpSpPr>
          <p:sp>
            <p:nvSpPr>
              <p:cNvPr id="441676" name="Freeform 790"/>
              <p:cNvSpPr>
                <a:spLocks/>
              </p:cNvSpPr>
              <p:nvPr/>
            </p:nvSpPr>
            <p:spPr bwMode="gray">
              <a:xfrm>
                <a:off x="2124" y="1767"/>
                <a:ext cx="47" cy="53"/>
              </a:xfrm>
              <a:custGeom>
                <a:avLst/>
                <a:gdLst>
                  <a:gd name="T0" fmla="*/ 24 w 47"/>
                  <a:gd name="T1" fmla="*/ 2 h 53"/>
                  <a:gd name="T2" fmla="*/ 0 w 47"/>
                  <a:gd name="T3" fmla="*/ 18 h 53"/>
                  <a:gd name="T4" fmla="*/ 11 w 47"/>
                  <a:gd name="T5" fmla="*/ 33 h 53"/>
                  <a:gd name="T6" fmla="*/ 17 w 47"/>
                  <a:gd name="T7" fmla="*/ 41 h 53"/>
                  <a:gd name="T8" fmla="*/ 20 w 47"/>
                  <a:gd name="T9" fmla="*/ 51 h 53"/>
                  <a:gd name="T10" fmla="*/ 26 w 47"/>
                  <a:gd name="T11" fmla="*/ 50 h 53"/>
                  <a:gd name="T12" fmla="*/ 30 w 47"/>
                  <a:gd name="T13" fmla="*/ 53 h 53"/>
                  <a:gd name="T14" fmla="*/ 44 w 47"/>
                  <a:gd name="T15" fmla="*/ 30 h 53"/>
                  <a:gd name="T16" fmla="*/ 30 w 47"/>
                  <a:gd name="T17" fmla="*/ 0 h 53"/>
                  <a:gd name="T18" fmla="*/ 24 w 47"/>
                  <a:gd name="T19" fmla="*/ 2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53"/>
                  <a:gd name="T32" fmla="*/ 47 w 47"/>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53">
                    <a:moveTo>
                      <a:pt x="24" y="2"/>
                    </a:moveTo>
                    <a:cubicBezTo>
                      <a:pt x="8" y="5"/>
                      <a:pt x="8" y="2"/>
                      <a:pt x="0" y="18"/>
                    </a:cubicBezTo>
                    <a:cubicBezTo>
                      <a:pt x="3" y="28"/>
                      <a:pt x="5" y="26"/>
                      <a:pt x="11" y="33"/>
                    </a:cubicBezTo>
                    <a:cubicBezTo>
                      <a:pt x="14" y="47"/>
                      <a:pt x="9" y="29"/>
                      <a:pt x="17" y="41"/>
                    </a:cubicBezTo>
                    <a:cubicBezTo>
                      <a:pt x="19" y="44"/>
                      <a:pt x="18" y="48"/>
                      <a:pt x="20" y="51"/>
                    </a:cubicBezTo>
                    <a:cubicBezTo>
                      <a:pt x="22" y="51"/>
                      <a:pt x="24" y="50"/>
                      <a:pt x="26" y="50"/>
                    </a:cubicBezTo>
                    <a:cubicBezTo>
                      <a:pt x="28" y="50"/>
                      <a:pt x="28" y="53"/>
                      <a:pt x="30" y="53"/>
                    </a:cubicBezTo>
                    <a:cubicBezTo>
                      <a:pt x="32" y="53"/>
                      <a:pt x="42" y="33"/>
                      <a:pt x="44" y="30"/>
                    </a:cubicBezTo>
                    <a:cubicBezTo>
                      <a:pt x="40" y="19"/>
                      <a:pt x="47" y="14"/>
                      <a:pt x="30" y="0"/>
                    </a:cubicBezTo>
                    <a:cubicBezTo>
                      <a:pt x="25" y="2"/>
                      <a:pt x="38" y="3"/>
                      <a:pt x="24" y="2"/>
                    </a:cubicBezTo>
                    <a:close/>
                  </a:path>
                </a:pathLst>
              </a:custGeom>
              <a:solidFill>
                <a:srgbClr val="A78525"/>
              </a:solidFill>
              <a:ln w="9525">
                <a:noFill/>
                <a:round/>
                <a:headEnd/>
                <a:tailEnd/>
              </a:ln>
            </p:spPr>
            <p:txBody>
              <a:bodyPr lIns="0" tIns="0" rIns="0" bIns="0" anchor="ctr"/>
              <a:lstStyle/>
              <a:p>
                <a:pPr defTabSz="912546"/>
                <a:endParaRPr>
                  <a:solidFill>
                    <a:srgbClr val="000000"/>
                  </a:solidFill>
                </a:endParaRPr>
              </a:p>
            </p:txBody>
          </p:sp>
          <p:sp>
            <p:nvSpPr>
              <p:cNvPr id="441677" name="Freeform 791"/>
              <p:cNvSpPr>
                <a:spLocks/>
              </p:cNvSpPr>
              <p:nvPr/>
            </p:nvSpPr>
            <p:spPr bwMode="gray">
              <a:xfrm>
                <a:off x="2123" y="1781"/>
                <a:ext cx="36" cy="49"/>
              </a:xfrm>
              <a:custGeom>
                <a:avLst/>
                <a:gdLst>
                  <a:gd name="T0" fmla="*/ 10 w 36"/>
                  <a:gd name="T1" fmla="*/ 0 h 49"/>
                  <a:gd name="T2" fmla="*/ 6 w 36"/>
                  <a:gd name="T3" fmla="*/ 13 h 49"/>
                  <a:gd name="T4" fmla="*/ 13 w 36"/>
                  <a:gd name="T5" fmla="*/ 39 h 49"/>
                  <a:gd name="T6" fmla="*/ 21 w 36"/>
                  <a:gd name="T7" fmla="*/ 49 h 49"/>
                  <a:gd name="T8" fmla="*/ 30 w 36"/>
                  <a:gd name="T9" fmla="*/ 37 h 49"/>
                  <a:gd name="T10" fmla="*/ 36 w 36"/>
                  <a:gd name="T11" fmla="*/ 19 h 49"/>
                  <a:gd name="T12" fmla="*/ 19 w 36"/>
                  <a:gd name="T13" fmla="*/ 0 h 49"/>
                  <a:gd name="T14" fmla="*/ 10 w 36"/>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9"/>
                  <a:gd name="T26" fmla="*/ 36 w 36"/>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9">
                    <a:moveTo>
                      <a:pt x="10" y="0"/>
                    </a:moveTo>
                    <a:cubicBezTo>
                      <a:pt x="5" y="5"/>
                      <a:pt x="3" y="7"/>
                      <a:pt x="6" y="13"/>
                    </a:cubicBezTo>
                    <a:cubicBezTo>
                      <a:pt x="8" y="23"/>
                      <a:pt x="0" y="33"/>
                      <a:pt x="13" y="39"/>
                    </a:cubicBezTo>
                    <a:cubicBezTo>
                      <a:pt x="16" y="45"/>
                      <a:pt x="14" y="48"/>
                      <a:pt x="21" y="49"/>
                    </a:cubicBezTo>
                    <a:cubicBezTo>
                      <a:pt x="25" y="44"/>
                      <a:pt x="28" y="43"/>
                      <a:pt x="30" y="37"/>
                    </a:cubicBezTo>
                    <a:cubicBezTo>
                      <a:pt x="26" y="30"/>
                      <a:pt x="32" y="25"/>
                      <a:pt x="36" y="19"/>
                    </a:cubicBezTo>
                    <a:cubicBezTo>
                      <a:pt x="28" y="14"/>
                      <a:pt x="28" y="6"/>
                      <a:pt x="19" y="0"/>
                    </a:cubicBezTo>
                    <a:cubicBezTo>
                      <a:pt x="12" y="1"/>
                      <a:pt x="15" y="2"/>
                      <a:pt x="10" y="0"/>
                    </a:cubicBezTo>
                    <a:close/>
                  </a:path>
                </a:pathLst>
              </a:custGeom>
              <a:solidFill>
                <a:srgbClr val="C9A381"/>
              </a:solidFill>
              <a:ln w="9525">
                <a:noFill/>
                <a:round/>
                <a:headEnd/>
                <a:tailEnd/>
              </a:ln>
            </p:spPr>
            <p:txBody>
              <a:bodyPr lIns="0" tIns="0" rIns="0" bIns="0" anchor="ctr"/>
              <a:lstStyle/>
              <a:p>
                <a:pPr defTabSz="912546"/>
                <a:endParaRPr>
                  <a:solidFill>
                    <a:srgbClr val="000000"/>
                  </a:solidFill>
                </a:endParaRPr>
              </a:p>
            </p:txBody>
          </p:sp>
          <p:sp>
            <p:nvSpPr>
              <p:cNvPr id="441678" name="Freeform 792"/>
              <p:cNvSpPr>
                <a:spLocks/>
              </p:cNvSpPr>
              <p:nvPr/>
            </p:nvSpPr>
            <p:spPr bwMode="gray">
              <a:xfrm>
                <a:off x="2127" y="1791"/>
                <a:ext cx="12" cy="8"/>
              </a:xfrm>
              <a:custGeom>
                <a:avLst/>
                <a:gdLst>
                  <a:gd name="T0" fmla="*/ 0 w 12"/>
                  <a:gd name="T1" fmla="*/ 0 h 8"/>
                  <a:gd name="T2" fmla="*/ 3 w 12"/>
                  <a:gd name="T3" fmla="*/ 8 h 8"/>
                  <a:gd name="T4" fmla="*/ 0 w 12"/>
                  <a:gd name="T5" fmla="*/ 0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0" y="0"/>
                    </a:moveTo>
                    <a:cubicBezTo>
                      <a:pt x="6" y="2"/>
                      <a:pt x="12" y="5"/>
                      <a:pt x="3" y="8"/>
                    </a:cubicBezTo>
                    <a:cubicBezTo>
                      <a:pt x="2" y="2"/>
                      <a:pt x="3" y="4"/>
                      <a:pt x="0" y="0"/>
                    </a:cubicBezTo>
                    <a:close/>
                  </a:path>
                </a:pathLst>
              </a:custGeom>
              <a:solidFill>
                <a:srgbClr val="BE9168"/>
              </a:solidFill>
              <a:ln w="9525">
                <a:noFill/>
                <a:round/>
                <a:headEnd/>
                <a:tailEnd/>
              </a:ln>
            </p:spPr>
            <p:txBody>
              <a:bodyPr lIns="0" tIns="0" rIns="0" bIns="0" anchor="ctr"/>
              <a:lstStyle/>
              <a:p>
                <a:pPr defTabSz="912546"/>
                <a:endParaRPr>
                  <a:solidFill>
                    <a:srgbClr val="000000"/>
                  </a:solidFill>
                </a:endParaRPr>
              </a:p>
            </p:txBody>
          </p:sp>
          <p:sp>
            <p:nvSpPr>
              <p:cNvPr id="441679" name="Freeform 793"/>
              <p:cNvSpPr>
                <a:spLocks/>
              </p:cNvSpPr>
              <p:nvPr/>
            </p:nvSpPr>
            <p:spPr bwMode="gray">
              <a:xfrm>
                <a:off x="2134" y="1794"/>
                <a:ext cx="15" cy="6"/>
              </a:xfrm>
              <a:custGeom>
                <a:avLst/>
                <a:gdLst>
                  <a:gd name="T0" fmla="*/ 13 w 15"/>
                  <a:gd name="T1" fmla="*/ 1 h 6"/>
                  <a:gd name="T2" fmla="*/ 8 w 15"/>
                  <a:gd name="T3" fmla="*/ 6 h 6"/>
                  <a:gd name="T4" fmla="*/ 13 w 15"/>
                  <a:gd name="T5" fmla="*/ 1 h 6"/>
                  <a:gd name="T6" fmla="*/ 0 60000 65536"/>
                  <a:gd name="T7" fmla="*/ 0 60000 65536"/>
                  <a:gd name="T8" fmla="*/ 0 60000 65536"/>
                  <a:gd name="T9" fmla="*/ 0 w 15"/>
                  <a:gd name="T10" fmla="*/ 0 h 6"/>
                  <a:gd name="T11" fmla="*/ 15 w 15"/>
                  <a:gd name="T12" fmla="*/ 6 h 6"/>
                </a:gdLst>
                <a:ahLst/>
                <a:cxnLst>
                  <a:cxn ang="T6">
                    <a:pos x="T0" y="T1"/>
                  </a:cxn>
                  <a:cxn ang="T7">
                    <a:pos x="T2" y="T3"/>
                  </a:cxn>
                  <a:cxn ang="T8">
                    <a:pos x="T4" y="T5"/>
                  </a:cxn>
                </a:cxnLst>
                <a:rect l="T9" t="T10" r="T11" b="T12"/>
                <a:pathLst>
                  <a:path w="15" h="6">
                    <a:moveTo>
                      <a:pt x="13" y="1"/>
                    </a:moveTo>
                    <a:cubicBezTo>
                      <a:pt x="8" y="0"/>
                      <a:pt x="0" y="0"/>
                      <a:pt x="8" y="6"/>
                    </a:cubicBezTo>
                    <a:cubicBezTo>
                      <a:pt x="15" y="4"/>
                      <a:pt x="15" y="6"/>
                      <a:pt x="13" y="1"/>
                    </a:cubicBezTo>
                    <a:close/>
                  </a:path>
                </a:pathLst>
              </a:custGeom>
              <a:solidFill>
                <a:srgbClr val="BE9168"/>
              </a:solidFill>
              <a:ln w="9525">
                <a:noFill/>
                <a:round/>
                <a:headEnd/>
                <a:tailEnd/>
              </a:ln>
            </p:spPr>
            <p:txBody>
              <a:bodyPr lIns="0" tIns="0" rIns="0" bIns="0" anchor="ctr"/>
              <a:lstStyle/>
              <a:p>
                <a:pPr defTabSz="912546"/>
                <a:endParaRPr>
                  <a:solidFill>
                    <a:srgbClr val="000000"/>
                  </a:solidFill>
                </a:endParaRPr>
              </a:p>
            </p:txBody>
          </p:sp>
          <p:sp>
            <p:nvSpPr>
              <p:cNvPr id="441680" name="Freeform 794"/>
              <p:cNvSpPr>
                <a:spLocks/>
              </p:cNvSpPr>
              <p:nvPr/>
            </p:nvSpPr>
            <p:spPr bwMode="gray">
              <a:xfrm>
                <a:off x="2133" y="1807"/>
                <a:ext cx="23" cy="22"/>
              </a:xfrm>
              <a:custGeom>
                <a:avLst/>
                <a:gdLst>
                  <a:gd name="T0" fmla="*/ 18 w 23"/>
                  <a:gd name="T1" fmla="*/ 2 h 22"/>
                  <a:gd name="T2" fmla="*/ 6 w 23"/>
                  <a:gd name="T3" fmla="*/ 11 h 22"/>
                  <a:gd name="T4" fmla="*/ 6 w 23"/>
                  <a:gd name="T5" fmla="*/ 22 h 22"/>
                  <a:gd name="T6" fmla="*/ 17 w 23"/>
                  <a:gd name="T7" fmla="*/ 11 h 22"/>
                  <a:gd name="T8" fmla="*/ 18 w 23"/>
                  <a:gd name="T9" fmla="*/ 2 h 22"/>
                  <a:gd name="T10" fmla="*/ 0 60000 65536"/>
                  <a:gd name="T11" fmla="*/ 0 60000 65536"/>
                  <a:gd name="T12" fmla="*/ 0 60000 65536"/>
                  <a:gd name="T13" fmla="*/ 0 60000 65536"/>
                  <a:gd name="T14" fmla="*/ 0 60000 65536"/>
                  <a:gd name="T15" fmla="*/ 0 w 23"/>
                  <a:gd name="T16" fmla="*/ 0 h 22"/>
                  <a:gd name="T17" fmla="*/ 23 w 23"/>
                  <a:gd name="T18" fmla="*/ 22 h 22"/>
                </a:gdLst>
                <a:ahLst/>
                <a:cxnLst>
                  <a:cxn ang="T10">
                    <a:pos x="T0" y="T1"/>
                  </a:cxn>
                  <a:cxn ang="T11">
                    <a:pos x="T2" y="T3"/>
                  </a:cxn>
                  <a:cxn ang="T12">
                    <a:pos x="T4" y="T5"/>
                  </a:cxn>
                  <a:cxn ang="T13">
                    <a:pos x="T6" y="T7"/>
                  </a:cxn>
                  <a:cxn ang="T14">
                    <a:pos x="T8" y="T9"/>
                  </a:cxn>
                </a:cxnLst>
                <a:rect l="T15" t="T16" r="T17" b="T18"/>
                <a:pathLst>
                  <a:path w="23" h="22">
                    <a:moveTo>
                      <a:pt x="18" y="2"/>
                    </a:moveTo>
                    <a:cubicBezTo>
                      <a:pt x="14" y="8"/>
                      <a:pt x="13" y="10"/>
                      <a:pt x="6" y="11"/>
                    </a:cubicBezTo>
                    <a:cubicBezTo>
                      <a:pt x="0" y="14"/>
                      <a:pt x="5" y="16"/>
                      <a:pt x="6" y="22"/>
                    </a:cubicBezTo>
                    <a:cubicBezTo>
                      <a:pt x="9" y="16"/>
                      <a:pt x="11" y="14"/>
                      <a:pt x="17" y="11"/>
                    </a:cubicBezTo>
                    <a:cubicBezTo>
                      <a:pt x="18" y="6"/>
                      <a:pt x="23" y="0"/>
                      <a:pt x="18" y="2"/>
                    </a:cubicBezTo>
                    <a:close/>
                  </a:path>
                </a:pathLst>
              </a:custGeom>
              <a:solidFill>
                <a:srgbClr val="BE9168"/>
              </a:solidFill>
              <a:ln w="9525">
                <a:noFill/>
                <a:round/>
                <a:headEnd/>
                <a:tailEnd/>
              </a:ln>
            </p:spPr>
            <p:txBody>
              <a:bodyPr lIns="0" tIns="0" rIns="0" bIns="0" anchor="ctr"/>
              <a:lstStyle/>
              <a:p>
                <a:pPr defTabSz="912546"/>
                <a:endParaRPr>
                  <a:solidFill>
                    <a:srgbClr val="000000"/>
                  </a:solidFill>
                </a:endParaRPr>
              </a:p>
            </p:txBody>
          </p:sp>
        </p:grpSp>
        <p:sp>
          <p:nvSpPr>
            <p:cNvPr id="441673" name="Freeform 795"/>
            <p:cNvSpPr>
              <a:spLocks/>
            </p:cNvSpPr>
            <p:nvPr/>
          </p:nvSpPr>
          <p:spPr bwMode="gray">
            <a:xfrm>
              <a:off x="3883" y="2396"/>
              <a:ext cx="51" cy="19"/>
            </a:xfrm>
            <a:custGeom>
              <a:avLst/>
              <a:gdLst>
                <a:gd name="T0" fmla="*/ 0 w 44"/>
                <a:gd name="T1" fmla="*/ 108 h 16"/>
                <a:gd name="T2" fmla="*/ 3 w 44"/>
                <a:gd name="T3" fmla="*/ 150 h 16"/>
                <a:gd name="T4" fmla="*/ 303 w 44"/>
                <a:gd name="T5" fmla="*/ 33 h 16"/>
                <a:gd name="T6" fmla="*/ 287 w 44"/>
                <a:gd name="T7" fmla="*/ 0 h 16"/>
                <a:gd name="T8" fmla="*/ 0 w 44"/>
                <a:gd name="T9" fmla="*/ 108 h 16"/>
                <a:gd name="T10" fmla="*/ 0 60000 65536"/>
                <a:gd name="T11" fmla="*/ 0 60000 65536"/>
                <a:gd name="T12" fmla="*/ 0 60000 65536"/>
                <a:gd name="T13" fmla="*/ 0 60000 65536"/>
                <a:gd name="T14" fmla="*/ 0 60000 65536"/>
                <a:gd name="T15" fmla="*/ 0 w 44"/>
                <a:gd name="T16" fmla="*/ 0 h 16"/>
                <a:gd name="T17" fmla="*/ 44 w 44"/>
                <a:gd name="T18" fmla="*/ 16 h 16"/>
              </a:gdLst>
              <a:ahLst/>
              <a:cxnLst>
                <a:cxn ang="T10">
                  <a:pos x="T0" y="T1"/>
                </a:cxn>
                <a:cxn ang="T11">
                  <a:pos x="T2" y="T3"/>
                </a:cxn>
                <a:cxn ang="T12">
                  <a:pos x="T4" y="T5"/>
                </a:cxn>
                <a:cxn ang="T13">
                  <a:pos x="T6" y="T7"/>
                </a:cxn>
                <a:cxn ang="T14">
                  <a:pos x="T8" y="T9"/>
                </a:cxn>
              </a:cxnLst>
              <a:rect l="T15" t="T16" r="T17" b="T18"/>
              <a:pathLst>
                <a:path w="44" h="16">
                  <a:moveTo>
                    <a:pt x="0" y="12"/>
                  </a:moveTo>
                  <a:lnTo>
                    <a:pt x="3" y="16"/>
                  </a:lnTo>
                  <a:lnTo>
                    <a:pt x="44" y="3"/>
                  </a:lnTo>
                  <a:lnTo>
                    <a:pt x="42" y="0"/>
                  </a:lnTo>
                  <a:lnTo>
                    <a:pt x="0" y="12"/>
                  </a:lnTo>
                  <a:close/>
                </a:path>
              </a:pathLst>
            </a:custGeom>
            <a:solidFill>
              <a:srgbClr val="777777"/>
            </a:solidFill>
            <a:ln w="9525">
              <a:noFill/>
              <a:round/>
              <a:headEnd/>
              <a:tailEnd/>
            </a:ln>
          </p:spPr>
          <p:txBody>
            <a:bodyPr lIns="0" tIns="0" rIns="0" bIns="0" anchor="ctr"/>
            <a:lstStyle/>
            <a:p>
              <a:pPr defTabSz="912546"/>
              <a:endParaRPr>
                <a:solidFill>
                  <a:srgbClr val="000000"/>
                </a:solidFill>
              </a:endParaRPr>
            </a:p>
          </p:txBody>
        </p:sp>
        <p:sp>
          <p:nvSpPr>
            <p:cNvPr id="441674" name="Freeform 796"/>
            <p:cNvSpPr>
              <a:spLocks/>
            </p:cNvSpPr>
            <p:nvPr/>
          </p:nvSpPr>
          <p:spPr bwMode="gray">
            <a:xfrm>
              <a:off x="3833" y="2450"/>
              <a:ext cx="42" cy="21"/>
            </a:xfrm>
            <a:custGeom>
              <a:avLst/>
              <a:gdLst>
                <a:gd name="T0" fmla="*/ 0 w 36"/>
                <a:gd name="T1" fmla="*/ 57 h 18"/>
                <a:gd name="T2" fmla="*/ 264 w 36"/>
                <a:gd name="T3" fmla="*/ 0 h 18"/>
                <a:gd name="T4" fmla="*/ 261 w 36"/>
                <a:gd name="T5" fmla="*/ 132 h 18"/>
                <a:gd name="T6" fmla="*/ 0 w 36"/>
                <a:gd name="T7" fmla="*/ 57 h 18"/>
                <a:gd name="T8" fmla="*/ 0 60000 65536"/>
                <a:gd name="T9" fmla="*/ 0 60000 65536"/>
                <a:gd name="T10" fmla="*/ 0 60000 65536"/>
                <a:gd name="T11" fmla="*/ 0 60000 65536"/>
                <a:gd name="T12" fmla="*/ 0 w 36"/>
                <a:gd name="T13" fmla="*/ 0 h 18"/>
                <a:gd name="T14" fmla="*/ 36 w 36"/>
                <a:gd name="T15" fmla="*/ 18 h 18"/>
              </a:gdLst>
              <a:ahLst/>
              <a:cxnLst>
                <a:cxn ang="T8">
                  <a:pos x="T0" y="T1"/>
                </a:cxn>
                <a:cxn ang="T9">
                  <a:pos x="T2" y="T3"/>
                </a:cxn>
                <a:cxn ang="T10">
                  <a:pos x="T4" y="T5"/>
                </a:cxn>
                <a:cxn ang="T11">
                  <a:pos x="T6" y="T7"/>
                </a:cxn>
              </a:cxnLst>
              <a:rect l="T12" t="T13" r="T14" b="T15"/>
              <a:pathLst>
                <a:path w="36" h="18">
                  <a:moveTo>
                    <a:pt x="0" y="8"/>
                  </a:moveTo>
                  <a:lnTo>
                    <a:pt x="36" y="0"/>
                  </a:lnTo>
                  <a:lnTo>
                    <a:pt x="35" y="18"/>
                  </a:lnTo>
                  <a:lnTo>
                    <a:pt x="0" y="8"/>
                  </a:lnTo>
                  <a:close/>
                </a:path>
              </a:pathLst>
            </a:custGeom>
            <a:solidFill>
              <a:srgbClr val="777777"/>
            </a:solidFill>
            <a:ln w="9525">
              <a:noFill/>
              <a:round/>
              <a:headEnd/>
              <a:tailEnd/>
            </a:ln>
          </p:spPr>
          <p:txBody>
            <a:bodyPr lIns="0" tIns="0" rIns="0" bIns="0" anchor="ctr"/>
            <a:lstStyle/>
            <a:p>
              <a:pPr defTabSz="912546"/>
              <a:endParaRPr>
                <a:solidFill>
                  <a:srgbClr val="000000"/>
                </a:solidFill>
              </a:endParaRPr>
            </a:p>
          </p:txBody>
        </p:sp>
        <p:sp>
          <p:nvSpPr>
            <p:cNvPr id="441675" name="Freeform 797"/>
            <p:cNvSpPr>
              <a:spLocks/>
            </p:cNvSpPr>
            <p:nvPr/>
          </p:nvSpPr>
          <p:spPr bwMode="gray">
            <a:xfrm flipV="1">
              <a:off x="3558" y="2256"/>
              <a:ext cx="277" cy="80"/>
            </a:xfrm>
            <a:custGeom>
              <a:avLst/>
              <a:gdLst>
                <a:gd name="T0" fmla="*/ 0 w 183"/>
                <a:gd name="T1" fmla="*/ 20 h 89"/>
                <a:gd name="T2" fmla="*/ 9323 w 183"/>
                <a:gd name="T3" fmla="*/ 22 h 89"/>
                <a:gd name="T4" fmla="*/ 9830 w 183"/>
                <a:gd name="T5" fmla="*/ 13 h 89"/>
                <a:gd name="T6" fmla="*/ 19149 w 183"/>
                <a:gd name="T7" fmla="*/ 15 h 89"/>
                <a:gd name="T8" fmla="*/ 23035 w 183"/>
                <a:gd name="T9" fmla="*/ 9 h 89"/>
                <a:gd name="T10" fmla="*/ 30201 w 183"/>
                <a:gd name="T11" fmla="*/ 12 h 89"/>
                <a:gd name="T12" fmla="*/ 31608 w 183"/>
                <a:gd name="T13" fmla="*/ 4 h 89"/>
                <a:gd name="T14" fmla="*/ 40038 w 183"/>
                <a:gd name="T15" fmla="*/ 0 h 89"/>
                <a:gd name="T16" fmla="*/ 0 60000 65536"/>
                <a:gd name="T17" fmla="*/ 0 60000 65536"/>
                <a:gd name="T18" fmla="*/ 0 60000 65536"/>
                <a:gd name="T19" fmla="*/ 0 60000 65536"/>
                <a:gd name="T20" fmla="*/ 0 60000 65536"/>
                <a:gd name="T21" fmla="*/ 0 60000 65536"/>
                <a:gd name="T22" fmla="*/ 0 60000 65536"/>
                <a:gd name="T23" fmla="*/ 0 60000 65536"/>
                <a:gd name="T24" fmla="*/ 0 w 183"/>
                <a:gd name="T25" fmla="*/ 0 h 89"/>
                <a:gd name="T26" fmla="*/ 183 w 183"/>
                <a:gd name="T27" fmla="*/ 89 h 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3" h="89">
                  <a:moveTo>
                    <a:pt x="0" y="81"/>
                  </a:moveTo>
                  <a:lnTo>
                    <a:pt x="42" y="89"/>
                  </a:lnTo>
                  <a:lnTo>
                    <a:pt x="45" y="54"/>
                  </a:lnTo>
                  <a:lnTo>
                    <a:pt x="87" y="60"/>
                  </a:lnTo>
                  <a:lnTo>
                    <a:pt x="105" y="36"/>
                  </a:lnTo>
                  <a:lnTo>
                    <a:pt x="138" y="48"/>
                  </a:lnTo>
                  <a:lnTo>
                    <a:pt x="145" y="17"/>
                  </a:lnTo>
                  <a:lnTo>
                    <a:pt x="183" y="0"/>
                  </a:lnTo>
                </a:path>
              </a:pathLst>
            </a:custGeom>
            <a:noFill/>
            <a:ln w="19050">
              <a:solidFill>
                <a:srgbClr val="DC1818">
                  <a:alpha val="79999"/>
                </a:srgbClr>
              </a:solidFill>
              <a:round/>
              <a:headEnd/>
              <a:tailEnd/>
            </a:ln>
          </p:spPr>
          <p:txBody>
            <a:bodyPr lIns="90000" tIns="46800" rIns="90000" bIns="46800" anchor="ctr"/>
            <a:lstStyle/>
            <a:p>
              <a:pPr defTabSz="912546"/>
              <a:endParaRPr>
                <a:solidFill>
                  <a:srgbClr val="000000"/>
                </a:solidFill>
              </a:endParaRPr>
            </a:p>
          </p:txBody>
        </p:sp>
      </p:grpSp>
      <p:grpSp>
        <p:nvGrpSpPr>
          <p:cNvPr id="265146" name="Group 798"/>
          <p:cNvGrpSpPr>
            <a:grpSpLocks/>
          </p:cNvGrpSpPr>
          <p:nvPr/>
        </p:nvGrpSpPr>
        <p:grpSpPr bwMode="gray">
          <a:xfrm>
            <a:off x="5181600" y="5005002"/>
            <a:ext cx="1708150" cy="1241425"/>
            <a:chOff x="2256" y="2854"/>
            <a:chExt cx="1160" cy="842"/>
          </a:xfrm>
        </p:grpSpPr>
        <p:grpSp>
          <p:nvGrpSpPr>
            <p:cNvPr id="265148" name="Group 799"/>
            <p:cNvGrpSpPr>
              <a:grpSpLocks/>
            </p:cNvGrpSpPr>
            <p:nvPr/>
          </p:nvGrpSpPr>
          <p:grpSpPr bwMode="gray">
            <a:xfrm>
              <a:off x="2256" y="3120"/>
              <a:ext cx="1160" cy="576"/>
              <a:chOff x="2688" y="3120"/>
              <a:chExt cx="962" cy="415"/>
            </a:xfrm>
          </p:grpSpPr>
          <p:grpSp>
            <p:nvGrpSpPr>
              <p:cNvPr id="265149" name="Group 800"/>
              <p:cNvGrpSpPr>
                <a:grpSpLocks/>
              </p:cNvGrpSpPr>
              <p:nvPr/>
            </p:nvGrpSpPr>
            <p:grpSpPr bwMode="gray">
              <a:xfrm>
                <a:off x="2688" y="3120"/>
                <a:ext cx="962" cy="415"/>
                <a:chOff x="2107" y="2248"/>
                <a:chExt cx="1020" cy="473"/>
              </a:xfrm>
            </p:grpSpPr>
            <p:sp>
              <p:nvSpPr>
                <p:cNvPr id="441616" name="Oval 801"/>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617" name="Oval 802"/>
                <p:cNvSpPr>
                  <a:spLocks noChangeArrowheads="1"/>
                </p:cNvSpPr>
                <p:nvPr/>
              </p:nvSpPr>
              <p:spPr bwMode="gray">
                <a:xfrm>
                  <a:off x="2206" y="2276"/>
                  <a:ext cx="794" cy="331"/>
                </a:xfrm>
                <a:prstGeom prst="ellipse">
                  <a:avLst/>
                </a:prstGeom>
                <a:gradFill rotWithShape="1">
                  <a:gsLst>
                    <a:gs pos="0">
                      <a:srgbClr val="5D797A"/>
                    </a:gs>
                    <a:gs pos="50000">
                      <a:srgbClr val="7FA6A7"/>
                    </a:gs>
                    <a:gs pos="100000">
                      <a:srgbClr val="5D797A"/>
                    </a:gs>
                  </a:gsLst>
                  <a:lin ang="0" scaled="1"/>
                </a:gradFill>
                <a:ln w="9525">
                  <a:noFill/>
                  <a:round/>
                  <a:headEnd/>
                  <a:tailEnd/>
                </a:ln>
              </p:spPr>
              <p:txBody>
                <a:bodyPr wrap="none" anchor="ctr"/>
                <a:lstStyle/>
                <a:p>
                  <a:pPr algn="ctr" defTabSz="912546"/>
                  <a:endParaRPr>
                    <a:solidFill>
                      <a:srgbClr val="000000"/>
                    </a:solidFill>
                  </a:endParaRPr>
                </a:p>
              </p:txBody>
            </p:sp>
            <p:sp>
              <p:nvSpPr>
                <p:cNvPr id="441618" name="Oval 803"/>
                <p:cNvSpPr>
                  <a:spLocks noChangeArrowheads="1"/>
                </p:cNvSpPr>
                <p:nvPr/>
              </p:nvSpPr>
              <p:spPr bwMode="gray">
                <a:xfrm>
                  <a:off x="2206" y="2248"/>
                  <a:ext cx="794" cy="331"/>
                </a:xfrm>
                <a:prstGeom prst="ellipse">
                  <a:avLst/>
                </a:prstGeom>
                <a:gradFill rotWithShape="1">
                  <a:gsLst>
                    <a:gs pos="0">
                      <a:srgbClr val="629293"/>
                    </a:gs>
                    <a:gs pos="50000">
                      <a:srgbClr val="AFC7C8"/>
                    </a:gs>
                    <a:gs pos="100000">
                      <a:srgbClr val="629293"/>
                    </a:gs>
                  </a:gsLst>
                  <a:lin ang="18900000" scaled="1"/>
                </a:gradFill>
                <a:ln w="9525">
                  <a:noFill/>
                  <a:round/>
                  <a:headEnd/>
                  <a:tailEnd/>
                </a:ln>
              </p:spPr>
              <p:txBody>
                <a:bodyPr wrap="none" anchor="ctr"/>
                <a:lstStyle/>
                <a:p>
                  <a:pPr algn="ctr" defTabSz="912546"/>
                  <a:endParaRPr>
                    <a:solidFill>
                      <a:srgbClr val="000000"/>
                    </a:solidFill>
                  </a:endParaRPr>
                </a:p>
              </p:txBody>
            </p:sp>
          </p:grpSp>
          <p:sp>
            <p:nvSpPr>
              <p:cNvPr id="441615" name="Text Box 804"/>
              <p:cNvSpPr txBox="1">
                <a:spLocks noChangeArrowheads="1"/>
              </p:cNvSpPr>
              <p:nvPr/>
            </p:nvSpPr>
            <p:spPr bwMode="gray">
              <a:xfrm>
                <a:off x="2928" y="3294"/>
                <a:ext cx="442" cy="104"/>
              </a:xfrm>
              <a:prstGeom prst="rect">
                <a:avLst/>
              </a:prstGeom>
              <a:noFill/>
              <a:ln w="9525" algn="ctr">
                <a:noFill/>
                <a:miter lim="800000"/>
                <a:headEnd/>
                <a:tailEnd type="none" w="sm" len="lg"/>
              </a:ln>
            </p:spPr>
            <p:txBody>
              <a:bodyPr wrap="none" lIns="90000" tIns="46800" rIns="90000" bIns="46800">
                <a:spAutoFit/>
              </a:bodyPr>
              <a:lstStyle/>
              <a:p>
                <a:pPr marL="243971" indent="-243971" algn="ctr" defTabSz="912546">
                  <a:lnSpc>
                    <a:spcPct val="85000"/>
                  </a:lnSpc>
                  <a:buClr>
                    <a:srgbClr val="F0AB00"/>
                  </a:buClr>
                  <a:buSzPct val="80000"/>
                </a:pPr>
                <a:r>
                  <a:rPr lang="en-US" sz="900" b="1" dirty="0">
                    <a:solidFill>
                      <a:srgbClr val="000000"/>
                    </a:solidFill>
                  </a:rPr>
                  <a:t>Customers</a:t>
                </a:r>
              </a:p>
            </p:txBody>
          </p:sp>
        </p:grpSp>
        <p:grpSp>
          <p:nvGrpSpPr>
            <p:cNvPr id="265150" name="Group 805"/>
            <p:cNvGrpSpPr>
              <a:grpSpLocks/>
            </p:cNvGrpSpPr>
            <p:nvPr/>
          </p:nvGrpSpPr>
          <p:grpSpPr bwMode="gray">
            <a:xfrm>
              <a:off x="2517" y="2854"/>
              <a:ext cx="633" cy="513"/>
              <a:chOff x="2944" y="2938"/>
              <a:chExt cx="633" cy="513"/>
            </a:xfrm>
          </p:grpSpPr>
          <p:sp>
            <p:nvSpPr>
              <p:cNvPr id="441539" name="Freeform 806"/>
              <p:cNvSpPr>
                <a:spLocks/>
              </p:cNvSpPr>
              <p:nvPr/>
            </p:nvSpPr>
            <p:spPr bwMode="gray">
              <a:xfrm>
                <a:off x="2964" y="3312"/>
                <a:ext cx="588" cy="139"/>
              </a:xfrm>
              <a:custGeom>
                <a:avLst/>
                <a:gdLst>
                  <a:gd name="T0" fmla="*/ 56 w 624"/>
                  <a:gd name="T1" fmla="*/ 99 h 139"/>
                  <a:gd name="T2" fmla="*/ 0 w 624"/>
                  <a:gd name="T3" fmla="*/ 83 h 139"/>
                  <a:gd name="T4" fmla="*/ 89 w 624"/>
                  <a:gd name="T5" fmla="*/ 30 h 139"/>
                  <a:gd name="T6" fmla="*/ 122 w 624"/>
                  <a:gd name="T7" fmla="*/ 0 h 139"/>
                  <a:gd name="T8" fmla="*/ 262 w 624"/>
                  <a:gd name="T9" fmla="*/ 30 h 139"/>
                  <a:gd name="T10" fmla="*/ 288 w 624"/>
                  <a:gd name="T11" fmla="*/ 91 h 139"/>
                  <a:gd name="T12" fmla="*/ 254 w 624"/>
                  <a:gd name="T13" fmla="*/ 126 h 139"/>
                  <a:gd name="T14" fmla="*/ 165 w 624"/>
                  <a:gd name="T15" fmla="*/ 76 h 139"/>
                  <a:gd name="T16" fmla="*/ 66 w 624"/>
                  <a:gd name="T17" fmla="*/ 91 h 139"/>
                  <a:gd name="T18" fmla="*/ 56 w 624"/>
                  <a:gd name="T19" fmla="*/ 99 h 1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4"/>
                  <a:gd name="T31" fmla="*/ 0 h 139"/>
                  <a:gd name="T32" fmla="*/ 624 w 624"/>
                  <a:gd name="T33" fmla="*/ 139 h 1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4" h="139">
                    <a:moveTo>
                      <a:pt x="121" y="99"/>
                    </a:moveTo>
                    <a:cubicBezTo>
                      <a:pt x="82" y="126"/>
                      <a:pt x="18" y="139"/>
                      <a:pt x="0" y="83"/>
                    </a:cubicBezTo>
                    <a:cubicBezTo>
                      <a:pt x="65" y="32"/>
                      <a:pt x="104" y="37"/>
                      <a:pt x="191" y="30"/>
                    </a:cubicBezTo>
                    <a:cubicBezTo>
                      <a:pt x="215" y="13"/>
                      <a:pt x="234" y="8"/>
                      <a:pt x="262" y="0"/>
                    </a:cubicBezTo>
                    <a:cubicBezTo>
                      <a:pt x="389" y="5"/>
                      <a:pt x="449" y="21"/>
                      <a:pt x="567" y="30"/>
                    </a:cubicBezTo>
                    <a:cubicBezTo>
                      <a:pt x="587" y="52"/>
                      <a:pt x="607" y="66"/>
                      <a:pt x="624" y="91"/>
                    </a:cubicBezTo>
                    <a:cubicBezTo>
                      <a:pt x="584" y="112"/>
                      <a:pt x="596" y="115"/>
                      <a:pt x="552" y="126"/>
                    </a:cubicBezTo>
                    <a:cubicBezTo>
                      <a:pt x="504" y="103"/>
                      <a:pt x="402" y="101"/>
                      <a:pt x="355" y="76"/>
                    </a:cubicBezTo>
                    <a:cubicBezTo>
                      <a:pt x="287" y="70"/>
                      <a:pt x="181" y="87"/>
                      <a:pt x="142" y="91"/>
                    </a:cubicBezTo>
                    <a:cubicBezTo>
                      <a:pt x="135" y="91"/>
                      <a:pt x="121" y="99"/>
                      <a:pt x="121" y="99"/>
                    </a:cubicBezTo>
                    <a:close/>
                  </a:path>
                </a:pathLst>
              </a:custGeom>
              <a:solidFill>
                <a:srgbClr val="4D4D4D">
                  <a:alpha val="10196"/>
                </a:srgbClr>
              </a:solidFill>
              <a:ln w="9525">
                <a:noFill/>
                <a:round/>
                <a:headEnd/>
                <a:tailEnd/>
              </a:ln>
            </p:spPr>
            <p:txBody>
              <a:bodyPr/>
              <a:lstStyle/>
              <a:p>
                <a:pPr defTabSz="912546"/>
                <a:endParaRPr>
                  <a:solidFill>
                    <a:srgbClr val="000000"/>
                  </a:solidFill>
                </a:endParaRPr>
              </a:p>
            </p:txBody>
          </p:sp>
          <p:grpSp>
            <p:nvGrpSpPr>
              <p:cNvPr id="265151" name="Group 807"/>
              <p:cNvGrpSpPr>
                <a:grpSpLocks/>
              </p:cNvGrpSpPr>
              <p:nvPr/>
            </p:nvGrpSpPr>
            <p:grpSpPr bwMode="gray">
              <a:xfrm>
                <a:off x="2944" y="2938"/>
                <a:ext cx="633" cy="486"/>
                <a:chOff x="2944" y="2938"/>
                <a:chExt cx="633" cy="486"/>
              </a:xfrm>
            </p:grpSpPr>
            <p:grpSp>
              <p:nvGrpSpPr>
                <p:cNvPr id="442240" name="Group 808"/>
                <p:cNvGrpSpPr>
                  <a:grpSpLocks/>
                </p:cNvGrpSpPr>
                <p:nvPr/>
              </p:nvGrpSpPr>
              <p:grpSpPr bwMode="gray">
                <a:xfrm>
                  <a:off x="3148" y="2940"/>
                  <a:ext cx="277" cy="439"/>
                  <a:chOff x="3674" y="1624"/>
                  <a:chExt cx="305" cy="482"/>
                </a:xfrm>
              </p:grpSpPr>
              <p:sp>
                <p:nvSpPr>
                  <p:cNvPr id="441583" name="Freeform 809"/>
                  <p:cNvSpPr>
                    <a:spLocks/>
                  </p:cNvSpPr>
                  <p:nvPr/>
                </p:nvSpPr>
                <p:spPr bwMode="gray">
                  <a:xfrm>
                    <a:off x="3744" y="2043"/>
                    <a:ext cx="235" cy="63"/>
                  </a:xfrm>
                  <a:custGeom>
                    <a:avLst/>
                    <a:gdLst>
                      <a:gd name="T0" fmla="*/ 694 w 164"/>
                      <a:gd name="T1" fmla="*/ 2 h 84"/>
                      <a:gd name="T2" fmla="*/ 3459 w 164"/>
                      <a:gd name="T3" fmla="*/ 2 h 84"/>
                      <a:gd name="T4" fmla="*/ 5179 w 164"/>
                      <a:gd name="T5" fmla="*/ 2 h 84"/>
                      <a:gd name="T6" fmla="*/ 6897 w 164"/>
                      <a:gd name="T7" fmla="*/ 2 h 84"/>
                      <a:gd name="T8" fmla="*/ 11610 w 164"/>
                      <a:gd name="T9" fmla="*/ 2 h 84"/>
                      <a:gd name="T10" fmla="*/ 15434 w 164"/>
                      <a:gd name="T11" fmla="*/ 2 h 84"/>
                      <a:gd name="T12" fmla="*/ 17624 w 164"/>
                      <a:gd name="T13" fmla="*/ 2 h 84"/>
                      <a:gd name="T14" fmla="*/ 13673 w 164"/>
                      <a:gd name="T15" fmla="*/ 2 h 84"/>
                      <a:gd name="T16" fmla="*/ 10519 w 164"/>
                      <a:gd name="T17" fmla="*/ 2 h 84"/>
                      <a:gd name="T18" fmla="*/ 7256 w 164"/>
                      <a:gd name="T19" fmla="*/ 2 h 84"/>
                      <a:gd name="T20" fmla="*/ 4018 w 164"/>
                      <a:gd name="T21" fmla="*/ 2 h 84"/>
                      <a:gd name="T22" fmla="*/ 4478 w 164"/>
                      <a:gd name="T23" fmla="*/ 2 h 84"/>
                      <a:gd name="T24" fmla="*/ 1939 w 164"/>
                      <a:gd name="T25" fmla="*/ 2 h 84"/>
                      <a:gd name="T26" fmla="*/ 694 w 164"/>
                      <a:gd name="T27" fmla="*/ 2 h 84"/>
                      <a:gd name="T28" fmla="*/ 0 w 164"/>
                      <a:gd name="T29" fmla="*/ 2 h 84"/>
                      <a:gd name="T30" fmla="*/ 694 w 164"/>
                      <a:gd name="T31" fmla="*/ 2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64"/>
                      <a:gd name="T49" fmla="*/ 0 h 84"/>
                      <a:gd name="T50" fmla="*/ 164 w 164"/>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64" h="84">
                        <a:moveTo>
                          <a:pt x="6" y="84"/>
                        </a:moveTo>
                        <a:cubicBezTo>
                          <a:pt x="15" y="82"/>
                          <a:pt x="32" y="78"/>
                          <a:pt x="32" y="78"/>
                        </a:cubicBezTo>
                        <a:cubicBezTo>
                          <a:pt x="37" y="79"/>
                          <a:pt x="43" y="79"/>
                          <a:pt x="48" y="80"/>
                        </a:cubicBezTo>
                        <a:cubicBezTo>
                          <a:pt x="53" y="81"/>
                          <a:pt x="64" y="84"/>
                          <a:pt x="64" y="84"/>
                        </a:cubicBezTo>
                        <a:cubicBezTo>
                          <a:pt x="79" y="82"/>
                          <a:pt x="94" y="81"/>
                          <a:pt x="108" y="76"/>
                        </a:cubicBezTo>
                        <a:cubicBezTo>
                          <a:pt x="118" y="61"/>
                          <a:pt x="125" y="59"/>
                          <a:pt x="144" y="56"/>
                        </a:cubicBezTo>
                        <a:cubicBezTo>
                          <a:pt x="153" y="53"/>
                          <a:pt x="159" y="44"/>
                          <a:pt x="164" y="36"/>
                        </a:cubicBezTo>
                        <a:cubicBezTo>
                          <a:pt x="157" y="21"/>
                          <a:pt x="143" y="23"/>
                          <a:pt x="128" y="18"/>
                        </a:cubicBezTo>
                        <a:cubicBezTo>
                          <a:pt x="124" y="0"/>
                          <a:pt x="113" y="7"/>
                          <a:pt x="98" y="12"/>
                        </a:cubicBezTo>
                        <a:cubicBezTo>
                          <a:pt x="89" y="21"/>
                          <a:pt x="80" y="17"/>
                          <a:pt x="68" y="14"/>
                        </a:cubicBezTo>
                        <a:cubicBezTo>
                          <a:pt x="58" y="15"/>
                          <a:pt x="47" y="13"/>
                          <a:pt x="38" y="18"/>
                        </a:cubicBezTo>
                        <a:cubicBezTo>
                          <a:pt x="34" y="20"/>
                          <a:pt x="42" y="30"/>
                          <a:pt x="42" y="30"/>
                        </a:cubicBezTo>
                        <a:cubicBezTo>
                          <a:pt x="33" y="36"/>
                          <a:pt x="26" y="42"/>
                          <a:pt x="18" y="48"/>
                        </a:cubicBezTo>
                        <a:cubicBezTo>
                          <a:pt x="17" y="52"/>
                          <a:pt x="8" y="72"/>
                          <a:pt x="6" y="76"/>
                        </a:cubicBezTo>
                        <a:cubicBezTo>
                          <a:pt x="5" y="78"/>
                          <a:pt x="0" y="78"/>
                          <a:pt x="0" y="80"/>
                        </a:cubicBezTo>
                        <a:cubicBezTo>
                          <a:pt x="0" y="82"/>
                          <a:pt x="4" y="83"/>
                          <a:pt x="6" y="84"/>
                        </a:cubicBezTo>
                        <a:close/>
                      </a:path>
                    </a:pathLst>
                  </a:custGeom>
                  <a:noFill/>
                  <a:ln w="19050">
                    <a:noFill/>
                    <a:round/>
                    <a:headEnd/>
                    <a:tailEnd/>
                  </a:ln>
                </p:spPr>
                <p:txBody>
                  <a:bodyPr wrap="none" lIns="90000" tIns="46800" rIns="90000" bIns="46800" anchor="ctr"/>
                  <a:lstStyle/>
                  <a:p>
                    <a:pPr defTabSz="912546"/>
                    <a:endParaRPr>
                      <a:solidFill>
                        <a:srgbClr val="000000"/>
                      </a:solidFill>
                    </a:endParaRPr>
                  </a:p>
                </p:txBody>
              </p:sp>
              <p:grpSp>
                <p:nvGrpSpPr>
                  <p:cNvPr id="442241" name="Group 810"/>
                  <p:cNvGrpSpPr>
                    <a:grpSpLocks/>
                  </p:cNvGrpSpPr>
                  <p:nvPr/>
                </p:nvGrpSpPr>
                <p:grpSpPr bwMode="gray">
                  <a:xfrm>
                    <a:off x="3734" y="2055"/>
                    <a:ext cx="52" cy="41"/>
                    <a:chOff x="3734" y="2075"/>
                    <a:chExt cx="47" cy="35"/>
                  </a:xfrm>
                </p:grpSpPr>
                <p:grpSp>
                  <p:nvGrpSpPr>
                    <p:cNvPr id="442242" name="Group 811"/>
                    <p:cNvGrpSpPr>
                      <a:grpSpLocks/>
                    </p:cNvGrpSpPr>
                    <p:nvPr/>
                  </p:nvGrpSpPr>
                  <p:grpSpPr bwMode="gray">
                    <a:xfrm>
                      <a:off x="3734" y="2075"/>
                      <a:ext cx="47" cy="35"/>
                      <a:chOff x="3734" y="2075"/>
                      <a:chExt cx="47" cy="35"/>
                    </a:xfrm>
                  </p:grpSpPr>
                  <p:sp>
                    <p:nvSpPr>
                      <p:cNvPr id="441612" name="Freeform 812"/>
                      <p:cNvSpPr>
                        <a:spLocks/>
                      </p:cNvSpPr>
                      <p:nvPr/>
                    </p:nvSpPr>
                    <p:spPr bwMode="gray">
                      <a:xfrm>
                        <a:off x="3734" y="2076"/>
                        <a:ext cx="47" cy="34"/>
                      </a:xfrm>
                      <a:custGeom>
                        <a:avLst/>
                        <a:gdLst>
                          <a:gd name="T0" fmla="*/ 23 w 47"/>
                          <a:gd name="T1" fmla="*/ 0 h 34"/>
                          <a:gd name="T2" fmla="*/ 10 w 47"/>
                          <a:gd name="T3" fmla="*/ 13 h 34"/>
                          <a:gd name="T4" fmla="*/ 2 w 47"/>
                          <a:gd name="T5" fmla="*/ 23 h 34"/>
                          <a:gd name="T6" fmla="*/ 20 w 47"/>
                          <a:gd name="T7" fmla="*/ 30 h 34"/>
                          <a:gd name="T8" fmla="*/ 32 w 47"/>
                          <a:gd name="T9" fmla="*/ 19 h 34"/>
                          <a:gd name="T10" fmla="*/ 39 w 47"/>
                          <a:gd name="T11" fmla="*/ 0 h 34"/>
                          <a:gd name="T12" fmla="*/ 23 w 47"/>
                          <a:gd name="T13" fmla="*/ 0 h 34"/>
                          <a:gd name="T14" fmla="*/ 0 60000 65536"/>
                          <a:gd name="T15" fmla="*/ 0 60000 65536"/>
                          <a:gd name="T16" fmla="*/ 0 60000 65536"/>
                          <a:gd name="T17" fmla="*/ 0 60000 65536"/>
                          <a:gd name="T18" fmla="*/ 0 60000 65536"/>
                          <a:gd name="T19" fmla="*/ 0 60000 65536"/>
                          <a:gd name="T20" fmla="*/ 0 60000 65536"/>
                          <a:gd name="T21" fmla="*/ 0 w 47"/>
                          <a:gd name="T22" fmla="*/ 0 h 34"/>
                          <a:gd name="T23" fmla="*/ 47 w 47"/>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34">
                            <a:moveTo>
                              <a:pt x="23" y="0"/>
                            </a:moveTo>
                            <a:cubicBezTo>
                              <a:pt x="21" y="6"/>
                              <a:pt x="22" y="8"/>
                              <a:pt x="10" y="13"/>
                            </a:cubicBezTo>
                            <a:cubicBezTo>
                              <a:pt x="3" y="20"/>
                              <a:pt x="6" y="15"/>
                              <a:pt x="2" y="23"/>
                            </a:cubicBezTo>
                            <a:cubicBezTo>
                              <a:pt x="0" y="34"/>
                              <a:pt x="13" y="33"/>
                              <a:pt x="20" y="30"/>
                            </a:cubicBezTo>
                            <a:cubicBezTo>
                              <a:pt x="22" y="29"/>
                              <a:pt x="27" y="30"/>
                              <a:pt x="32" y="19"/>
                            </a:cubicBezTo>
                            <a:cubicBezTo>
                              <a:pt x="40" y="15"/>
                              <a:pt x="47" y="7"/>
                              <a:pt x="39" y="0"/>
                            </a:cubicBezTo>
                            <a:cubicBezTo>
                              <a:pt x="36" y="1"/>
                              <a:pt x="17" y="6"/>
                              <a:pt x="23" y="0"/>
                            </a:cubicBezTo>
                            <a:close/>
                          </a:path>
                        </a:pathLst>
                      </a:custGeom>
                      <a:solidFill>
                        <a:srgbClr val="4C4C4C"/>
                      </a:solidFill>
                      <a:ln w="9525">
                        <a:noFill/>
                        <a:round/>
                        <a:headEnd/>
                        <a:tailEnd/>
                      </a:ln>
                    </p:spPr>
                    <p:txBody>
                      <a:bodyPr wrap="none" anchor="ctr"/>
                      <a:lstStyle/>
                      <a:p>
                        <a:pPr defTabSz="912546"/>
                        <a:endParaRPr>
                          <a:solidFill>
                            <a:srgbClr val="000000"/>
                          </a:solidFill>
                        </a:endParaRPr>
                      </a:p>
                    </p:txBody>
                  </p:sp>
                  <p:sp>
                    <p:nvSpPr>
                      <p:cNvPr id="441613" name="Freeform 813"/>
                      <p:cNvSpPr>
                        <a:spLocks/>
                      </p:cNvSpPr>
                      <p:nvPr/>
                    </p:nvSpPr>
                    <p:spPr bwMode="gray">
                      <a:xfrm>
                        <a:off x="3741" y="2075"/>
                        <a:ext cx="36" cy="21"/>
                      </a:xfrm>
                      <a:custGeom>
                        <a:avLst/>
                        <a:gdLst>
                          <a:gd name="T0" fmla="*/ 29 w 36"/>
                          <a:gd name="T1" fmla="*/ 7 h 21"/>
                          <a:gd name="T2" fmla="*/ 14 w 36"/>
                          <a:gd name="T3" fmla="*/ 21 h 21"/>
                          <a:gd name="T4" fmla="*/ 3 w 36"/>
                          <a:gd name="T5" fmla="*/ 18 h 21"/>
                          <a:gd name="T6" fmla="*/ 20 w 36"/>
                          <a:gd name="T7" fmla="*/ 4 h 21"/>
                          <a:gd name="T8" fmla="*/ 29 w 36"/>
                          <a:gd name="T9" fmla="*/ 7 h 21"/>
                          <a:gd name="T10" fmla="*/ 0 60000 65536"/>
                          <a:gd name="T11" fmla="*/ 0 60000 65536"/>
                          <a:gd name="T12" fmla="*/ 0 60000 65536"/>
                          <a:gd name="T13" fmla="*/ 0 60000 65536"/>
                          <a:gd name="T14" fmla="*/ 0 60000 65536"/>
                          <a:gd name="T15" fmla="*/ 0 w 36"/>
                          <a:gd name="T16" fmla="*/ 0 h 21"/>
                          <a:gd name="T17" fmla="*/ 36 w 36"/>
                          <a:gd name="T18" fmla="*/ 21 h 21"/>
                        </a:gdLst>
                        <a:ahLst/>
                        <a:cxnLst>
                          <a:cxn ang="T10">
                            <a:pos x="T0" y="T1"/>
                          </a:cxn>
                          <a:cxn ang="T11">
                            <a:pos x="T2" y="T3"/>
                          </a:cxn>
                          <a:cxn ang="T12">
                            <a:pos x="T4" y="T5"/>
                          </a:cxn>
                          <a:cxn ang="T13">
                            <a:pos x="T6" y="T7"/>
                          </a:cxn>
                          <a:cxn ang="T14">
                            <a:pos x="T8" y="T9"/>
                          </a:cxn>
                        </a:cxnLst>
                        <a:rect l="T15" t="T16" r="T17" b="T18"/>
                        <a:pathLst>
                          <a:path w="36" h="21">
                            <a:moveTo>
                              <a:pt x="29" y="7"/>
                            </a:moveTo>
                            <a:cubicBezTo>
                              <a:pt x="21" y="11"/>
                              <a:pt x="21" y="17"/>
                              <a:pt x="14" y="21"/>
                            </a:cubicBezTo>
                            <a:cubicBezTo>
                              <a:pt x="10" y="20"/>
                              <a:pt x="5" y="21"/>
                              <a:pt x="3" y="18"/>
                            </a:cubicBezTo>
                            <a:cubicBezTo>
                              <a:pt x="0" y="13"/>
                              <a:pt x="17" y="5"/>
                              <a:pt x="20" y="4"/>
                            </a:cubicBezTo>
                            <a:cubicBezTo>
                              <a:pt x="28" y="10"/>
                              <a:pt x="36" y="0"/>
                              <a:pt x="29" y="7"/>
                            </a:cubicBezTo>
                            <a:close/>
                          </a:path>
                        </a:pathLst>
                      </a:custGeom>
                      <a:solidFill>
                        <a:srgbClr val="C9AC79"/>
                      </a:solidFill>
                      <a:ln w="19050">
                        <a:noFill/>
                        <a:round/>
                        <a:headEnd/>
                        <a:tailEnd/>
                      </a:ln>
                    </p:spPr>
                    <p:txBody>
                      <a:bodyPr wrap="none" lIns="90000" tIns="46800" rIns="90000" bIns="46800" anchor="ctr"/>
                      <a:lstStyle/>
                      <a:p>
                        <a:pPr defTabSz="912546"/>
                        <a:endParaRPr>
                          <a:solidFill>
                            <a:srgbClr val="000000"/>
                          </a:solidFill>
                        </a:endParaRPr>
                      </a:p>
                    </p:txBody>
                  </p:sp>
                </p:grpSp>
                <p:sp>
                  <p:nvSpPr>
                    <p:cNvPr id="441611" name="Freeform 814"/>
                    <p:cNvSpPr>
                      <a:spLocks/>
                    </p:cNvSpPr>
                    <p:nvPr/>
                  </p:nvSpPr>
                  <p:spPr bwMode="gray">
                    <a:xfrm>
                      <a:off x="3769" y="2084"/>
                      <a:ext cx="7" cy="13"/>
                    </a:xfrm>
                    <a:custGeom>
                      <a:avLst/>
                      <a:gdLst>
                        <a:gd name="T0" fmla="*/ 6 w 7"/>
                        <a:gd name="T1" fmla="*/ 3 h 13"/>
                        <a:gd name="T2" fmla="*/ 4 w 7"/>
                        <a:gd name="T3" fmla="*/ 12 h 13"/>
                        <a:gd name="T4" fmla="*/ 0 w 7"/>
                        <a:gd name="T5" fmla="*/ 10 h 13"/>
                        <a:gd name="T6" fmla="*/ 6 w 7"/>
                        <a:gd name="T7" fmla="*/ 0 h 13"/>
                        <a:gd name="T8" fmla="*/ 6 w 7"/>
                        <a:gd name="T9" fmla="*/ 3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6" y="3"/>
                          </a:moveTo>
                          <a:cubicBezTo>
                            <a:pt x="5" y="6"/>
                            <a:pt x="6" y="10"/>
                            <a:pt x="4" y="12"/>
                          </a:cubicBezTo>
                          <a:cubicBezTo>
                            <a:pt x="3" y="13"/>
                            <a:pt x="0" y="11"/>
                            <a:pt x="0" y="10"/>
                          </a:cubicBezTo>
                          <a:cubicBezTo>
                            <a:pt x="0" y="10"/>
                            <a:pt x="4" y="1"/>
                            <a:pt x="6" y="0"/>
                          </a:cubicBezTo>
                          <a:cubicBezTo>
                            <a:pt x="7" y="0"/>
                            <a:pt x="6" y="2"/>
                            <a:pt x="6" y="3"/>
                          </a:cubicBezTo>
                          <a:close/>
                        </a:path>
                      </a:pathLst>
                    </a:custGeom>
                    <a:solidFill>
                      <a:srgbClr val="6D4A2F"/>
                    </a:solidFill>
                    <a:ln w="19050">
                      <a:noFill/>
                      <a:round/>
                      <a:headEnd/>
                      <a:tailEnd/>
                    </a:ln>
                  </p:spPr>
                  <p:txBody>
                    <a:bodyPr wrap="none" lIns="90000" tIns="46800" rIns="90000" bIns="46800" anchor="ctr"/>
                    <a:lstStyle/>
                    <a:p>
                      <a:pPr defTabSz="912546"/>
                      <a:endParaRPr>
                        <a:solidFill>
                          <a:srgbClr val="000000"/>
                        </a:solidFill>
                      </a:endParaRPr>
                    </a:p>
                  </p:txBody>
                </p:sp>
              </p:grpSp>
              <p:grpSp>
                <p:nvGrpSpPr>
                  <p:cNvPr id="442244" name="Group 815"/>
                  <p:cNvGrpSpPr>
                    <a:grpSpLocks/>
                  </p:cNvGrpSpPr>
                  <p:nvPr/>
                </p:nvGrpSpPr>
                <p:grpSpPr bwMode="gray">
                  <a:xfrm>
                    <a:off x="3796" y="2046"/>
                    <a:ext cx="53" cy="52"/>
                    <a:chOff x="3796" y="2064"/>
                    <a:chExt cx="48" cy="46"/>
                  </a:xfrm>
                </p:grpSpPr>
                <p:grpSp>
                  <p:nvGrpSpPr>
                    <p:cNvPr id="442245" name="Group 816"/>
                    <p:cNvGrpSpPr>
                      <a:grpSpLocks/>
                    </p:cNvGrpSpPr>
                    <p:nvPr/>
                  </p:nvGrpSpPr>
                  <p:grpSpPr bwMode="gray">
                    <a:xfrm>
                      <a:off x="3796" y="2064"/>
                      <a:ext cx="48" cy="46"/>
                      <a:chOff x="3796" y="2064"/>
                      <a:chExt cx="48" cy="46"/>
                    </a:xfrm>
                  </p:grpSpPr>
                  <p:sp>
                    <p:nvSpPr>
                      <p:cNvPr id="441608" name="Freeform 817"/>
                      <p:cNvSpPr>
                        <a:spLocks/>
                      </p:cNvSpPr>
                      <p:nvPr/>
                    </p:nvSpPr>
                    <p:spPr bwMode="gray">
                      <a:xfrm>
                        <a:off x="3800" y="2064"/>
                        <a:ext cx="44" cy="46"/>
                      </a:xfrm>
                      <a:custGeom>
                        <a:avLst/>
                        <a:gdLst>
                          <a:gd name="T0" fmla="*/ 13 w 44"/>
                          <a:gd name="T1" fmla="*/ 14 h 46"/>
                          <a:gd name="T2" fmla="*/ 0 w 44"/>
                          <a:gd name="T3" fmla="*/ 14 h 46"/>
                          <a:gd name="T4" fmla="*/ 10 w 44"/>
                          <a:gd name="T5" fmla="*/ 29 h 46"/>
                          <a:gd name="T6" fmla="*/ 22 w 44"/>
                          <a:gd name="T7" fmla="*/ 44 h 46"/>
                          <a:gd name="T8" fmla="*/ 42 w 44"/>
                          <a:gd name="T9" fmla="*/ 40 h 46"/>
                          <a:gd name="T10" fmla="*/ 28 w 44"/>
                          <a:gd name="T11" fmla="*/ 23 h 46"/>
                          <a:gd name="T12" fmla="*/ 13 w 44"/>
                          <a:gd name="T13" fmla="*/ 14 h 46"/>
                          <a:gd name="T14" fmla="*/ 0 60000 65536"/>
                          <a:gd name="T15" fmla="*/ 0 60000 65536"/>
                          <a:gd name="T16" fmla="*/ 0 60000 65536"/>
                          <a:gd name="T17" fmla="*/ 0 60000 65536"/>
                          <a:gd name="T18" fmla="*/ 0 60000 65536"/>
                          <a:gd name="T19" fmla="*/ 0 60000 65536"/>
                          <a:gd name="T20" fmla="*/ 0 60000 65536"/>
                          <a:gd name="T21" fmla="*/ 0 w 44"/>
                          <a:gd name="T22" fmla="*/ 0 h 46"/>
                          <a:gd name="T23" fmla="*/ 44 w 44"/>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46">
                            <a:moveTo>
                              <a:pt x="13" y="14"/>
                            </a:moveTo>
                            <a:cubicBezTo>
                              <a:pt x="10" y="16"/>
                              <a:pt x="2" y="0"/>
                              <a:pt x="0" y="14"/>
                            </a:cubicBezTo>
                            <a:cubicBezTo>
                              <a:pt x="3" y="27"/>
                              <a:pt x="0" y="27"/>
                              <a:pt x="10" y="29"/>
                            </a:cubicBezTo>
                            <a:cubicBezTo>
                              <a:pt x="13" y="34"/>
                              <a:pt x="12" y="39"/>
                              <a:pt x="22" y="44"/>
                            </a:cubicBezTo>
                            <a:cubicBezTo>
                              <a:pt x="40" y="46"/>
                              <a:pt x="41" y="44"/>
                              <a:pt x="42" y="40"/>
                            </a:cubicBezTo>
                            <a:cubicBezTo>
                              <a:pt x="44" y="39"/>
                              <a:pt x="44" y="31"/>
                              <a:pt x="28" y="23"/>
                            </a:cubicBezTo>
                            <a:cubicBezTo>
                              <a:pt x="23" y="12"/>
                              <a:pt x="19" y="17"/>
                              <a:pt x="13" y="14"/>
                            </a:cubicBezTo>
                            <a:close/>
                          </a:path>
                        </a:pathLst>
                      </a:custGeom>
                      <a:solidFill>
                        <a:srgbClr val="4C4C4C"/>
                      </a:solidFill>
                      <a:ln w="9525">
                        <a:noFill/>
                        <a:round/>
                        <a:headEnd/>
                        <a:tailEnd/>
                      </a:ln>
                    </p:spPr>
                    <p:txBody>
                      <a:bodyPr wrap="none" anchor="ctr"/>
                      <a:lstStyle/>
                      <a:p>
                        <a:pPr defTabSz="912546"/>
                        <a:endParaRPr>
                          <a:solidFill>
                            <a:srgbClr val="000000"/>
                          </a:solidFill>
                        </a:endParaRPr>
                      </a:p>
                    </p:txBody>
                  </p:sp>
                  <p:sp>
                    <p:nvSpPr>
                      <p:cNvPr id="441609" name="Freeform 818"/>
                      <p:cNvSpPr>
                        <a:spLocks/>
                      </p:cNvSpPr>
                      <p:nvPr/>
                    </p:nvSpPr>
                    <p:spPr bwMode="gray">
                      <a:xfrm>
                        <a:off x="3796" y="2077"/>
                        <a:ext cx="38" cy="19"/>
                      </a:xfrm>
                      <a:custGeom>
                        <a:avLst/>
                        <a:gdLst>
                          <a:gd name="T0" fmla="*/ 28 w 38"/>
                          <a:gd name="T1" fmla="*/ 4 h 19"/>
                          <a:gd name="T2" fmla="*/ 36 w 38"/>
                          <a:gd name="T3" fmla="*/ 13 h 19"/>
                          <a:gd name="T4" fmla="*/ 23 w 38"/>
                          <a:gd name="T5" fmla="*/ 19 h 19"/>
                          <a:gd name="T6" fmla="*/ 14 w 38"/>
                          <a:gd name="T7" fmla="*/ 8 h 19"/>
                          <a:gd name="T8" fmla="*/ 28 w 38"/>
                          <a:gd name="T9" fmla="*/ 4 h 19"/>
                          <a:gd name="T10" fmla="*/ 0 60000 65536"/>
                          <a:gd name="T11" fmla="*/ 0 60000 65536"/>
                          <a:gd name="T12" fmla="*/ 0 60000 65536"/>
                          <a:gd name="T13" fmla="*/ 0 60000 65536"/>
                          <a:gd name="T14" fmla="*/ 0 60000 65536"/>
                          <a:gd name="T15" fmla="*/ 0 w 38"/>
                          <a:gd name="T16" fmla="*/ 0 h 19"/>
                          <a:gd name="T17" fmla="*/ 38 w 38"/>
                          <a:gd name="T18" fmla="*/ 19 h 19"/>
                        </a:gdLst>
                        <a:ahLst/>
                        <a:cxnLst>
                          <a:cxn ang="T10">
                            <a:pos x="T0" y="T1"/>
                          </a:cxn>
                          <a:cxn ang="T11">
                            <a:pos x="T2" y="T3"/>
                          </a:cxn>
                          <a:cxn ang="T12">
                            <a:pos x="T4" y="T5"/>
                          </a:cxn>
                          <a:cxn ang="T13">
                            <a:pos x="T6" y="T7"/>
                          </a:cxn>
                          <a:cxn ang="T14">
                            <a:pos x="T8" y="T9"/>
                          </a:cxn>
                        </a:cxnLst>
                        <a:rect l="T15" t="T16" r="T17" b="T18"/>
                        <a:pathLst>
                          <a:path w="38" h="19">
                            <a:moveTo>
                              <a:pt x="28" y="4"/>
                            </a:moveTo>
                            <a:cubicBezTo>
                              <a:pt x="30" y="8"/>
                              <a:pt x="34" y="9"/>
                              <a:pt x="36" y="13"/>
                            </a:cubicBezTo>
                            <a:cubicBezTo>
                              <a:pt x="38" y="18"/>
                              <a:pt x="25" y="18"/>
                              <a:pt x="23" y="19"/>
                            </a:cubicBezTo>
                            <a:cubicBezTo>
                              <a:pt x="19" y="1"/>
                              <a:pt x="0" y="11"/>
                              <a:pt x="14" y="8"/>
                            </a:cubicBezTo>
                            <a:cubicBezTo>
                              <a:pt x="23" y="7"/>
                              <a:pt x="27" y="0"/>
                              <a:pt x="28" y="4"/>
                            </a:cubicBezTo>
                            <a:close/>
                          </a:path>
                        </a:pathLst>
                      </a:custGeom>
                      <a:solidFill>
                        <a:srgbClr val="C9AC79"/>
                      </a:solidFill>
                      <a:ln w="19050">
                        <a:noFill/>
                        <a:round/>
                        <a:headEnd/>
                        <a:tailEnd/>
                      </a:ln>
                    </p:spPr>
                    <p:txBody>
                      <a:bodyPr wrap="none" lIns="90000" tIns="46800" rIns="90000" bIns="46800" anchor="ctr"/>
                      <a:lstStyle/>
                      <a:p>
                        <a:pPr defTabSz="912546"/>
                        <a:endParaRPr>
                          <a:solidFill>
                            <a:srgbClr val="000000"/>
                          </a:solidFill>
                        </a:endParaRPr>
                      </a:p>
                    </p:txBody>
                  </p:sp>
                </p:grpSp>
                <p:sp>
                  <p:nvSpPr>
                    <p:cNvPr id="441607" name="Freeform 819"/>
                    <p:cNvSpPr>
                      <a:spLocks/>
                    </p:cNvSpPr>
                    <p:nvPr/>
                  </p:nvSpPr>
                  <p:spPr bwMode="gray">
                    <a:xfrm>
                      <a:off x="3801" y="2084"/>
                      <a:ext cx="10" cy="16"/>
                    </a:xfrm>
                    <a:custGeom>
                      <a:avLst/>
                      <a:gdLst>
                        <a:gd name="T0" fmla="*/ 0 w 10"/>
                        <a:gd name="T1" fmla="*/ 6 h 16"/>
                        <a:gd name="T2" fmla="*/ 8 w 10"/>
                        <a:gd name="T3" fmla="*/ 9 h 16"/>
                        <a:gd name="T4" fmla="*/ 0 w 10"/>
                        <a:gd name="T5" fmla="*/ 6 h 16"/>
                        <a:gd name="T6" fmla="*/ 0 60000 65536"/>
                        <a:gd name="T7" fmla="*/ 0 60000 65536"/>
                        <a:gd name="T8" fmla="*/ 0 60000 65536"/>
                        <a:gd name="T9" fmla="*/ 0 w 10"/>
                        <a:gd name="T10" fmla="*/ 0 h 16"/>
                        <a:gd name="T11" fmla="*/ 10 w 10"/>
                        <a:gd name="T12" fmla="*/ 16 h 16"/>
                      </a:gdLst>
                      <a:ahLst/>
                      <a:cxnLst>
                        <a:cxn ang="T6">
                          <a:pos x="T0" y="T1"/>
                        </a:cxn>
                        <a:cxn ang="T7">
                          <a:pos x="T2" y="T3"/>
                        </a:cxn>
                        <a:cxn ang="T8">
                          <a:pos x="T4" y="T5"/>
                        </a:cxn>
                      </a:cxnLst>
                      <a:rect l="T9" t="T10" r="T11" b="T12"/>
                      <a:pathLst>
                        <a:path w="10" h="16">
                          <a:moveTo>
                            <a:pt x="0" y="6"/>
                          </a:moveTo>
                          <a:cubicBezTo>
                            <a:pt x="2" y="11"/>
                            <a:pt x="4" y="16"/>
                            <a:pt x="8" y="9"/>
                          </a:cubicBezTo>
                          <a:cubicBezTo>
                            <a:pt x="10" y="1"/>
                            <a:pt x="4" y="0"/>
                            <a:pt x="0" y="6"/>
                          </a:cubicBezTo>
                          <a:close/>
                        </a:path>
                      </a:pathLst>
                    </a:custGeom>
                    <a:solidFill>
                      <a:srgbClr val="6D4A2F"/>
                    </a:solidFill>
                    <a:ln w="19050">
                      <a:noFill/>
                      <a:round/>
                      <a:headEnd/>
                      <a:tailEnd/>
                    </a:ln>
                  </p:spPr>
                  <p:txBody>
                    <a:bodyPr wrap="none" lIns="90000" tIns="46800" rIns="90000" bIns="46800" anchor="ctr"/>
                    <a:lstStyle/>
                    <a:p>
                      <a:pPr defTabSz="912546"/>
                      <a:endParaRPr>
                        <a:solidFill>
                          <a:srgbClr val="000000"/>
                        </a:solidFill>
                      </a:endParaRPr>
                    </a:p>
                  </p:txBody>
                </p:sp>
              </p:grpSp>
              <p:sp>
                <p:nvSpPr>
                  <p:cNvPr id="441586" name="Freeform 820"/>
                  <p:cNvSpPr>
                    <a:spLocks/>
                  </p:cNvSpPr>
                  <p:nvPr/>
                </p:nvSpPr>
                <p:spPr bwMode="gray">
                  <a:xfrm>
                    <a:off x="3730" y="1818"/>
                    <a:ext cx="104" cy="253"/>
                  </a:xfrm>
                  <a:custGeom>
                    <a:avLst/>
                    <a:gdLst>
                      <a:gd name="T0" fmla="*/ 66 w 104"/>
                      <a:gd name="T1" fmla="*/ 2 h 253"/>
                      <a:gd name="T2" fmla="*/ 31 w 104"/>
                      <a:gd name="T3" fmla="*/ 7 h 253"/>
                      <a:gd name="T4" fmla="*/ 7 w 104"/>
                      <a:gd name="T5" fmla="*/ 13 h 253"/>
                      <a:gd name="T6" fmla="*/ 2 w 104"/>
                      <a:gd name="T7" fmla="*/ 45 h 253"/>
                      <a:gd name="T8" fmla="*/ 8 w 104"/>
                      <a:gd name="T9" fmla="*/ 111 h 253"/>
                      <a:gd name="T10" fmla="*/ 13 w 104"/>
                      <a:gd name="T11" fmla="*/ 141 h 253"/>
                      <a:gd name="T12" fmla="*/ 29 w 104"/>
                      <a:gd name="T13" fmla="*/ 249 h 253"/>
                      <a:gd name="T14" fmla="*/ 40 w 104"/>
                      <a:gd name="T15" fmla="*/ 250 h 253"/>
                      <a:gd name="T16" fmla="*/ 50 w 104"/>
                      <a:gd name="T17" fmla="*/ 234 h 253"/>
                      <a:gd name="T18" fmla="*/ 53 w 104"/>
                      <a:gd name="T19" fmla="*/ 151 h 253"/>
                      <a:gd name="T20" fmla="*/ 54 w 104"/>
                      <a:gd name="T21" fmla="*/ 90 h 253"/>
                      <a:gd name="T22" fmla="*/ 61 w 104"/>
                      <a:gd name="T23" fmla="*/ 136 h 253"/>
                      <a:gd name="T24" fmla="*/ 65 w 104"/>
                      <a:gd name="T25" fmla="*/ 186 h 253"/>
                      <a:gd name="T26" fmla="*/ 73 w 104"/>
                      <a:gd name="T27" fmla="*/ 247 h 253"/>
                      <a:gd name="T28" fmla="*/ 91 w 104"/>
                      <a:gd name="T29" fmla="*/ 252 h 253"/>
                      <a:gd name="T30" fmla="*/ 95 w 104"/>
                      <a:gd name="T31" fmla="*/ 246 h 253"/>
                      <a:gd name="T32" fmla="*/ 101 w 104"/>
                      <a:gd name="T33" fmla="*/ 153 h 253"/>
                      <a:gd name="T34" fmla="*/ 104 w 104"/>
                      <a:gd name="T35" fmla="*/ 68 h 253"/>
                      <a:gd name="T36" fmla="*/ 99 w 104"/>
                      <a:gd name="T37" fmla="*/ 29 h 253"/>
                      <a:gd name="T38" fmla="*/ 86 w 104"/>
                      <a:gd name="T39" fmla="*/ 4 h 253"/>
                      <a:gd name="T40" fmla="*/ 66 w 104"/>
                      <a:gd name="T41" fmla="*/ 2 h 2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4"/>
                      <a:gd name="T64" fmla="*/ 0 h 253"/>
                      <a:gd name="T65" fmla="*/ 104 w 104"/>
                      <a:gd name="T66" fmla="*/ 253 h 2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4" h="253">
                        <a:moveTo>
                          <a:pt x="66" y="2"/>
                        </a:moveTo>
                        <a:cubicBezTo>
                          <a:pt x="55" y="8"/>
                          <a:pt x="42" y="6"/>
                          <a:pt x="31" y="7"/>
                        </a:cubicBezTo>
                        <a:cubicBezTo>
                          <a:pt x="21" y="8"/>
                          <a:pt x="12" y="5"/>
                          <a:pt x="7" y="13"/>
                        </a:cubicBezTo>
                        <a:cubicBezTo>
                          <a:pt x="6" y="24"/>
                          <a:pt x="5" y="35"/>
                          <a:pt x="2" y="45"/>
                        </a:cubicBezTo>
                        <a:cubicBezTo>
                          <a:pt x="0" y="74"/>
                          <a:pt x="3" y="81"/>
                          <a:pt x="8" y="111"/>
                        </a:cubicBezTo>
                        <a:cubicBezTo>
                          <a:pt x="8" y="122"/>
                          <a:pt x="10" y="132"/>
                          <a:pt x="13" y="141"/>
                        </a:cubicBezTo>
                        <a:cubicBezTo>
                          <a:pt x="13" y="156"/>
                          <a:pt x="21" y="247"/>
                          <a:pt x="29" y="249"/>
                        </a:cubicBezTo>
                        <a:cubicBezTo>
                          <a:pt x="36" y="252"/>
                          <a:pt x="32" y="251"/>
                          <a:pt x="40" y="250"/>
                        </a:cubicBezTo>
                        <a:cubicBezTo>
                          <a:pt x="50" y="247"/>
                          <a:pt x="48" y="247"/>
                          <a:pt x="50" y="234"/>
                        </a:cubicBezTo>
                        <a:cubicBezTo>
                          <a:pt x="50" y="189"/>
                          <a:pt x="50" y="180"/>
                          <a:pt x="53" y="151"/>
                        </a:cubicBezTo>
                        <a:cubicBezTo>
                          <a:pt x="54" y="130"/>
                          <a:pt x="50" y="113"/>
                          <a:pt x="54" y="90"/>
                        </a:cubicBezTo>
                        <a:cubicBezTo>
                          <a:pt x="55" y="108"/>
                          <a:pt x="60" y="124"/>
                          <a:pt x="61" y="136"/>
                        </a:cubicBezTo>
                        <a:cubicBezTo>
                          <a:pt x="62" y="165"/>
                          <a:pt x="63" y="157"/>
                          <a:pt x="65" y="186"/>
                        </a:cubicBezTo>
                        <a:cubicBezTo>
                          <a:pt x="66" y="194"/>
                          <a:pt x="71" y="233"/>
                          <a:pt x="73" y="247"/>
                        </a:cubicBezTo>
                        <a:cubicBezTo>
                          <a:pt x="83" y="251"/>
                          <a:pt x="83" y="253"/>
                          <a:pt x="91" y="252"/>
                        </a:cubicBezTo>
                        <a:cubicBezTo>
                          <a:pt x="97" y="251"/>
                          <a:pt x="94" y="251"/>
                          <a:pt x="95" y="246"/>
                        </a:cubicBezTo>
                        <a:cubicBezTo>
                          <a:pt x="104" y="196"/>
                          <a:pt x="97" y="183"/>
                          <a:pt x="101" y="153"/>
                        </a:cubicBezTo>
                        <a:cubicBezTo>
                          <a:pt x="102" y="125"/>
                          <a:pt x="103" y="96"/>
                          <a:pt x="104" y="68"/>
                        </a:cubicBezTo>
                        <a:cubicBezTo>
                          <a:pt x="103" y="55"/>
                          <a:pt x="103" y="41"/>
                          <a:pt x="99" y="29"/>
                        </a:cubicBezTo>
                        <a:cubicBezTo>
                          <a:pt x="97" y="19"/>
                          <a:pt x="95" y="10"/>
                          <a:pt x="86" y="4"/>
                        </a:cubicBezTo>
                        <a:cubicBezTo>
                          <a:pt x="81" y="0"/>
                          <a:pt x="75" y="2"/>
                          <a:pt x="66" y="2"/>
                        </a:cubicBezTo>
                        <a:close/>
                      </a:path>
                    </a:pathLst>
                  </a:custGeom>
                  <a:solidFill>
                    <a:srgbClr val="125760"/>
                  </a:solidFill>
                  <a:ln w="9525">
                    <a:noFill/>
                    <a:round/>
                    <a:headEnd/>
                    <a:tailEnd/>
                  </a:ln>
                </p:spPr>
                <p:txBody>
                  <a:bodyPr wrap="none" anchor="ctr"/>
                  <a:lstStyle/>
                  <a:p>
                    <a:pPr defTabSz="912546"/>
                    <a:endParaRPr>
                      <a:solidFill>
                        <a:srgbClr val="000000"/>
                      </a:solidFill>
                    </a:endParaRPr>
                  </a:p>
                </p:txBody>
              </p:sp>
              <p:sp>
                <p:nvSpPr>
                  <p:cNvPr id="441587" name="Freeform 821"/>
                  <p:cNvSpPr>
                    <a:spLocks/>
                  </p:cNvSpPr>
                  <p:nvPr/>
                </p:nvSpPr>
                <p:spPr bwMode="gray">
                  <a:xfrm>
                    <a:off x="3674" y="1697"/>
                    <a:ext cx="208" cy="180"/>
                  </a:xfrm>
                  <a:custGeom>
                    <a:avLst/>
                    <a:gdLst>
                      <a:gd name="T0" fmla="*/ 114 w 208"/>
                      <a:gd name="T1" fmla="*/ 0 h 180"/>
                      <a:gd name="T2" fmla="*/ 97 w 208"/>
                      <a:gd name="T3" fmla="*/ 4 h 180"/>
                      <a:gd name="T4" fmla="*/ 68 w 208"/>
                      <a:gd name="T5" fmla="*/ 21 h 180"/>
                      <a:gd name="T6" fmla="*/ 56 w 208"/>
                      <a:gd name="T7" fmla="*/ 25 h 180"/>
                      <a:gd name="T8" fmla="*/ 28 w 208"/>
                      <a:gd name="T9" fmla="*/ 52 h 180"/>
                      <a:gd name="T10" fmla="*/ 7 w 208"/>
                      <a:gd name="T11" fmla="*/ 78 h 180"/>
                      <a:gd name="T12" fmla="*/ 3 w 208"/>
                      <a:gd name="T13" fmla="*/ 91 h 180"/>
                      <a:gd name="T14" fmla="*/ 18 w 208"/>
                      <a:gd name="T15" fmla="*/ 112 h 180"/>
                      <a:gd name="T16" fmla="*/ 40 w 208"/>
                      <a:gd name="T17" fmla="*/ 133 h 180"/>
                      <a:gd name="T18" fmla="*/ 43 w 208"/>
                      <a:gd name="T19" fmla="*/ 133 h 180"/>
                      <a:gd name="T20" fmla="*/ 56 w 208"/>
                      <a:gd name="T21" fmla="*/ 125 h 180"/>
                      <a:gd name="T22" fmla="*/ 37 w 208"/>
                      <a:gd name="T23" fmla="*/ 97 h 180"/>
                      <a:gd name="T24" fmla="*/ 34 w 208"/>
                      <a:gd name="T25" fmla="*/ 91 h 180"/>
                      <a:gd name="T26" fmla="*/ 41 w 208"/>
                      <a:gd name="T27" fmla="*/ 81 h 180"/>
                      <a:gd name="T28" fmla="*/ 53 w 208"/>
                      <a:gd name="T29" fmla="*/ 69 h 180"/>
                      <a:gd name="T30" fmla="*/ 68 w 208"/>
                      <a:gd name="T31" fmla="*/ 104 h 180"/>
                      <a:gd name="T32" fmla="*/ 68 w 208"/>
                      <a:gd name="T33" fmla="*/ 117 h 180"/>
                      <a:gd name="T34" fmla="*/ 61 w 208"/>
                      <a:gd name="T35" fmla="*/ 141 h 180"/>
                      <a:gd name="T36" fmla="*/ 60 w 208"/>
                      <a:gd name="T37" fmla="*/ 151 h 180"/>
                      <a:gd name="T38" fmla="*/ 58 w 208"/>
                      <a:gd name="T39" fmla="*/ 160 h 180"/>
                      <a:gd name="T40" fmla="*/ 66 w 208"/>
                      <a:gd name="T41" fmla="*/ 175 h 180"/>
                      <a:gd name="T42" fmla="*/ 110 w 208"/>
                      <a:gd name="T43" fmla="*/ 118 h 180"/>
                      <a:gd name="T44" fmla="*/ 126 w 208"/>
                      <a:gd name="T45" fmla="*/ 151 h 180"/>
                      <a:gd name="T46" fmla="*/ 159 w 208"/>
                      <a:gd name="T47" fmla="*/ 180 h 180"/>
                      <a:gd name="T48" fmla="*/ 160 w 208"/>
                      <a:gd name="T49" fmla="*/ 166 h 180"/>
                      <a:gd name="T50" fmla="*/ 150 w 208"/>
                      <a:gd name="T51" fmla="*/ 139 h 180"/>
                      <a:gd name="T52" fmla="*/ 153 w 208"/>
                      <a:gd name="T53" fmla="*/ 129 h 180"/>
                      <a:gd name="T54" fmla="*/ 150 w 208"/>
                      <a:gd name="T55" fmla="*/ 106 h 180"/>
                      <a:gd name="T56" fmla="*/ 158 w 208"/>
                      <a:gd name="T57" fmla="*/ 71 h 180"/>
                      <a:gd name="T58" fmla="*/ 169 w 208"/>
                      <a:gd name="T59" fmla="*/ 81 h 180"/>
                      <a:gd name="T60" fmla="*/ 174 w 208"/>
                      <a:gd name="T61" fmla="*/ 96 h 180"/>
                      <a:gd name="T62" fmla="*/ 167 w 208"/>
                      <a:gd name="T63" fmla="*/ 107 h 180"/>
                      <a:gd name="T64" fmla="*/ 160 w 208"/>
                      <a:gd name="T65" fmla="*/ 121 h 180"/>
                      <a:gd name="T66" fmla="*/ 174 w 208"/>
                      <a:gd name="T67" fmla="*/ 138 h 180"/>
                      <a:gd name="T68" fmla="*/ 198 w 208"/>
                      <a:gd name="T69" fmla="*/ 109 h 180"/>
                      <a:gd name="T70" fmla="*/ 208 w 208"/>
                      <a:gd name="T71" fmla="*/ 90 h 180"/>
                      <a:gd name="T72" fmla="*/ 196 w 208"/>
                      <a:gd name="T73" fmla="*/ 64 h 180"/>
                      <a:gd name="T74" fmla="*/ 167 w 208"/>
                      <a:gd name="T75" fmla="*/ 26 h 180"/>
                      <a:gd name="T76" fmla="*/ 153 w 208"/>
                      <a:gd name="T77" fmla="*/ 18 h 180"/>
                      <a:gd name="T78" fmla="*/ 114 w 208"/>
                      <a:gd name="T79" fmla="*/ 0 h 1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180"/>
                      <a:gd name="T122" fmla="*/ 208 w 208"/>
                      <a:gd name="T123" fmla="*/ 180 h 1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180">
                        <a:moveTo>
                          <a:pt x="114" y="0"/>
                        </a:moveTo>
                        <a:cubicBezTo>
                          <a:pt x="107" y="3"/>
                          <a:pt x="106" y="3"/>
                          <a:pt x="97" y="4"/>
                        </a:cubicBezTo>
                        <a:cubicBezTo>
                          <a:pt x="92" y="12"/>
                          <a:pt x="74" y="18"/>
                          <a:pt x="68" y="21"/>
                        </a:cubicBezTo>
                        <a:cubicBezTo>
                          <a:pt x="61" y="21"/>
                          <a:pt x="61" y="22"/>
                          <a:pt x="56" y="25"/>
                        </a:cubicBezTo>
                        <a:cubicBezTo>
                          <a:pt x="49" y="31"/>
                          <a:pt x="37" y="43"/>
                          <a:pt x="28" y="52"/>
                        </a:cubicBezTo>
                        <a:cubicBezTo>
                          <a:pt x="22" y="62"/>
                          <a:pt x="12" y="68"/>
                          <a:pt x="7" y="78"/>
                        </a:cubicBezTo>
                        <a:cubicBezTo>
                          <a:pt x="5" y="85"/>
                          <a:pt x="0" y="83"/>
                          <a:pt x="3" y="91"/>
                        </a:cubicBezTo>
                        <a:cubicBezTo>
                          <a:pt x="5" y="99"/>
                          <a:pt x="10" y="107"/>
                          <a:pt x="18" y="112"/>
                        </a:cubicBezTo>
                        <a:cubicBezTo>
                          <a:pt x="25" y="121"/>
                          <a:pt x="29" y="127"/>
                          <a:pt x="40" y="133"/>
                        </a:cubicBezTo>
                        <a:cubicBezTo>
                          <a:pt x="45" y="132"/>
                          <a:pt x="43" y="133"/>
                          <a:pt x="43" y="133"/>
                        </a:cubicBezTo>
                        <a:cubicBezTo>
                          <a:pt x="46" y="129"/>
                          <a:pt x="55" y="130"/>
                          <a:pt x="56" y="125"/>
                        </a:cubicBezTo>
                        <a:cubicBezTo>
                          <a:pt x="55" y="117"/>
                          <a:pt x="47" y="109"/>
                          <a:pt x="37" y="97"/>
                        </a:cubicBezTo>
                        <a:cubicBezTo>
                          <a:pt x="36" y="92"/>
                          <a:pt x="35" y="95"/>
                          <a:pt x="34" y="91"/>
                        </a:cubicBezTo>
                        <a:cubicBezTo>
                          <a:pt x="40" y="83"/>
                          <a:pt x="28" y="88"/>
                          <a:pt x="41" y="81"/>
                        </a:cubicBezTo>
                        <a:cubicBezTo>
                          <a:pt x="44" y="77"/>
                          <a:pt x="49" y="71"/>
                          <a:pt x="53" y="69"/>
                        </a:cubicBezTo>
                        <a:cubicBezTo>
                          <a:pt x="57" y="73"/>
                          <a:pt x="65" y="97"/>
                          <a:pt x="68" y="104"/>
                        </a:cubicBezTo>
                        <a:cubicBezTo>
                          <a:pt x="69" y="109"/>
                          <a:pt x="67" y="114"/>
                          <a:pt x="68" y="117"/>
                        </a:cubicBezTo>
                        <a:cubicBezTo>
                          <a:pt x="66" y="125"/>
                          <a:pt x="64" y="134"/>
                          <a:pt x="61" y="141"/>
                        </a:cubicBezTo>
                        <a:cubicBezTo>
                          <a:pt x="60" y="145"/>
                          <a:pt x="62" y="148"/>
                          <a:pt x="60" y="151"/>
                        </a:cubicBezTo>
                        <a:cubicBezTo>
                          <a:pt x="59" y="158"/>
                          <a:pt x="60" y="154"/>
                          <a:pt x="58" y="160"/>
                        </a:cubicBezTo>
                        <a:cubicBezTo>
                          <a:pt x="56" y="172"/>
                          <a:pt x="51" y="173"/>
                          <a:pt x="66" y="175"/>
                        </a:cubicBezTo>
                        <a:cubicBezTo>
                          <a:pt x="79" y="170"/>
                          <a:pt x="98" y="164"/>
                          <a:pt x="110" y="118"/>
                        </a:cubicBezTo>
                        <a:cubicBezTo>
                          <a:pt x="112" y="123"/>
                          <a:pt x="116" y="139"/>
                          <a:pt x="126" y="151"/>
                        </a:cubicBezTo>
                        <a:cubicBezTo>
                          <a:pt x="136" y="161"/>
                          <a:pt x="138" y="171"/>
                          <a:pt x="159" y="180"/>
                        </a:cubicBezTo>
                        <a:cubicBezTo>
                          <a:pt x="161" y="178"/>
                          <a:pt x="162" y="170"/>
                          <a:pt x="160" y="166"/>
                        </a:cubicBezTo>
                        <a:cubicBezTo>
                          <a:pt x="153" y="153"/>
                          <a:pt x="156" y="146"/>
                          <a:pt x="150" y="139"/>
                        </a:cubicBezTo>
                        <a:cubicBezTo>
                          <a:pt x="150" y="134"/>
                          <a:pt x="155" y="133"/>
                          <a:pt x="153" y="129"/>
                        </a:cubicBezTo>
                        <a:cubicBezTo>
                          <a:pt x="152" y="124"/>
                          <a:pt x="151" y="111"/>
                          <a:pt x="150" y="106"/>
                        </a:cubicBezTo>
                        <a:cubicBezTo>
                          <a:pt x="150" y="97"/>
                          <a:pt x="155" y="77"/>
                          <a:pt x="158" y="71"/>
                        </a:cubicBezTo>
                        <a:cubicBezTo>
                          <a:pt x="164" y="74"/>
                          <a:pt x="164" y="77"/>
                          <a:pt x="169" y="81"/>
                        </a:cubicBezTo>
                        <a:cubicBezTo>
                          <a:pt x="167" y="87"/>
                          <a:pt x="169" y="93"/>
                          <a:pt x="174" y="96"/>
                        </a:cubicBezTo>
                        <a:cubicBezTo>
                          <a:pt x="174" y="101"/>
                          <a:pt x="172" y="102"/>
                          <a:pt x="167" y="107"/>
                        </a:cubicBezTo>
                        <a:cubicBezTo>
                          <a:pt x="166" y="112"/>
                          <a:pt x="163" y="115"/>
                          <a:pt x="160" y="121"/>
                        </a:cubicBezTo>
                        <a:cubicBezTo>
                          <a:pt x="163" y="127"/>
                          <a:pt x="166" y="137"/>
                          <a:pt x="174" y="138"/>
                        </a:cubicBezTo>
                        <a:cubicBezTo>
                          <a:pt x="180" y="136"/>
                          <a:pt x="192" y="117"/>
                          <a:pt x="198" y="109"/>
                        </a:cubicBezTo>
                        <a:cubicBezTo>
                          <a:pt x="199" y="102"/>
                          <a:pt x="205" y="97"/>
                          <a:pt x="208" y="90"/>
                        </a:cubicBezTo>
                        <a:cubicBezTo>
                          <a:pt x="208" y="80"/>
                          <a:pt x="201" y="71"/>
                          <a:pt x="196" y="64"/>
                        </a:cubicBezTo>
                        <a:cubicBezTo>
                          <a:pt x="189" y="54"/>
                          <a:pt x="174" y="34"/>
                          <a:pt x="167" y="26"/>
                        </a:cubicBezTo>
                        <a:cubicBezTo>
                          <a:pt x="166" y="18"/>
                          <a:pt x="161" y="20"/>
                          <a:pt x="153" y="18"/>
                        </a:cubicBezTo>
                        <a:cubicBezTo>
                          <a:pt x="145" y="15"/>
                          <a:pt x="130" y="15"/>
                          <a:pt x="114" y="0"/>
                        </a:cubicBezTo>
                        <a:close/>
                      </a:path>
                    </a:pathLst>
                  </a:custGeom>
                  <a:solidFill>
                    <a:srgbClr val="A6A08C"/>
                  </a:solidFill>
                  <a:ln w="9525">
                    <a:noFill/>
                    <a:round/>
                    <a:headEnd/>
                    <a:tailEnd/>
                  </a:ln>
                </p:spPr>
                <p:txBody>
                  <a:bodyPr wrap="none" anchor="ctr"/>
                  <a:lstStyle/>
                  <a:p>
                    <a:pPr defTabSz="912546"/>
                    <a:endParaRPr>
                      <a:solidFill>
                        <a:srgbClr val="000000"/>
                      </a:solidFill>
                    </a:endParaRPr>
                  </a:p>
                </p:txBody>
              </p:sp>
              <p:sp>
                <p:nvSpPr>
                  <p:cNvPr id="441588" name="Freeform 822"/>
                  <p:cNvSpPr>
                    <a:spLocks/>
                  </p:cNvSpPr>
                  <p:nvPr/>
                </p:nvSpPr>
                <p:spPr bwMode="gray">
                  <a:xfrm>
                    <a:off x="3765" y="1697"/>
                    <a:ext cx="33" cy="134"/>
                  </a:xfrm>
                  <a:custGeom>
                    <a:avLst/>
                    <a:gdLst>
                      <a:gd name="T0" fmla="*/ 2 w 40"/>
                      <a:gd name="T1" fmla="*/ 1 h 188"/>
                      <a:gd name="T2" fmla="*/ 0 w 40"/>
                      <a:gd name="T3" fmla="*/ 1 h 188"/>
                      <a:gd name="T4" fmla="*/ 2 w 40"/>
                      <a:gd name="T5" fmla="*/ 1 h 188"/>
                      <a:gd name="T6" fmla="*/ 2 w 40"/>
                      <a:gd name="T7" fmla="*/ 1 h 188"/>
                      <a:gd name="T8" fmla="*/ 2 w 40"/>
                      <a:gd name="T9" fmla="*/ 2 h 188"/>
                      <a:gd name="T10" fmla="*/ 2 w 40"/>
                      <a:gd name="T11" fmla="*/ 2 h 188"/>
                      <a:gd name="T12" fmla="*/ 2 w 40"/>
                      <a:gd name="T13" fmla="*/ 2 h 188"/>
                      <a:gd name="T14" fmla="*/ 3 w 40"/>
                      <a:gd name="T15" fmla="*/ 1 h 188"/>
                      <a:gd name="T16" fmla="*/ 2 w 40"/>
                      <a:gd name="T17" fmla="*/ 1 h 188"/>
                      <a:gd name="T18" fmla="*/ 2 w 40"/>
                      <a:gd name="T19" fmla="*/ 1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88"/>
                      <a:gd name="T32" fmla="*/ 40 w 40"/>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88">
                        <a:moveTo>
                          <a:pt x="11" y="6"/>
                        </a:moveTo>
                        <a:cubicBezTo>
                          <a:pt x="10" y="8"/>
                          <a:pt x="1" y="16"/>
                          <a:pt x="0" y="21"/>
                        </a:cubicBezTo>
                        <a:cubicBezTo>
                          <a:pt x="1" y="27"/>
                          <a:pt x="2" y="33"/>
                          <a:pt x="5" y="39"/>
                        </a:cubicBezTo>
                        <a:cubicBezTo>
                          <a:pt x="8" y="48"/>
                          <a:pt x="17" y="53"/>
                          <a:pt x="18" y="77"/>
                        </a:cubicBezTo>
                        <a:cubicBezTo>
                          <a:pt x="24" y="134"/>
                          <a:pt x="21" y="146"/>
                          <a:pt x="14" y="182"/>
                        </a:cubicBezTo>
                        <a:cubicBezTo>
                          <a:pt x="19" y="188"/>
                          <a:pt x="22" y="186"/>
                          <a:pt x="29" y="183"/>
                        </a:cubicBezTo>
                        <a:cubicBezTo>
                          <a:pt x="26" y="167"/>
                          <a:pt x="24" y="161"/>
                          <a:pt x="24" y="141"/>
                        </a:cubicBezTo>
                        <a:cubicBezTo>
                          <a:pt x="26" y="98"/>
                          <a:pt x="18" y="67"/>
                          <a:pt x="38" y="26"/>
                        </a:cubicBezTo>
                        <a:cubicBezTo>
                          <a:pt x="40" y="14"/>
                          <a:pt x="40" y="8"/>
                          <a:pt x="27" y="3"/>
                        </a:cubicBezTo>
                        <a:cubicBezTo>
                          <a:pt x="23" y="0"/>
                          <a:pt x="15" y="3"/>
                          <a:pt x="11" y="6"/>
                        </a:cubicBezTo>
                        <a:close/>
                      </a:path>
                    </a:pathLst>
                  </a:custGeom>
                  <a:solidFill>
                    <a:srgbClr val="D2F2F6"/>
                  </a:solidFill>
                  <a:ln w="9525">
                    <a:noFill/>
                    <a:round/>
                    <a:headEnd/>
                    <a:tailEnd/>
                  </a:ln>
                </p:spPr>
                <p:txBody>
                  <a:bodyPr wrap="none" anchor="ctr"/>
                  <a:lstStyle/>
                  <a:p>
                    <a:pPr defTabSz="912546"/>
                    <a:endParaRPr>
                      <a:solidFill>
                        <a:srgbClr val="000000"/>
                      </a:solidFill>
                    </a:endParaRPr>
                  </a:p>
                </p:txBody>
              </p:sp>
              <p:sp>
                <p:nvSpPr>
                  <p:cNvPr id="441589" name="Freeform 823"/>
                  <p:cNvSpPr>
                    <a:spLocks/>
                  </p:cNvSpPr>
                  <p:nvPr/>
                </p:nvSpPr>
                <p:spPr bwMode="gray">
                  <a:xfrm>
                    <a:off x="3713" y="1821"/>
                    <a:ext cx="25" cy="21"/>
                  </a:xfrm>
                  <a:custGeom>
                    <a:avLst/>
                    <a:gdLst>
                      <a:gd name="T0" fmla="*/ 19 w 25"/>
                      <a:gd name="T1" fmla="*/ 0 h 21"/>
                      <a:gd name="T2" fmla="*/ 7 w 25"/>
                      <a:gd name="T3" fmla="*/ 21 h 21"/>
                      <a:gd name="T4" fmla="*/ 1 w 25"/>
                      <a:gd name="T5" fmla="*/ 8 h 21"/>
                      <a:gd name="T6" fmla="*/ 19 w 25"/>
                      <a:gd name="T7" fmla="*/ 0 h 21"/>
                      <a:gd name="T8" fmla="*/ 0 60000 65536"/>
                      <a:gd name="T9" fmla="*/ 0 60000 65536"/>
                      <a:gd name="T10" fmla="*/ 0 60000 65536"/>
                      <a:gd name="T11" fmla="*/ 0 60000 65536"/>
                      <a:gd name="T12" fmla="*/ 0 w 25"/>
                      <a:gd name="T13" fmla="*/ 0 h 21"/>
                      <a:gd name="T14" fmla="*/ 25 w 25"/>
                      <a:gd name="T15" fmla="*/ 21 h 21"/>
                    </a:gdLst>
                    <a:ahLst/>
                    <a:cxnLst>
                      <a:cxn ang="T8">
                        <a:pos x="T0" y="T1"/>
                      </a:cxn>
                      <a:cxn ang="T9">
                        <a:pos x="T2" y="T3"/>
                      </a:cxn>
                      <a:cxn ang="T10">
                        <a:pos x="T4" y="T5"/>
                      </a:cxn>
                      <a:cxn ang="T11">
                        <a:pos x="T6" y="T7"/>
                      </a:cxn>
                    </a:cxnLst>
                    <a:rect l="T12" t="T13" r="T14" b="T15"/>
                    <a:pathLst>
                      <a:path w="25" h="21">
                        <a:moveTo>
                          <a:pt x="19" y="0"/>
                        </a:moveTo>
                        <a:cubicBezTo>
                          <a:pt x="25" y="8"/>
                          <a:pt x="13" y="16"/>
                          <a:pt x="7" y="21"/>
                        </a:cubicBezTo>
                        <a:cubicBezTo>
                          <a:pt x="0" y="16"/>
                          <a:pt x="1" y="12"/>
                          <a:pt x="1" y="8"/>
                        </a:cubicBezTo>
                        <a:cubicBezTo>
                          <a:pt x="4" y="5"/>
                          <a:pt x="15" y="3"/>
                          <a:pt x="19" y="0"/>
                        </a:cubicBezTo>
                        <a:close/>
                      </a:path>
                    </a:pathLst>
                  </a:custGeom>
                  <a:solidFill>
                    <a:srgbClr val="D2F2F6"/>
                  </a:solidFill>
                  <a:ln w="9525">
                    <a:noFill/>
                    <a:round/>
                    <a:headEnd/>
                    <a:tailEnd/>
                  </a:ln>
                </p:spPr>
                <p:txBody>
                  <a:bodyPr wrap="none" anchor="ctr"/>
                  <a:lstStyle/>
                  <a:p>
                    <a:pPr defTabSz="912546"/>
                    <a:endParaRPr>
                      <a:solidFill>
                        <a:srgbClr val="000000"/>
                      </a:solidFill>
                    </a:endParaRPr>
                  </a:p>
                </p:txBody>
              </p:sp>
              <p:sp>
                <p:nvSpPr>
                  <p:cNvPr id="441590" name="Freeform 824"/>
                  <p:cNvSpPr>
                    <a:spLocks/>
                  </p:cNvSpPr>
                  <p:nvPr/>
                </p:nvSpPr>
                <p:spPr bwMode="gray">
                  <a:xfrm>
                    <a:off x="3832" y="1821"/>
                    <a:ext cx="23" cy="17"/>
                  </a:xfrm>
                  <a:custGeom>
                    <a:avLst/>
                    <a:gdLst>
                      <a:gd name="T0" fmla="*/ 4 w 23"/>
                      <a:gd name="T1" fmla="*/ 0 h 17"/>
                      <a:gd name="T2" fmla="*/ 0 w 23"/>
                      <a:gd name="T3" fmla="*/ 10 h 17"/>
                      <a:gd name="T4" fmla="*/ 12 w 23"/>
                      <a:gd name="T5" fmla="*/ 17 h 17"/>
                      <a:gd name="T6" fmla="*/ 22 w 23"/>
                      <a:gd name="T7" fmla="*/ 9 h 17"/>
                      <a:gd name="T8" fmla="*/ 4 w 23"/>
                      <a:gd name="T9" fmla="*/ 0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4" y="0"/>
                        </a:moveTo>
                        <a:cubicBezTo>
                          <a:pt x="2" y="3"/>
                          <a:pt x="2" y="7"/>
                          <a:pt x="0" y="10"/>
                        </a:cubicBezTo>
                        <a:cubicBezTo>
                          <a:pt x="6" y="13"/>
                          <a:pt x="5" y="16"/>
                          <a:pt x="12" y="17"/>
                        </a:cubicBezTo>
                        <a:cubicBezTo>
                          <a:pt x="15" y="17"/>
                          <a:pt x="23" y="12"/>
                          <a:pt x="22" y="9"/>
                        </a:cubicBezTo>
                        <a:cubicBezTo>
                          <a:pt x="19" y="6"/>
                          <a:pt x="7" y="3"/>
                          <a:pt x="4" y="0"/>
                        </a:cubicBezTo>
                        <a:close/>
                      </a:path>
                    </a:pathLst>
                  </a:custGeom>
                  <a:solidFill>
                    <a:srgbClr val="D2F2F6"/>
                  </a:solidFill>
                  <a:ln w="9525">
                    <a:noFill/>
                    <a:round/>
                    <a:headEnd/>
                    <a:tailEnd/>
                  </a:ln>
                </p:spPr>
                <p:txBody>
                  <a:bodyPr wrap="none" anchor="ctr"/>
                  <a:lstStyle/>
                  <a:p>
                    <a:pPr defTabSz="912546"/>
                    <a:endParaRPr>
                      <a:solidFill>
                        <a:srgbClr val="000000"/>
                      </a:solidFill>
                    </a:endParaRPr>
                  </a:p>
                </p:txBody>
              </p:sp>
              <p:sp>
                <p:nvSpPr>
                  <p:cNvPr id="441591" name="Freeform 825"/>
                  <p:cNvSpPr>
                    <a:spLocks/>
                  </p:cNvSpPr>
                  <p:nvPr/>
                </p:nvSpPr>
                <p:spPr bwMode="gray">
                  <a:xfrm>
                    <a:off x="3725" y="1819"/>
                    <a:ext cx="37" cy="29"/>
                  </a:xfrm>
                  <a:custGeom>
                    <a:avLst/>
                    <a:gdLst>
                      <a:gd name="T0" fmla="*/ 3 w 44"/>
                      <a:gd name="T1" fmla="*/ 2 h 38"/>
                      <a:gd name="T2" fmla="*/ 3 w 44"/>
                      <a:gd name="T3" fmla="*/ 0 h 38"/>
                      <a:gd name="T4" fmla="*/ 4 w 44"/>
                      <a:gd name="T5" fmla="*/ 2 h 38"/>
                      <a:gd name="T6" fmla="*/ 3 w 44"/>
                      <a:gd name="T7" fmla="*/ 2 h 38"/>
                      <a:gd name="T8" fmla="*/ 3 w 44"/>
                      <a:gd name="T9" fmla="*/ 2 h 38"/>
                      <a:gd name="T10" fmla="*/ 0 w 44"/>
                      <a:gd name="T11" fmla="*/ 2 h 38"/>
                      <a:gd name="T12" fmla="*/ 3 w 44"/>
                      <a:gd name="T13" fmla="*/ 2 h 38"/>
                      <a:gd name="T14" fmla="*/ 0 60000 65536"/>
                      <a:gd name="T15" fmla="*/ 0 60000 65536"/>
                      <a:gd name="T16" fmla="*/ 0 60000 65536"/>
                      <a:gd name="T17" fmla="*/ 0 60000 65536"/>
                      <a:gd name="T18" fmla="*/ 0 60000 65536"/>
                      <a:gd name="T19" fmla="*/ 0 60000 65536"/>
                      <a:gd name="T20" fmla="*/ 0 60000 65536"/>
                      <a:gd name="T21" fmla="*/ 0 w 44"/>
                      <a:gd name="T22" fmla="*/ 0 h 38"/>
                      <a:gd name="T23" fmla="*/ 44 w 44"/>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38">
                        <a:moveTo>
                          <a:pt x="11" y="9"/>
                        </a:moveTo>
                        <a:cubicBezTo>
                          <a:pt x="15" y="6"/>
                          <a:pt x="20" y="3"/>
                          <a:pt x="24" y="0"/>
                        </a:cubicBezTo>
                        <a:cubicBezTo>
                          <a:pt x="33" y="2"/>
                          <a:pt x="35" y="17"/>
                          <a:pt x="41" y="25"/>
                        </a:cubicBezTo>
                        <a:cubicBezTo>
                          <a:pt x="44" y="38"/>
                          <a:pt x="30" y="32"/>
                          <a:pt x="21" y="31"/>
                        </a:cubicBezTo>
                        <a:cubicBezTo>
                          <a:pt x="14" y="26"/>
                          <a:pt x="17" y="32"/>
                          <a:pt x="9" y="34"/>
                        </a:cubicBezTo>
                        <a:cubicBezTo>
                          <a:pt x="2" y="37"/>
                          <a:pt x="3" y="32"/>
                          <a:pt x="0" y="27"/>
                        </a:cubicBezTo>
                        <a:cubicBezTo>
                          <a:pt x="3" y="20"/>
                          <a:pt x="7" y="15"/>
                          <a:pt x="11" y="9"/>
                        </a:cubicBezTo>
                        <a:close/>
                      </a:path>
                    </a:pathLst>
                  </a:custGeom>
                  <a:solidFill>
                    <a:srgbClr val="C9AC79"/>
                  </a:solidFill>
                  <a:ln w="9525">
                    <a:noFill/>
                    <a:round/>
                    <a:headEnd/>
                    <a:tailEnd/>
                  </a:ln>
                </p:spPr>
                <p:txBody>
                  <a:bodyPr wrap="none" anchor="ctr"/>
                  <a:lstStyle/>
                  <a:p>
                    <a:pPr defTabSz="912546"/>
                    <a:endParaRPr>
                      <a:solidFill>
                        <a:srgbClr val="000000"/>
                      </a:solidFill>
                    </a:endParaRPr>
                  </a:p>
                </p:txBody>
              </p:sp>
              <p:sp>
                <p:nvSpPr>
                  <p:cNvPr id="441592" name="Freeform 826"/>
                  <p:cNvSpPr>
                    <a:spLocks/>
                  </p:cNvSpPr>
                  <p:nvPr/>
                </p:nvSpPr>
                <p:spPr bwMode="gray">
                  <a:xfrm>
                    <a:off x="3812" y="1825"/>
                    <a:ext cx="36" cy="22"/>
                  </a:xfrm>
                  <a:custGeom>
                    <a:avLst/>
                    <a:gdLst>
                      <a:gd name="T0" fmla="*/ 3 w 44"/>
                      <a:gd name="T1" fmla="*/ 2 h 29"/>
                      <a:gd name="T2" fmla="*/ 2 w 44"/>
                      <a:gd name="T3" fmla="*/ 2 h 29"/>
                      <a:gd name="T4" fmla="*/ 2 w 44"/>
                      <a:gd name="T5" fmla="*/ 2 h 29"/>
                      <a:gd name="T6" fmla="*/ 0 w 44"/>
                      <a:gd name="T7" fmla="*/ 2 h 29"/>
                      <a:gd name="T8" fmla="*/ 2 w 44"/>
                      <a:gd name="T9" fmla="*/ 2 h 29"/>
                      <a:gd name="T10" fmla="*/ 2 w 44"/>
                      <a:gd name="T11" fmla="*/ 2 h 29"/>
                      <a:gd name="T12" fmla="*/ 3 w 44"/>
                      <a:gd name="T13" fmla="*/ 2 h 29"/>
                      <a:gd name="T14" fmla="*/ 0 60000 65536"/>
                      <a:gd name="T15" fmla="*/ 0 60000 65536"/>
                      <a:gd name="T16" fmla="*/ 0 60000 65536"/>
                      <a:gd name="T17" fmla="*/ 0 60000 65536"/>
                      <a:gd name="T18" fmla="*/ 0 60000 65536"/>
                      <a:gd name="T19" fmla="*/ 0 60000 65536"/>
                      <a:gd name="T20" fmla="*/ 0 60000 65536"/>
                      <a:gd name="T21" fmla="*/ 0 w 44"/>
                      <a:gd name="T22" fmla="*/ 0 h 29"/>
                      <a:gd name="T23" fmla="*/ 44 w 44"/>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29">
                        <a:moveTo>
                          <a:pt x="44" y="17"/>
                        </a:moveTo>
                        <a:cubicBezTo>
                          <a:pt x="37" y="13"/>
                          <a:pt x="35" y="9"/>
                          <a:pt x="27" y="7"/>
                        </a:cubicBezTo>
                        <a:cubicBezTo>
                          <a:pt x="22" y="4"/>
                          <a:pt x="18" y="0"/>
                          <a:pt x="12" y="2"/>
                        </a:cubicBezTo>
                        <a:cubicBezTo>
                          <a:pt x="5" y="7"/>
                          <a:pt x="5" y="11"/>
                          <a:pt x="0" y="19"/>
                        </a:cubicBezTo>
                        <a:cubicBezTo>
                          <a:pt x="3" y="28"/>
                          <a:pt x="6" y="26"/>
                          <a:pt x="15" y="25"/>
                        </a:cubicBezTo>
                        <a:cubicBezTo>
                          <a:pt x="25" y="21"/>
                          <a:pt x="25" y="23"/>
                          <a:pt x="33" y="29"/>
                        </a:cubicBezTo>
                        <a:cubicBezTo>
                          <a:pt x="40" y="28"/>
                          <a:pt x="44" y="25"/>
                          <a:pt x="44" y="17"/>
                        </a:cubicBezTo>
                        <a:close/>
                      </a:path>
                    </a:pathLst>
                  </a:custGeom>
                  <a:solidFill>
                    <a:srgbClr val="C9AC79"/>
                  </a:solidFill>
                  <a:ln w="9525">
                    <a:noFill/>
                    <a:round/>
                    <a:headEnd/>
                    <a:tailEnd/>
                  </a:ln>
                </p:spPr>
                <p:txBody>
                  <a:bodyPr wrap="none" anchor="ctr"/>
                  <a:lstStyle/>
                  <a:p>
                    <a:pPr defTabSz="912546"/>
                    <a:endParaRPr>
                      <a:solidFill>
                        <a:srgbClr val="000000"/>
                      </a:solidFill>
                    </a:endParaRPr>
                  </a:p>
                </p:txBody>
              </p:sp>
              <p:sp>
                <p:nvSpPr>
                  <p:cNvPr id="441593" name="Freeform 827"/>
                  <p:cNvSpPr>
                    <a:spLocks/>
                  </p:cNvSpPr>
                  <p:nvPr/>
                </p:nvSpPr>
                <p:spPr bwMode="gray">
                  <a:xfrm>
                    <a:off x="3814" y="1723"/>
                    <a:ext cx="49" cy="98"/>
                  </a:xfrm>
                  <a:custGeom>
                    <a:avLst/>
                    <a:gdLst>
                      <a:gd name="T0" fmla="*/ 2 w 60"/>
                      <a:gd name="T1" fmla="*/ 2 h 127"/>
                      <a:gd name="T2" fmla="*/ 2 w 60"/>
                      <a:gd name="T3" fmla="*/ 2 h 127"/>
                      <a:gd name="T4" fmla="*/ 2 w 60"/>
                      <a:gd name="T5" fmla="*/ 2 h 127"/>
                      <a:gd name="T6" fmla="*/ 3 w 60"/>
                      <a:gd name="T7" fmla="*/ 2 h 127"/>
                      <a:gd name="T8" fmla="*/ 3 w 60"/>
                      <a:gd name="T9" fmla="*/ 3 h 127"/>
                      <a:gd name="T10" fmla="*/ 4 w 60"/>
                      <a:gd name="T11" fmla="*/ 3 h 127"/>
                      <a:gd name="T12" fmla="*/ 4 w 60"/>
                      <a:gd name="T13" fmla="*/ 3 h 127"/>
                      <a:gd name="T14" fmla="*/ 3 w 60"/>
                      <a:gd name="T15" fmla="*/ 3 h 127"/>
                      <a:gd name="T16" fmla="*/ 3 w 60"/>
                      <a:gd name="T17" fmla="*/ 3 h 127"/>
                      <a:gd name="T18" fmla="*/ 2 w 60"/>
                      <a:gd name="T19" fmla="*/ 3 h 127"/>
                      <a:gd name="T20" fmla="*/ 2 w 60"/>
                      <a:gd name="T21" fmla="*/ 2 h 127"/>
                      <a:gd name="T22" fmla="*/ 2 w 60"/>
                      <a:gd name="T23" fmla="*/ 3 h 127"/>
                      <a:gd name="T24" fmla="*/ 2 w 60"/>
                      <a:gd name="T25" fmla="*/ 4 h 127"/>
                      <a:gd name="T26" fmla="*/ 2 w 60"/>
                      <a:gd name="T27" fmla="*/ 4 h 127"/>
                      <a:gd name="T28" fmla="*/ 2 w 60"/>
                      <a:gd name="T29" fmla="*/ 4 h 127"/>
                      <a:gd name="T30" fmla="*/ 2 w 60"/>
                      <a:gd name="T31" fmla="*/ 4 h 127"/>
                      <a:gd name="T32" fmla="*/ 2 w 60"/>
                      <a:gd name="T33" fmla="*/ 4 h 127"/>
                      <a:gd name="T34" fmla="*/ 0 w 60"/>
                      <a:gd name="T35" fmla="*/ 4 h 127"/>
                      <a:gd name="T36" fmla="*/ 2 w 60"/>
                      <a:gd name="T37" fmla="*/ 3 h 127"/>
                      <a:gd name="T38" fmla="*/ 2 w 60"/>
                      <a:gd name="T39" fmla="*/ 3 h 127"/>
                      <a:gd name="T40" fmla="*/ 2 w 60"/>
                      <a:gd name="T41" fmla="*/ 2 h 127"/>
                      <a:gd name="T42" fmla="*/ 2 w 60"/>
                      <a:gd name="T43" fmla="*/ 2 h 127"/>
                      <a:gd name="T44" fmla="*/ 2 w 60"/>
                      <a:gd name="T45" fmla="*/ 2 h 1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127"/>
                      <a:gd name="T71" fmla="*/ 60 w 60"/>
                      <a:gd name="T72" fmla="*/ 127 h 1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127">
                        <a:moveTo>
                          <a:pt x="33" y="4"/>
                        </a:moveTo>
                        <a:cubicBezTo>
                          <a:pt x="31" y="8"/>
                          <a:pt x="30" y="13"/>
                          <a:pt x="28" y="17"/>
                        </a:cubicBezTo>
                        <a:cubicBezTo>
                          <a:pt x="26" y="35"/>
                          <a:pt x="25" y="47"/>
                          <a:pt x="36" y="62"/>
                        </a:cubicBezTo>
                        <a:cubicBezTo>
                          <a:pt x="37" y="68"/>
                          <a:pt x="37" y="70"/>
                          <a:pt x="43" y="73"/>
                        </a:cubicBezTo>
                        <a:cubicBezTo>
                          <a:pt x="47" y="79"/>
                          <a:pt x="36" y="84"/>
                          <a:pt x="48" y="86"/>
                        </a:cubicBezTo>
                        <a:cubicBezTo>
                          <a:pt x="51" y="85"/>
                          <a:pt x="57" y="80"/>
                          <a:pt x="58" y="83"/>
                        </a:cubicBezTo>
                        <a:cubicBezTo>
                          <a:pt x="60" y="89"/>
                          <a:pt x="51" y="89"/>
                          <a:pt x="49" y="89"/>
                        </a:cubicBezTo>
                        <a:cubicBezTo>
                          <a:pt x="45" y="91"/>
                          <a:pt x="44" y="91"/>
                          <a:pt x="42" y="95"/>
                        </a:cubicBezTo>
                        <a:cubicBezTo>
                          <a:pt x="41" y="97"/>
                          <a:pt x="40" y="100"/>
                          <a:pt x="40" y="100"/>
                        </a:cubicBezTo>
                        <a:cubicBezTo>
                          <a:pt x="43" y="94"/>
                          <a:pt x="40" y="88"/>
                          <a:pt x="37" y="82"/>
                        </a:cubicBezTo>
                        <a:cubicBezTo>
                          <a:pt x="35" y="73"/>
                          <a:pt x="33" y="66"/>
                          <a:pt x="25" y="61"/>
                        </a:cubicBezTo>
                        <a:cubicBezTo>
                          <a:pt x="11" y="63"/>
                          <a:pt x="20" y="77"/>
                          <a:pt x="16" y="88"/>
                        </a:cubicBezTo>
                        <a:cubicBezTo>
                          <a:pt x="15" y="95"/>
                          <a:pt x="12" y="97"/>
                          <a:pt x="13" y="104"/>
                        </a:cubicBezTo>
                        <a:cubicBezTo>
                          <a:pt x="13" y="111"/>
                          <a:pt x="13" y="118"/>
                          <a:pt x="12" y="125"/>
                        </a:cubicBezTo>
                        <a:cubicBezTo>
                          <a:pt x="12" y="127"/>
                          <a:pt x="10" y="121"/>
                          <a:pt x="10" y="119"/>
                        </a:cubicBezTo>
                        <a:cubicBezTo>
                          <a:pt x="9" y="117"/>
                          <a:pt x="9" y="114"/>
                          <a:pt x="9" y="112"/>
                        </a:cubicBezTo>
                        <a:cubicBezTo>
                          <a:pt x="8" y="109"/>
                          <a:pt x="8" y="107"/>
                          <a:pt x="7" y="104"/>
                        </a:cubicBezTo>
                        <a:cubicBezTo>
                          <a:pt x="5" y="107"/>
                          <a:pt x="0" y="112"/>
                          <a:pt x="0" y="112"/>
                        </a:cubicBezTo>
                        <a:cubicBezTo>
                          <a:pt x="1" y="106"/>
                          <a:pt x="3" y="103"/>
                          <a:pt x="6" y="98"/>
                        </a:cubicBezTo>
                        <a:cubicBezTo>
                          <a:pt x="7" y="92"/>
                          <a:pt x="9" y="85"/>
                          <a:pt x="12" y="79"/>
                        </a:cubicBezTo>
                        <a:cubicBezTo>
                          <a:pt x="13" y="71"/>
                          <a:pt x="10" y="60"/>
                          <a:pt x="19" y="56"/>
                        </a:cubicBezTo>
                        <a:cubicBezTo>
                          <a:pt x="21" y="43"/>
                          <a:pt x="21" y="28"/>
                          <a:pt x="27" y="16"/>
                        </a:cubicBezTo>
                        <a:cubicBezTo>
                          <a:pt x="28" y="12"/>
                          <a:pt x="29" y="0"/>
                          <a:pt x="33" y="4"/>
                        </a:cubicBezTo>
                        <a:close/>
                      </a:path>
                    </a:pathLst>
                  </a:custGeom>
                  <a:solidFill>
                    <a:srgbClr val="7E7762"/>
                  </a:solidFill>
                  <a:ln w="9525">
                    <a:noFill/>
                    <a:round/>
                    <a:headEnd/>
                    <a:tailEnd/>
                  </a:ln>
                </p:spPr>
                <p:txBody>
                  <a:bodyPr wrap="none" anchor="ctr"/>
                  <a:lstStyle/>
                  <a:p>
                    <a:pPr defTabSz="912546"/>
                    <a:endParaRPr>
                      <a:solidFill>
                        <a:srgbClr val="000000"/>
                      </a:solidFill>
                    </a:endParaRPr>
                  </a:p>
                </p:txBody>
              </p:sp>
              <p:sp>
                <p:nvSpPr>
                  <p:cNvPr id="441594" name="Freeform 828"/>
                  <p:cNvSpPr>
                    <a:spLocks/>
                  </p:cNvSpPr>
                  <p:nvPr/>
                </p:nvSpPr>
                <p:spPr bwMode="gray">
                  <a:xfrm>
                    <a:off x="3746" y="1705"/>
                    <a:ext cx="28" cy="125"/>
                  </a:xfrm>
                  <a:custGeom>
                    <a:avLst/>
                    <a:gdLst>
                      <a:gd name="T0" fmla="*/ 2 w 34"/>
                      <a:gd name="T1" fmla="*/ 2 h 163"/>
                      <a:gd name="T2" fmla="*/ 2 w 34"/>
                      <a:gd name="T3" fmla="*/ 2 h 163"/>
                      <a:gd name="T4" fmla="*/ 2 w 34"/>
                      <a:gd name="T5" fmla="*/ 2 h 163"/>
                      <a:gd name="T6" fmla="*/ 2 w 34"/>
                      <a:gd name="T7" fmla="*/ 2 h 163"/>
                      <a:gd name="T8" fmla="*/ 2 w 34"/>
                      <a:gd name="T9" fmla="*/ 3 h 163"/>
                      <a:gd name="T10" fmla="*/ 2 w 34"/>
                      <a:gd name="T11" fmla="*/ 4 h 163"/>
                      <a:gd name="T12" fmla="*/ 2 w 34"/>
                      <a:gd name="T13" fmla="*/ 4 h 163"/>
                      <a:gd name="T14" fmla="*/ 2 w 34"/>
                      <a:gd name="T15" fmla="*/ 4 h 163"/>
                      <a:gd name="T16" fmla="*/ 2 w 34"/>
                      <a:gd name="T17" fmla="*/ 3 h 163"/>
                      <a:gd name="T18" fmla="*/ 2 w 34"/>
                      <a:gd name="T19" fmla="*/ 2 h 163"/>
                      <a:gd name="T20" fmla="*/ 2 w 34"/>
                      <a:gd name="T21" fmla="*/ 2 h 163"/>
                      <a:gd name="T22" fmla="*/ 2 w 34"/>
                      <a:gd name="T23" fmla="*/ 2 h 163"/>
                      <a:gd name="T24" fmla="*/ 2 w 34"/>
                      <a:gd name="T25" fmla="*/ 2 h 163"/>
                      <a:gd name="T26" fmla="*/ 2 w 34"/>
                      <a:gd name="T27" fmla="*/ 2 h 1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63"/>
                      <a:gd name="T44" fmla="*/ 34 w 34"/>
                      <a:gd name="T45" fmla="*/ 163 h 1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63">
                        <a:moveTo>
                          <a:pt x="19" y="7"/>
                        </a:moveTo>
                        <a:cubicBezTo>
                          <a:pt x="16" y="13"/>
                          <a:pt x="14" y="20"/>
                          <a:pt x="11" y="26"/>
                        </a:cubicBezTo>
                        <a:cubicBezTo>
                          <a:pt x="9" y="37"/>
                          <a:pt x="0" y="56"/>
                          <a:pt x="16" y="59"/>
                        </a:cubicBezTo>
                        <a:cubicBezTo>
                          <a:pt x="25" y="64"/>
                          <a:pt x="14" y="74"/>
                          <a:pt x="11" y="80"/>
                        </a:cubicBezTo>
                        <a:cubicBezTo>
                          <a:pt x="15" y="89"/>
                          <a:pt x="19" y="99"/>
                          <a:pt x="25" y="107"/>
                        </a:cubicBezTo>
                        <a:cubicBezTo>
                          <a:pt x="26" y="114"/>
                          <a:pt x="29" y="115"/>
                          <a:pt x="26" y="121"/>
                        </a:cubicBezTo>
                        <a:cubicBezTo>
                          <a:pt x="25" y="126"/>
                          <a:pt x="22" y="163"/>
                          <a:pt x="26" y="140"/>
                        </a:cubicBezTo>
                        <a:cubicBezTo>
                          <a:pt x="29" y="134"/>
                          <a:pt x="31" y="127"/>
                          <a:pt x="34" y="121"/>
                        </a:cubicBezTo>
                        <a:cubicBezTo>
                          <a:pt x="31" y="112"/>
                          <a:pt x="29" y="105"/>
                          <a:pt x="23" y="97"/>
                        </a:cubicBezTo>
                        <a:cubicBezTo>
                          <a:pt x="22" y="91"/>
                          <a:pt x="20" y="85"/>
                          <a:pt x="17" y="79"/>
                        </a:cubicBezTo>
                        <a:cubicBezTo>
                          <a:pt x="19" y="74"/>
                          <a:pt x="22" y="70"/>
                          <a:pt x="25" y="65"/>
                        </a:cubicBezTo>
                        <a:cubicBezTo>
                          <a:pt x="22" y="59"/>
                          <a:pt x="19" y="53"/>
                          <a:pt x="13" y="49"/>
                        </a:cubicBezTo>
                        <a:cubicBezTo>
                          <a:pt x="9" y="40"/>
                          <a:pt x="14" y="22"/>
                          <a:pt x="19" y="13"/>
                        </a:cubicBezTo>
                        <a:cubicBezTo>
                          <a:pt x="20" y="9"/>
                          <a:pt x="26" y="0"/>
                          <a:pt x="19" y="7"/>
                        </a:cubicBezTo>
                        <a:close/>
                      </a:path>
                    </a:pathLst>
                  </a:custGeom>
                  <a:solidFill>
                    <a:srgbClr val="7E7762"/>
                  </a:solidFill>
                  <a:ln w="9525">
                    <a:noFill/>
                    <a:round/>
                    <a:headEnd/>
                    <a:tailEnd/>
                  </a:ln>
                </p:spPr>
                <p:txBody>
                  <a:bodyPr wrap="none" anchor="ctr"/>
                  <a:lstStyle/>
                  <a:p>
                    <a:pPr defTabSz="912546"/>
                    <a:endParaRPr>
                      <a:solidFill>
                        <a:srgbClr val="000000"/>
                      </a:solidFill>
                    </a:endParaRPr>
                  </a:p>
                </p:txBody>
              </p:sp>
              <p:sp>
                <p:nvSpPr>
                  <p:cNvPr id="441595" name="Freeform 829"/>
                  <p:cNvSpPr>
                    <a:spLocks/>
                  </p:cNvSpPr>
                  <p:nvPr/>
                </p:nvSpPr>
                <p:spPr bwMode="gray">
                  <a:xfrm>
                    <a:off x="3792" y="1708"/>
                    <a:ext cx="20" cy="106"/>
                  </a:xfrm>
                  <a:custGeom>
                    <a:avLst/>
                    <a:gdLst>
                      <a:gd name="T0" fmla="*/ 3 w 24"/>
                      <a:gd name="T1" fmla="*/ 0 h 138"/>
                      <a:gd name="T2" fmla="*/ 3 w 24"/>
                      <a:gd name="T3" fmla="*/ 2 h 138"/>
                      <a:gd name="T4" fmla="*/ 3 w 24"/>
                      <a:gd name="T5" fmla="*/ 2 h 138"/>
                      <a:gd name="T6" fmla="*/ 3 w 24"/>
                      <a:gd name="T7" fmla="*/ 2 h 138"/>
                      <a:gd name="T8" fmla="*/ 3 w 24"/>
                      <a:gd name="T9" fmla="*/ 2 h 138"/>
                      <a:gd name="T10" fmla="*/ 3 w 24"/>
                      <a:gd name="T11" fmla="*/ 3 h 138"/>
                      <a:gd name="T12" fmla="*/ 3 w 24"/>
                      <a:gd name="T13" fmla="*/ 3 h 138"/>
                      <a:gd name="T14" fmla="*/ 3 w 24"/>
                      <a:gd name="T15" fmla="*/ 4 h 138"/>
                      <a:gd name="T16" fmla="*/ 3 w 24"/>
                      <a:gd name="T17" fmla="*/ 3 h 138"/>
                      <a:gd name="T18" fmla="*/ 3 w 24"/>
                      <a:gd name="T19" fmla="*/ 2 h 138"/>
                      <a:gd name="T20" fmla="*/ 3 w 24"/>
                      <a:gd name="T21" fmla="*/ 2 h 138"/>
                      <a:gd name="T22" fmla="*/ 3 w 24"/>
                      <a:gd name="T23" fmla="*/ 2 h 138"/>
                      <a:gd name="T24" fmla="*/ 3 w 24"/>
                      <a:gd name="T25" fmla="*/ 0 h 1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138"/>
                      <a:gd name="T41" fmla="*/ 24 w 24"/>
                      <a:gd name="T42" fmla="*/ 138 h 1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138">
                        <a:moveTo>
                          <a:pt x="12" y="0"/>
                        </a:moveTo>
                        <a:cubicBezTo>
                          <a:pt x="19" y="1"/>
                          <a:pt x="17" y="4"/>
                          <a:pt x="20" y="10"/>
                        </a:cubicBezTo>
                        <a:cubicBezTo>
                          <a:pt x="21" y="16"/>
                          <a:pt x="23" y="20"/>
                          <a:pt x="24" y="27"/>
                        </a:cubicBezTo>
                        <a:cubicBezTo>
                          <a:pt x="23" y="41"/>
                          <a:pt x="23" y="44"/>
                          <a:pt x="12" y="51"/>
                        </a:cubicBezTo>
                        <a:cubicBezTo>
                          <a:pt x="14" y="56"/>
                          <a:pt x="18" y="58"/>
                          <a:pt x="21" y="63"/>
                        </a:cubicBezTo>
                        <a:cubicBezTo>
                          <a:pt x="20" y="70"/>
                          <a:pt x="15" y="75"/>
                          <a:pt x="12" y="82"/>
                        </a:cubicBezTo>
                        <a:cubicBezTo>
                          <a:pt x="11" y="88"/>
                          <a:pt x="9" y="94"/>
                          <a:pt x="6" y="100"/>
                        </a:cubicBezTo>
                        <a:cubicBezTo>
                          <a:pt x="4" y="110"/>
                          <a:pt x="0" y="138"/>
                          <a:pt x="3" y="123"/>
                        </a:cubicBezTo>
                        <a:cubicBezTo>
                          <a:pt x="1" y="112"/>
                          <a:pt x="1" y="101"/>
                          <a:pt x="5" y="91"/>
                        </a:cubicBezTo>
                        <a:cubicBezTo>
                          <a:pt x="6" y="82"/>
                          <a:pt x="9" y="75"/>
                          <a:pt x="14" y="67"/>
                        </a:cubicBezTo>
                        <a:cubicBezTo>
                          <a:pt x="16" y="57"/>
                          <a:pt x="10" y="62"/>
                          <a:pt x="8" y="52"/>
                        </a:cubicBezTo>
                        <a:cubicBezTo>
                          <a:pt x="12" y="46"/>
                          <a:pt x="17" y="42"/>
                          <a:pt x="21" y="36"/>
                        </a:cubicBezTo>
                        <a:cubicBezTo>
                          <a:pt x="20" y="23"/>
                          <a:pt x="22" y="8"/>
                          <a:pt x="12" y="0"/>
                        </a:cubicBezTo>
                        <a:close/>
                      </a:path>
                    </a:pathLst>
                  </a:custGeom>
                  <a:solidFill>
                    <a:srgbClr val="7E7762"/>
                  </a:solidFill>
                  <a:ln w="9525">
                    <a:noFill/>
                    <a:round/>
                    <a:headEnd/>
                    <a:tailEnd/>
                  </a:ln>
                </p:spPr>
                <p:txBody>
                  <a:bodyPr wrap="none" anchor="ctr"/>
                  <a:lstStyle/>
                  <a:p>
                    <a:pPr defTabSz="912546"/>
                    <a:endParaRPr>
                      <a:solidFill>
                        <a:srgbClr val="000000"/>
                      </a:solidFill>
                    </a:endParaRPr>
                  </a:p>
                </p:txBody>
              </p:sp>
              <p:sp>
                <p:nvSpPr>
                  <p:cNvPr id="441596" name="Freeform 830"/>
                  <p:cNvSpPr>
                    <a:spLocks/>
                  </p:cNvSpPr>
                  <p:nvPr/>
                </p:nvSpPr>
                <p:spPr bwMode="gray">
                  <a:xfrm>
                    <a:off x="3694" y="1720"/>
                    <a:ext cx="48" cy="82"/>
                  </a:xfrm>
                  <a:custGeom>
                    <a:avLst/>
                    <a:gdLst>
                      <a:gd name="T0" fmla="*/ 39 w 48"/>
                      <a:gd name="T1" fmla="*/ 0 h 82"/>
                      <a:gd name="T2" fmla="*/ 39 w 48"/>
                      <a:gd name="T3" fmla="*/ 37 h 82"/>
                      <a:gd name="T4" fmla="*/ 46 w 48"/>
                      <a:gd name="T5" fmla="*/ 53 h 82"/>
                      <a:gd name="T6" fmla="*/ 46 w 48"/>
                      <a:gd name="T7" fmla="*/ 74 h 82"/>
                      <a:gd name="T8" fmla="*/ 39 w 48"/>
                      <a:gd name="T9" fmla="*/ 53 h 82"/>
                      <a:gd name="T10" fmla="*/ 19 w 48"/>
                      <a:gd name="T11" fmla="*/ 65 h 82"/>
                      <a:gd name="T12" fmla="*/ 13 w 48"/>
                      <a:gd name="T13" fmla="*/ 74 h 82"/>
                      <a:gd name="T14" fmla="*/ 14 w 48"/>
                      <a:gd name="T15" fmla="*/ 79 h 82"/>
                      <a:gd name="T16" fmla="*/ 3 w 48"/>
                      <a:gd name="T17" fmla="*/ 67 h 82"/>
                      <a:gd name="T18" fmla="*/ 9 w 48"/>
                      <a:gd name="T19" fmla="*/ 67 h 82"/>
                      <a:gd name="T20" fmla="*/ 9 w 48"/>
                      <a:gd name="T21" fmla="*/ 55 h 82"/>
                      <a:gd name="T22" fmla="*/ 18 w 48"/>
                      <a:gd name="T23" fmla="*/ 56 h 82"/>
                      <a:gd name="T24" fmla="*/ 31 w 48"/>
                      <a:gd name="T25" fmla="*/ 46 h 82"/>
                      <a:gd name="T26" fmla="*/ 38 w 48"/>
                      <a:gd name="T27" fmla="*/ 35 h 82"/>
                      <a:gd name="T28" fmla="*/ 39 w 48"/>
                      <a:gd name="T29" fmla="*/ 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82"/>
                      <a:gd name="T47" fmla="*/ 48 w 48"/>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82">
                        <a:moveTo>
                          <a:pt x="39" y="0"/>
                        </a:moveTo>
                        <a:cubicBezTo>
                          <a:pt x="44" y="12"/>
                          <a:pt x="41" y="25"/>
                          <a:pt x="39" y="37"/>
                        </a:cubicBezTo>
                        <a:cubicBezTo>
                          <a:pt x="41" y="43"/>
                          <a:pt x="43" y="47"/>
                          <a:pt x="46" y="53"/>
                        </a:cubicBezTo>
                        <a:cubicBezTo>
                          <a:pt x="47" y="62"/>
                          <a:pt x="48" y="63"/>
                          <a:pt x="46" y="74"/>
                        </a:cubicBezTo>
                        <a:cubicBezTo>
                          <a:pt x="46" y="67"/>
                          <a:pt x="42" y="60"/>
                          <a:pt x="39" y="53"/>
                        </a:cubicBezTo>
                        <a:cubicBezTo>
                          <a:pt x="37" y="43"/>
                          <a:pt x="24" y="62"/>
                          <a:pt x="19" y="65"/>
                        </a:cubicBezTo>
                        <a:cubicBezTo>
                          <a:pt x="18" y="69"/>
                          <a:pt x="14" y="70"/>
                          <a:pt x="13" y="74"/>
                        </a:cubicBezTo>
                        <a:cubicBezTo>
                          <a:pt x="14" y="79"/>
                          <a:pt x="22" y="82"/>
                          <a:pt x="14" y="79"/>
                        </a:cubicBezTo>
                        <a:cubicBezTo>
                          <a:pt x="11" y="74"/>
                          <a:pt x="8" y="70"/>
                          <a:pt x="3" y="67"/>
                        </a:cubicBezTo>
                        <a:cubicBezTo>
                          <a:pt x="0" y="61"/>
                          <a:pt x="6" y="65"/>
                          <a:pt x="9" y="67"/>
                        </a:cubicBezTo>
                        <a:cubicBezTo>
                          <a:pt x="15" y="64"/>
                          <a:pt x="12" y="60"/>
                          <a:pt x="9" y="55"/>
                        </a:cubicBezTo>
                        <a:cubicBezTo>
                          <a:pt x="19" y="51"/>
                          <a:pt x="8" y="60"/>
                          <a:pt x="18" y="56"/>
                        </a:cubicBezTo>
                        <a:cubicBezTo>
                          <a:pt x="22" y="51"/>
                          <a:pt x="26" y="49"/>
                          <a:pt x="31" y="46"/>
                        </a:cubicBezTo>
                        <a:cubicBezTo>
                          <a:pt x="33" y="42"/>
                          <a:pt x="36" y="39"/>
                          <a:pt x="38" y="35"/>
                        </a:cubicBezTo>
                        <a:cubicBezTo>
                          <a:pt x="40" y="23"/>
                          <a:pt x="39" y="12"/>
                          <a:pt x="39" y="0"/>
                        </a:cubicBezTo>
                        <a:close/>
                      </a:path>
                    </a:pathLst>
                  </a:custGeom>
                  <a:solidFill>
                    <a:srgbClr val="7E7762"/>
                  </a:solidFill>
                  <a:ln w="9525">
                    <a:noFill/>
                    <a:round/>
                    <a:headEnd/>
                    <a:tailEnd/>
                  </a:ln>
                </p:spPr>
                <p:txBody>
                  <a:bodyPr wrap="none" anchor="ctr"/>
                  <a:lstStyle/>
                  <a:p>
                    <a:pPr defTabSz="912546"/>
                    <a:endParaRPr>
                      <a:solidFill>
                        <a:srgbClr val="000000"/>
                      </a:solidFill>
                    </a:endParaRPr>
                  </a:p>
                </p:txBody>
              </p:sp>
              <p:sp>
                <p:nvSpPr>
                  <p:cNvPr id="441597" name="Freeform 831"/>
                  <p:cNvSpPr>
                    <a:spLocks/>
                  </p:cNvSpPr>
                  <p:nvPr/>
                </p:nvSpPr>
                <p:spPr bwMode="gray">
                  <a:xfrm>
                    <a:off x="3768" y="1825"/>
                    <a:ext cx="28" cy="36"/>
                  </a:xfrm>
                  <a:custGeom>
                    <a:avLst/>
                    <a:gdLst>
                      <a:gd name="T0" fmla="*/ 20 w 28"/>
                      <a:gd name="T1" fmla="*/ 7 h 36"/>
                      <a:gd name="T2" fmla="*/ 7 w 28"/>
                      <a:gd name="T3" fmla="*/ 8 h 36"/>
                      <a:gd name="T4" fmla="*/ 1 w 28"/>
                      <a:gd name="T5" fmla="*/ 22 h 36"/>
                      <a:gd name="T6" fmla="*/ 7 w 28"/>
                      <a:gd name="T7" fmla="*/ 19 h 36"/>
                      <a:gd name="T8" fmla="*/ 12 w 28"/>
                      <a:gd name="T9" fmla="*/ 17 h 36"/>
                      <a:gd name="T10" fmla="*/ 15 w 28"/>
                      <a:gd name="T11" fmla="*/ 36 h 36"/>
                      <a:gd name="T12" fmla="*/ 22 w 28"/>
                      <a:gd name="T13" fmla="*/ 20 h 36"/>
                      <a:gd name="T14" fmla="*/ 25 w 28"/>
                      <a:gd name="T15" fmla="*/ 27 h 36"/>
                      <a:gd name="T16" fmla="*/ 28 w 28"/>
                      <a:gd name="T17" fmla="*/ 31 h 36"/>
                      <a:gd name="T18" fmla="*/ 22 w 28"/>
                      <a:gd name="T19" fmla="*/ 15 h 36"/>
                      <a:gd name="T20" fmla="*/ 20 w 28"/>
                      <a:gd name="T21" fmla="*/ 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36"/>
                      <a:gd name="T35" fmla="*/ 28 w 28"/>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36">
                        <a:moveTo>
                          <a:pt x="20" y="7"/>
                        </a:moveTo>
                        <a:cubicBezTo>
                          <a:pt x="13" y="9"/>
                          <a:pt x="10" y="0"/>
                          <a:pt x="7" y="8"/>
                        </a:cubicBezTo>
                        <a:cubicBezTo>
                          <a:pt x="6" y="13"/>
                          <a:pt x="4" y="18"/>
                          <a:pt x="1" y="22"/>
                        </a:cubicBezTo>
                        <a:cubicBezTo>
                          <a:pt x="0" y="31"/>
                          <a:pt x="5" y="21"/>
                          <a:pt x="7" y="19"/>
                        </a:cubicBezTo>
                        <a:cubicBezTo>
                          <a:pt x="8" y="14"/>
                          <a:pt x="10" y="10"/>
                          <a:pt x="12" y="17"/>
                        </a:cubicBezTo>
                        <a:cubicBezTo>
                          <a:pt x="13" y="24"/>
                          <a:pt x="14" y="29"/>
                          <a:pt x="15" y="36"/>
                        </a:cubicBezTo>
                        <a:cubicBezTo>
                          <a:pt x="17" y="0"/>
                          <a:pt x="13" y="7"/>
                          <a:pt x="22" y="20"/>
                        </a:cubicBezTo>
                        <a:cubicBezTo>
                          <a:pt x="23" y="26"/>
                          <a:pt x="21" y="21"/>
                          <a:pt x="25" y="27"/>
                        </a:cubicBezTo>
                        <a:cubicBezTo>
                          <a:pt x="27" y="28"/>
                          <a:pt x="28" y="31"/>
                          <a:pt x="28" y="31"/>
                        </a:cubicBezTo>
                        <a:cubicBezTo>
                          <a:pt x="27" y="25"/>
                          <a:pt x="24" y="20"/>
                          <a:pt x="22" y="15"/>
                        </a:cubicBezTo>
                        <a:cubicBezTo>
                          <a:pt x="22" y="8"/>
                          <a:pt x="20" y="15"/>
                          <a:pt x="20" y="7"/>
                        </a:cubicBezTo>
                        <a:close/>
                      </a:path>
                    </a:pathLst>
                  </a:custGeom>
                  <a:solidFill>
                    <a:srgbClr val="0A3338"/>
                  </a:solidFill>
                  <a:ln w="9525">
                    <a:noFill/>
                    <a:round/>
                    <a:headEnd/>
                    <a:tailEnd/>
                  </a:ln>
                </p:spPr>
                <p:txBody>
                  <a:bodyPr wrap="none" anchor="ctr"/>
                  <a:lstStyle/>
                  <a:p>
                    <a:pPr defTabSz="912546"/>
                    <a:endParaRPr>
                      <a:solidFill>
                        <a:srgbClr val="000000"/>
                      </a:solidFill>
                    </a:endParaRPr>
                  </a:p>
                </p:txBody>
              </p:sp>
              <p:sp>
                <p:nvSpPr>
                  <p:cNvPr id="441598" name="Freeform 832"/>
                  <p:cNvSpPr>
                    <a:spLocks/>
                  </p:cNvSpPr>
                  <p:nvPr/>
                </p:nvSpPr>
                <p:spPr bwMode="gray">
                  <a:xfrm>
                    <a:off x="3761" y="1875"/>
                    <a:ext cx="35" cy="85"/>
                  </a:xfrm>
                  <a:custGeom>
                    <a:avLst/>
                    <a:gdLst>
                      <a:gd name="T0" fmla="*/ 2 w 43"/>
                      <a:gd name="T1" fmla="*/ 2 h 111"/>
                      <a:gd name="T2" fmla="*/ 2 w 43"/>
                      <a:gd name="T3" fmla="*/ 2 h 111"/>
                      <a:gd name="T4" fmla="*/ 3 w 43"/>
                      <a:gd name="T5" fmla="*/ 0 h 111"/>
                      <a:gd name="T6" fmla="*/ 2 w 43"/>
                      <a:gd name="T7" fmla="*/ 2 h 111"/>
                      <a:gd name="T8" fmla="*/ 2 w 43"/>
                      <a:gd name="T9" fmla="*/ 2 h 111"/>
                      <a:gd name="T10" fmla="*/ 2 w 43"/>
                      <a:gd name="T11" fmla="*/ 3 h 111"/>
                      <a:gd name="T12" fmla="*/ 2 w 43"/>
                      <a:gd name="T13" fmla="*/ 3 h 111"/>
                      <a:gd name="T14" fmla="*/ 2 w 43"/>
                      <a:gd name="T15" fmla="*/ 2 h 111"/>
                      <a:gd name="T16" fmla="*/ 2 w 43"/>
                      <a:gd name="T17" fmla="*/ 2 h 111"/>
                      <a:gd name="T18" fmla="*/ 2 w 43"/>
                      <a:gd name="T19" fmla="*/ 2 h 111"/>
                      <a:gd name="T20" fmla="*/ 2 w 43"/>
                      <a:gd name="T21" fmla="*/ 2 h 111"/>
                      <a:gd name="T22" fmla="*/ 2 w 43"/>
                      <a:gd name="T23" fmla="*/ 2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111"/>
                      <a:gd name="T38" fmla="*/ 43 w 4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111">
                        <a:moveTo>
                          <a:pt x="7" y="3"/>
                        </a:moveTo>
                        <a:cubicBezTo>
                          <a:pt x="13" y="6"/>
                          <a:pt x="19" y="8"/>
                          <a:pt x="25" y="9"/>
                        </a:cubicBezTo>
                        <a:cubicBezTo>
                          <a:pt x="30" y="5"/>
                          <a:pt x="37" y="4"/>
                          <a:pt x="43" y="0"/>
                        </a:cubicBezTo>
                        <a:cubicBezTo>
                          <a:pt x="41" y="6"/>
                          <a:pt x="39" y="8"/>
                          <a:pt x="34" y="11"/>
                        </a:cubicBezTo>
                        <a:cubicBezTo>
                          <a:pt x="28" y="19"/>
                          <a:pt x="32" y="30"/>
                          <a:pt x="34" y="39"/>
                        </a:cubicBezTo>
                        <a:cubicBezTo>
                          <a:pt x="36" y="62"/>
                          <a:pt x="34" y="84"/>
                          <a:pt x="34" y="107"/>
                        </a:cubicBezTo>
                        <a:cubicBezTo>
                          <a:pt x="34" y="111"/>
                          <a:pt x="35" y="99"/>
                          <a:pt x="35" y="95"/>
                        </a:cubicBezTo>
                        <a:cubicBezTo>
                          <a:pt x="34" y="79"/>
                          <a:pt x="33" y="64"/>
                          <a:pt x="29" y="48"/>
                        </a:cubicBezTo>
                        <a:cubicBezTo>
                          <a:pt x="27" y="59"/>
                          <a:pt x="25" y="70"/>
                          <a:pt x="23" y="81"/>
                        </a:cubicBezTo>
                        <a:cubicBezTo>
                          <a:pt x="25" y="61"/>
                          <a:pt x="23" y="43"/>
                          <a:pt x="25" y="23"/>
                        </a:cubicBezTo>
                        <a:cubicBezTo>
                          <a:pt x="23" y="14"/>
                          <a:pt x="23" y="13"/>
                          <a:pt x="14" y="11"/>
                        </a:cubicBezTo>
                        <a:cubicBezTo>
                          <a:pt x="13" y="10"/>
                          <a:pt x="0" y="3"/>
                          <a:pt x="7" y="3"/>
                        </a:cubicBezTo>
                        <a:close/>
                      </a:path>
                    </a:pathLst>
                  </a:custGeom>
                  <a:solidFill>
                    <a:srgbClr val="0A3338"/>
                  </a:solidFill>
                  <a:ln w="9525">
                    <a:noFill/>
                    <a:round/>
                    <a:headEnd/>
                    <a:tailEnd/>
                  </a:ln>
                </p:spPr>
                <p:txBody>
                  <a:bodyPr wrap="none" anchor="ctr"/>
                  <a:lstStyle/>
                  <a:p>
                    <a:pPr defTabSz="912546"/>
                    <a:endParaRPr>
                      <a:solidFill>
                        <a:srgbClr val="000000"/>
                      </a:solidFill>
                    </a:endParaRPr>
                  </a:p>
                </p:txBody>
              </p:sp>
              <p:grpSp>
                <p:nvGrpSpPr>
                  <p:cNvPr id="265152" name="Group 833"/>
                  <p:cNvGrpSpPr>
                    <a:grpSpLocks/>
                  </p:cNvGrpSpPr>
                  <p:nvPr/>
                </p:nvGrpSpPr>
                <p:grpSpPr bwMode="gray">
                  <a:xfrm>
                    <a:off x="3743" y="1624"/>
                    <a:ext cx="73" cy="97"/>
                    <a:chOff x="3741" y="1618"/>
                    <a:chExt cx="81" cy="107"/>
                  </a:xfrm>
                </p:grpSpPr>
                <p:sp>
                  <p:nvSpPr>
                    <p:cNvPr id="441600" name="Freeform 834"/>
                    <p:cNvSpPr>
                      <a:spLocks/>
                    </p:cNvSpPr>
                    <p:nvPr/>
                  </p:nvSpPr>
                  <p:spPr bwMode="gray">
                    <a:xfrm>
                      <a:off x="3741" y="1618"/>
                      <a:ext cx="81" cy="100"/>
                    </a:xfrm>
                    <a:custGeom>
                      <a:avLst/>
                      <a:gdLst>
                        <a:gd name="T0" fmla="*/ 14 w 81"/>
                        <a:gd name="T1" fmla="*/ 92 h 100"/>
                        <a:gd name="T2" fmla="*/ 14 w 81"/>
                        <a:gd name="T3" fmla="*/ 68 h 100"/>
                        <a:gd name="T4" fmla="*/ 10 w 81"/>
                        <a:gd name="T5" fmla="*/ 16 h 100"/>
                        <a:gd name="T6" fmla="*/ 39 w 81"/>
                        <a:gd name="T7" fmla="*/ 1 h 100"/>
                        <a:gd name="T8" fmla="*/ 54 w 81"/>
                        <a:gd name="T9" fmla="*/ 1 h 100"/>
                        <a:gd name="T10" fmla="*/ 75 w 81"/>
                        <a:gd name="T11" fmla="*/ 32 h 100"/>
                        <a:gd name="T12" fmla="*/ 74 w 81"/>
                        <a:gd name="T13" fmla="*/ 54 h 100"/>
                        <a:gd name="T14" fmla="*/ 77 w 81"/>
                        <a:gd name="T15" fmla="*/ 88 h 100"/>
                        <a:gd name="T16" fmla="*/ 51 w 81"/>
                        <a:gd name="T17" fmla="*/ 95 h 100"/>
                        <a:gd name="T18" fmla="*/ 32 w 81"/>
                        <a:gd name="T19" fmla="*/ 98 h 100"/>
                        <a:gd name="T20" fmla="*/ 14 w 81"/>
                        <a:gd name="T21" fmla="*/ 92 h 1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100"/>
                        <a:gd name="T35" fmla="*/ 81 w 81"/>
                        <a:gd name="T36" fmla="*/ 100 h 1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100">
                          <a:moveTo>
                            <a:pt x="14" y="92"/>
                          </a:moveTo>
                          <a:cubicBezTo>
                            <a:pt x="11" y="89"/>
                            <a:pt x="17" y="74"/>
                            <a:pt x="14" y="68"/>
                          </a:cubicBezTo>
                          <a:cubicBezTo>
                            <a:pt x="6" y="56"/>
                            <a:pt x="0" y="44"/>
                            <a:pt x="10" y="16"/>
                          </a:cubicBezTo>
                          <a:cubicBezTo>
                            <a:pt x="20" y="4"/>
                            <a:pt x="30" y="3"/>
                            <a:pt x="39" y="1"/>
                          </a:cubicBezTo>
                          <a:cubicBezTo>
                            <a:pt x="47" y="6"/>
                            <a:pt x="48" y="0"/>
                            <a:pt x="54" y="1"/>
                          </a:cubicBezTo>
                          <a:cubicBezTo>
                            <a:pt x="69" y="13"/>
                            <a:pt x="72" y="4"/>
                            <a:pt x="75" y="32"/>
                          </a:cubicBezTo>
                          <a:cubicBezTo>
                            <a:pt x="77" y="40"/>
                            <a:pt x="81" y="44"/>
                            <a:pt x="74" y="54"/>
                          </a:cubicBezTo>
                          <a:cubicBezTo>
                            <a:pt x="71" y="58"/>
                            <a:pt x="79" y="83"/>
                            <a:pt x="77" y="88"/>
                          </a:cubicBezTo>
                          <a:cubicBezTo>
                            <a:pt x="74" y="93"/>
                            <a:pt x="59" y="94"/>
                            <a:pt x="51" y="95"/>
                          </a:cubicBezTo>
                          <a:cubicBezTo>
                            <a:pt x="43" y="99"/>
                            <a:pt x="41" y="100"/>
                            <a:pt x="32" y="98"/>
                          </a:cubicBezTo>
                          <a:cubicBezTo>
                            <a:pt x="30" y="95"/>
                            <a:pt x="14" y="90"/>
                            <a:pt x="14" y="92"/>
                          </a:cubicBezTo>
                          <a:close/>
                        </a:path>
                      </a:pathLst>
                    </a:custGeom>
                    <a:solidFill>
                      <a:srgbClr val="5A421C"/>
                    </a:solidFill>
                    <a:ln w="9525">
                      <a:noFill/>
                      <a:round/>
                      <a:headEnd/>
                      <a:tailEnd/>
                    </a:ln>
                  </p:spPr>
                  <p:txBody>
                    <a:bodyPr wrap="none" anchor="ctr"/>
                    <a:lstStyle/>
                    <a:p>
                      <a:pPr defTabSz="912546"/>
                      <a:endParaRPr>
                        <a:solidFill>
                          <a:srgbClr val="000000"/>
                        </a:solidFill>
                      </a:endParaRPr>
                    </a:p>
                  </p:txBody>
                </p:sp>
                <p:sp>
                  <p:nvSpPr>
                    <p:cNvPr id="441601" name="Freeform 835"/>
                    <p:cNvSpPr>
                      <a:spLocks/>
                    </p:cNvSpPr>
                    <p:nvPr/>
                  </p:nvSpPr>
                  <p:spPr bwMode="gray">
                    <a:xfrm>
                      <a:off x="3753" y="1638"/>
                      <a:ext cx="57" cy="87"/>
                    </a:xfrm>
                    <a:custGeom>
                      <a:avLst/>
                      <a:gdLst>
                        <a:gd name="T0" fmla="*/ 33 w 57"/>
                        <a:gd name="T1" fmla="*/ 3 h 87"/>
                        <a:gd name="T2" fmla="*/ 20 w 57"/>
                        <a:gd name="T3" fmla="*/ 11 h 87"/>
                        <a:gd name="T4" fmla="*/ 6 w 57"/>
                        <a:gd name="T5" fmla="*/ 24 h 87"/>
                        <a:gd name="T6" fmla="*/ 8 w 57"/>
                        <a:gd name="T7" fmla="*/ 45 h 87"/>
                        <a:gd name="T8" fmla="*/ 19 w 57"/>
                        <a:gd name="T9" fmla="*/ 61 h 87"/>
                        <a:gd name="T10" fmla="*/ 16 w 57"/>
                        <a:gd name="T11" fmla="*/ 75 h 87"/>
                        <a:gd name="T12" fmla="*/ 29 w 57"/>
                        <a:gd name="T13" fmla="*/ 86 h 87"/>
                        <a:gd name="T14" fmla="*/ 44 w 57"/>
                        <a:gd name="T15" fmla="*/ 78 h 87"/>
                        <a:gd name="T16" fmla="*/ 46 w 57"/>
                        <a:gd name="T17" fmla="*/ 61 h 87"/>
                        <a:gd name="T18" fmla="*/ 51 w 57"/>
                        <a:gd name="T19" fmla="*/ 47 h 87"/>
                        <a:gd name="T20" fmla="*/ 52 w 57"/>
                        <a:gd name="T21" fmla="*/ 24 h 87"/>
                        <a:gd name="T22" fmla="*/ 42 w 57"/>
                        <a:gd name="T23" fmla="*/ 8 h 87"/>
                        <a:gd name="T24" fmla="*/ 33 w 57"/>
                        <a:gd name="T25" fmla="*/ 3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87"/>
                        <a:gd name="T41" fmla="*/ 57 w 57"/>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87">
                          <a:moveTo>
                            <a:pt x="33" y="3"/>
                          </a:moveTo>
                          <a:cubicBezTo>
                            <a:pt x="26" y="0"/>
                            <a:pt x="26" y="8"/>
                            <a:pt x="20" y="11"/>
                          </a:cubicBezTo>
                          <a:cubicBezTo>
                            <a:pt x="16" y="16"/>
                            <a:pt x="11" y="17"/>
                            <a:pt x="6" y="24"/>
                          </a:cubicBezTo>
                          <a:cubicBezTo>
                            <a:pt x="11" y="31"/>
                            <a:pt x="0" y="29"/>
                            <a:pt x="8" y="45"/>
                          </a:cubicBezTo>
                          <a:cubicBezTo>
                            <a:pt x="10" y="52"/>
                            <a:pt x="10" y="52"/>
                            <a:pt x="19" y="61"/>
                          </a:cubicBezTo>
                          <a:cubicBezTo>
                            <a:pt x="20" y="67"/>
                            <a:pt x="17" y="69"/>
                            <a:pt x="16" y="75"/>
                          </a:cubicBezTo>
                          <a:cubicBezTo>
                            <a:pt x="17" y="81"/>
                            <a:pt x="20" y="85"/>
                            <a:pt x="29" y="86"/>
                          </a:cubicBezTo>
                          <a:cubicBezTo>
                            <a:pt x="37" y="85"/>
                            <a:pt x="35" y="87"/>
                            <a:pt x="44" y="78"/>
                          </a:cubicBezTo>
                          <a:cubicBezTo>
                            <a:pt x="42" y="72"/>
                            <a:pt x="44" y="65"/>
                            <a:pt x="46" y="61"/>
                          </a:cubicBezTo>
                          <a:cubicBezTo>
                            <a:pt x="50" y="54"/>
                            <a:pt x="45" y="51"/>
                            <a:pt x="51" y="47"/>
                          </a:cubicBezTo>
                          <a:cubicBezTo>
                            <a:pt x="52" y="42"/>
                            <a:pt x="57" y="27"/>
                            <a:pt x="52" y="24"/>
                          </a:cubicBezTo>
                          <a:cubicBezTo>
                            <a:pt x="51" y="14"/>
                            <a:pt x="52" y="14"/>
                            <a:pt x="42" y="8"/>
                          </a:cubicBezTo>
                          <a:cubicBezTo>
                            <a:pt x="38" y="4"/>
                            <a:pt x="41" y="8"/>
                            <a:pt x="33" y="3"/>
                          </a:cubicBezTo>
                          <a:close/>
                        </a:path>
                      </a:pathLst>
                    </a:custGeom>
                    <a:solidFill>
                      <a:srgbClr val="C9AC79"/>
                    </a:solidFill>
                    <a:ln w="9525">
                      <a:noFill/>
                      <a:round/>
                      <a:headEnd/>
                      <a:tailEnd/>
                    </a:ln>
                  </p:spPr>
                  <p:txBody>
                    <a:bodyPr wrap="none" anchor="ctr"/>
                    <a:lstStyle/>
                    <a:p>
                      <a:pPr defTabSz="912546"/>
                      <a:endParaRPr>
                        <a:solidFill>
                          <a:srgbClr val="000000"/>
                        </a:solidFill>
                      </a:endParaRPr>
                    </a:p>
                  </p:txBody>
                </p:sp>
                <p:sp>
                  <p:nvSpPr>
                    <p:cNvPr id="441602" name="Freeform 836"/>
                    <p:cNvSpPr>
                      <a:spLocks/>
                    </p:cNvSpPr>
                    <p:nvPr/>
                  </p:nvSpPr>
                  <p:spPr bwMode="gray">
                    <a:xfrm>
                      <a:off x="3759" y="1660"/>
                      <a:ext cx="19" cy="12"/>
                    </a:xfrm>
                    <a:custGeom>
                      <a:avLst/>
                      <a:gdLst>
                        <a:gd name="T0" fmla="*/ 2 w 23"/>
                        <a:gd name="T1" fmla="*/ 2 h 16"/>
                        <a:gd name="T2" fmla="*/ 2 w 23"/>
                        <a:gd name="T3" fmla="*/ 2 h 16"/>
                        <a:gd name="T4" fmla="*/ 2 w 23"/>
                        <a:gd name="T5" fmla="*/ 2 h 16"/>
                        <a:gd name="T6" fmla="*/ 1 w 23"/>
                        <a:gd name="T7" fmla="*/ 2 h 16"/>
                        <a:gd name="T8" fmla="*/ 2 w 23"/>
                        <a:gd name="T9" fmla="*/ 2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4" y="4"/>
                          </a:moveTo>
                          <a:cubicBezTo>
                            <a:pt x="11" y="3"/>
                            <a:pt x="13" y="0"/>
                            <a:pt x="19" y="3"/>
                          </a:cubicBezTo>
                          <a:cubicBezTo>
                            <a:pt x="23" y="9"/>
                            <a:pt x="21" y="11"/>
                            <a:pt x="17" y="16"/>
                          </a:cubicBezTo>
                          <a:cubicBezTo>
                            <a:pt x="11" y="12"/>
                            <a:pt x="8" y="10"/>
                            <a:pt x="1" y="9"/>
                          </a:cubicBezTo>
                          <a:cubicBezTo>
                            <a:pt x="2" y="3"/>
                            <a:pt x="0" y="4"/>
                            <a:pt x="4" y="4"/>
                          </a:cubicBezTo>
                          <a:close/>
                        </a:path>
                      </a:pathLst>
                    </a:custGeom>
                    <a:solidFill>
                      <a:srgbClr val="B18B47"/>
                    </a:solidFill>
                    <a:ln w="9525">
                      <a:noFill/>
                      <a:round/>
                      <a:headEnd/>
                      <a:tailEnd/>
                    </a:ln>
                  </p:spPr>
                  <p:txBody>
                    <a:bodyPr wrap="none" anchor="ctr"/>
                    <a:lstStyle/>
                    <a:p>
                      <a:pPr defTabSz="912546"/>
                      <a:endParaRPr>
                        <a:solidFill>
                          <a:srgbClr val="000000"/>
                        </a:solidFill>
                      </a:endParaRPr>
                    </a:p>
                  </p:txBody>
                </p:sp>
                <p:sp>
                  <p:nvSpPr>
                    <p:cNvPr id="441603" name="Freeform 837"/>
                    <p:cNvSpPr>
                      <a:spLocks/>
                    </p:cNvSpPr>
                    <p:nvPr/>
                  </p:nvSpPr>
                  <p:spPr bwMode="gray">
                    <a:xfrm>
                      <a:off x="3782" y="1661"/>
                      <a:ext cx="22" cy="11"/>
                    </a:xfrm>
                    <a:custGeom>
                      <a:avLst/>
                      <a:gdLst>
                        <a:gd name="T0" fmla="*/ 3 w 26"/>
                        <a:gd name="T1" fmla="*/ 2 h 14"/>
                        <a:gd name="T2" fmla="*/ 3 w 26"/>
                        <a:gd name="T3" fmla="*/ 2 h 14"/>
                        <a:gd name="T4" fmla="*/ 3 w 26"/>
                        <a:gd name="T5" fmla="*/ 2 h 14"/>
                        <a:gd name="T6" fmla="*/ 3 w 26"/>
                        <a:gd name="T7" fmla="*/ 2 h 14"/>
                        <a:gd name="T8" fmla="*/ 3 w 26"/>
                        <a:gd name="T9" fmla="*/ 2 h 14"/>
                        <a:gd name="T10" fmla="*/ 0 60000 65536"/>
                        <a:gd name="T11" fmla="*/ 0 60000 65536"/>
                        <a:gd name="T12" fmla="*/ 0 60000 65536"/>
                        <a:gd name="T13" fmla="*/ 0 60000 65536"/>
                        <a:gd name="T14" fmla="*/ 0 60000 65536"/>
                        <a:gd name="T15" fmla="*/ 0 w 26"/>
                        <a:gd name="T16" fmla="*/ 0 h 14"/>
                        <a:gd name="T17" fmla="*/ 26 w 26"/>
                        <a:gd name="T18" fmla="*/ 14 h 14"/>
                      </a:gdLst>
                      <a:ahLst/>
                      <a:cxnLst>
                        <a:cxn ang="T10">
                          <a:pos x="T0" y="T1"/>
                        </a:cxn>
                        <a:cxn ang="T11">
                          <a:pos x="T2" y="T3"/>
                        </a:cxn>
                        <a:cxn ang="T12">
                          <a:pos x="T4" y="T5"/>
                        </a:cxn>
                        <a:cxn ang="T13">
                          <a:pos x="T6" y="T7"/>
                        </a:cxn>
                        <a:cxn ang="T14">
                          <a:pos x="T8" y="T9"/>
                        </a:cxn>
                      </a:cxnLst>
                      <a:rect l="T15" t="T16" r="T17" b="T18"/>
                      <a:pathLst>
                        <a:path w="26" h="14">
                          <a:moveTo>
                            <a:pt x="23" y="2"/>
                          </a:moveTo>
                          <a:cubicBezTo>
                            <a:pt x="14" y="0"/>
                            <a:pt x="12" y="0"/>
                            <a:pt x="3" y="2"/>
                          </a:cubicBezTo>
                          <a:cubicBezTo>
                            <a:pt x="2" y="9"/>
                            <a:pt x="0" y="12"/>
                            <a:pt x="8" y="14"/>
                          </a:cubicBezTo>
                          <a:cubicBezTo>
                            <a:pt x="18" y="12"/>
                            <a:pt x="11" y="9"/>
                            <a:pt x="21" y="7"/>
                          </a:cubicBezTo>
                          <a:cubicBezTo>
                            <a:pt x="24" y="2"/>
                            <a:pt x="26" y="2"/>
                            <a:pt x="23" y="2"/>
                          </a:cubicBezTo>
                          <a:close/>
                        </a:path>
                      </a:pathLst>
                    </a:custGeom>
                    <a:solidFill>
                      <a:srgbClr val="B18B47"/>
                    </a:solidFill>
                    <a:ln w="9525">
                      <a:noFill/>
                      <a:round/>
                      <a:headEnd/>
                      <a:tailEnd/>
                    </a:ln>
                  </p:spPr>
                  <p:txBody>
                    <a:bodyPr wrap="none" anchor="ctr"/>
                    <a:lstStyle/>
                    <a:p>
                      <a:pPr defTabSz="912546"/>
                      <a:endParaRPr>
                        <a:solidFill>
                          <a:srgbClr val="000000"/>
                        </a:solidFill>
                      </a:endParaRPr>
                    </a:p>
                  </p:txBody>
                </p:sp>
                <p:sp>
                  <p:nvSpPr>
                    <p:cNvPr id="441604" name="Freeform 838"/>
                    <p:cNvSpPr>
                      <a:spLocks/>
                    </p:cNvSpPr>
                    <p:nvPr/>
                  </p:nvSpPr>
                  <p:spPr bwMode="gray">
                    <a:xfrm>
                      <a:off x="3768" y="1688"/>
                      <a:ext cx="35" cy="35"/>
                    </a:xfrm>
                    <a:custGeom>
                      <a:avLst/>
                      <a:gdLst>
                        <a:gd name="T0" fmla="*/ 35 w 35"/>
                        <a:gd name="T1" fmla="*/ 0 h 35"/>
                        <a:gd name="T2" fmla="*/ 14 w 35"/>
                        <a:gd name="T3" fmla="*/ 13 h 35"/>
                        <a:gd name="T4" fmla="*/ 0 w 35"/>
                        <a:gd name="T5" fmla="*/ 9 h 35"/>
                        <a:gd name="T6" fmla="*/ 2 w 35"/>
                        <a:gd name="T7" fmla="*/ 27 h 35"/>
                        <a:gd name="T8" fmla="*/ 13 w 35"/>
                        <a:gd name="T9" fmla="*/ 17 h 35"/>
                        <a:gd name="T10" fmla="*/ 24 w 35"/>
                        <a:gd name="T11" fmla="*/ 30 h 35"/>
                        <a:gd name="T12" fmla="*/ 31 w 35"/>
                        <a:gd name="T13" fmla="*/ 13 h 35"/>
                        <a:gd name="T14" fmla="*/ 35 w 35"/>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5"/>
                        <a:gd name="T26" fmla="*/ 35 w 35"/>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5">
                          <a:moveTo>
                            <a:pt x="35" y="0"/>
                          </a:moveTo>
                          <a:cubicBezTo>
                            <a:pt x="32" y="7"/>
                            <a:pt x="23" y="11"/>
                            <a:pt x="14" y="13"/>
                          </a:cubicBezTo>
                          <a:cubicBezTo>
                            <a:pt x="8" y="12"/>
                            <a:pt x="6" y="10"/>
                            <a:pt x="0" y="9"/>
                          </a:cubicBezTo>
                          <a:cubicBezTo>
                            <a:pt x="2" y="15"/>
                            <a:pt x="4" y="22"/>
                            <a:pt x="2" y="27"/>
                          </a:cubicBezTo>
                          <a:cubicBezTo>
                            <a:pt x="7" y="35"/>
                            <a:pt x="5" y="22"/>
                            <a:pt x="13" y="17"/>
                          </a:cubicBezTo>
                          <a:cubicBezTo>
                            <a:pt x="25" y="18"/>
                            <a:pt x="23" y="20"/>
                            <a:pt x="24" y="30"/>
                          </a:cubicBezTo>
                          <a:cubicBezTo>
                            <a:pt x="31" y="23"/>
                            <a:pt x="28" y="27"/>
                            <a:pt x="31" y="13"/>
                          </a:cubicBezTo>
                          <a:cubicBezTo>
                            <a:pt x="31" y="9"/>
                            <a:pt x="33" y="5"/>
                            <a:pt x="35" y="0"/>
                          </a:cubicBezTo>
                          <a:close/>
                        </a:path>
                      </a:pathLst>
                    </a:custGeom>
                    <a:solidFill>
                      <a:srgbClr val="B18B47"/>
                    </a:solidFill>
                    <a:ln w="9525">
                      <a:noFill/>
                      <a:round/>
                      <a:headEnd/>
                      <a:tailEnd/>
                    </a:ln>
                  </p:spPr>
                  <p:txBody>
                    <a:bodyPr wrap="none" anchor="ctr"/>
                    <a:lstStyle/>
                    <a:p>
                      <a:pPr defTabSz="912546"/>
                      <a:endParaRPr>
                        <a:solidFill>
                          <a:srgbClr val="000000"/>
                        </a:solidFill>
                      </a:endParaRPr>
                    </a:p>
                  </p:txBody>
                </p:sp>
                <p:sp>
                  <p:nvSpPr>
                    <p:cNvPr id="441605" name="Freeform 839"/>
                    <p:cNvSpPr>
                      <a:spLocks/>
                    </p:cNvSpPr>
                    <p:nvPr/>
                  </p:nvSpPr>
                  <p:spPr bwMode="gray">
                    <a:xfrm>
                      <a:off x="3746" y="1619"/>
                      <a:ext cx="64" cy="44"/>
                    </a:xfrm>
                    <a:custGeom>
                      <a:avLst/>
                      <a:gdLst>
                        <a:gd name="T0" fmla="*/ 37 w 64"/>
                        <a:gd name="T1" fmla="*/ 3 h 44"/>
                        <a:gd name="T2" fmla="*/ 16 w 64"/>
                        <a:gd name="T3" fmla="*/ 7 h 44"/>
                        <a:gd name="T4" fmla="*/ 18 w 64"/>
                        <a:gd name="T5" fmla="*/ 15 h 44"/>
                        <a:gd name="T6" fmla="*/ 13 w 64"/>
                        <a:gd name="T7" fmla="*/ 18 h 44"/>
                        <a:gd name="T8" fmla="*/ 16 w 64"/>
                        <a:gd name="T9" fmla="*/ 22 h 44"/>
                        <a:gd name="T10" fmla="*/ 24 w 64"/>
                        <a:gd name="T11" fmla="*/ 16 h 44"/>
                        <a:gd name="T12" fmla="*/ 13 w 64"/>
                        <a:gd name="T13" fmla="*/ 33 h 44"/>
                        <a:gd name="T14" fmla="*/ 22 w 64"/>
                        <a:gd name="T15" fmla="*/ 31 h 44"/>
                        <a:gd name="T16" fmla="*/ 34 w 64"/>
                        <a:gd name="T17" fmla="*/ 18 h 44"/>
                        <a:gd name="T18" fmla="*/ 37 w 64"/>
                        <a:gd name="T19" fmla="*/ 7 h 44"/>
                        <a:gd name="T20" fmla="*/ 45 w 64"/>
                        <a:gd name="T21" fmla="*/ 22 h 44"/>
                        <a:gd name="T22" fmla="*/ 55 w 64"/>
                        <a:gd name="T23" fmla="*/ 31 h 44"/>
                        <a:gd name="T24" fmla="*/ 58 w 64"/>
                        <a:gd name="T25" fmla="*/ 21 h 44"/>
                        <a:gd name="T26" fmla="*/ 37 w 64"/>
                        <a:gd name="T27" fmla="*/ 3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44"/>
                        <a:gd name="T44" fmla="*/ 64 w 64"/>
                        <a:gd name="T45" fmla="*/ 44 h 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44">
                          <a:moveTo>
                            <a:pt x="37" y="3"/>
                          </a:moveTo>
                          <a:cubicBezTo>
                            <a:pt x="28" y="0"/>
                            <a:pt x="24" y="2"/>
                            <a:pt x="16" y="7"/>
                          </a:cubicBezTo>
                          <a:cubicBezTo>
                            <a:pt x="7" y="21"/>
                            <a:pt x="0" y="18"/>
                            <a:pt x="18" y="15"/>
                          </a:cubicBezTo>
                          <a:cubicBezTo>
                            <a:pt x="16" y="16"/>
                            <a:pt x="14" y="16"/>
                            <a:pt x="13" y="18"/>
                          </a:cubicBezTo>
                          <a:cubicBezTo>
                            <a:pt x="13" y="20"/>
                            <a:pt x="14" y="22"/>
                            <a:pt x="16" y="22"/>
                          </a:cubicBezTo>
                          <a:cubicBezTo>
                            <a:pt x="19" y="22"/>
                            <a:pt x="21" y="17"/>
                            <a:pt x="24" y="16"/>
                          </a:cubicBezTo>
                          <a:cubicBezTo>
                            <a:pt x="20" y="23"/>
                            <a:pt x="20" y="30"/>
                            <a:pt x="13" y="33"/>
                          </a:cubicBezTo>
                          <a:cubicBezTo>
                            <a:pt x="2" y="44"/>
                            <a:pt x="20" y="32"/>
                            <a:pt x="22" y="31"/>
                          </a:cubicBezTo>
                          <a:cubicBezTo>
                            <a:pt x="25" y="26"/>
                            <a:pt x="34" y="18"/>
                            <a:pt x="34" y="18"/>
                          </a:cubicBezTo>
                          <a:cubicBezTo>
                            <a:pt x="28" y="13"/>
                            <a:pt x="32" y="11"/>
                            <a:pt x="37" y="7"/>
                          </a:cubicBezTo>
                          <a:cubicBezTo>
                            <a:pt x="45" y="15"/>
                            <a:pt x="36" y="15"/>
                            <a:pt x="45" y="22"/>
                          </a:cubicBezTo>
                          <a:cubicBezTo>
                            <a:pt x="46" y="29"/>
                            <a:pt x="49" y="27"/>
                            <a:pt x="55" y="31"/>
                          </a:cubicBezTo>
                          <a:cubicBezTo>
                            <a:pt x="54" y="22"/>
                            <a:pt x="48" y="16"/>
                            <a:pt x="58" y="21"/>
                          </a:cubicBezTo>
                          <a:cubicBezTo>
                            <a:pt x="64" y="6"/>
                            <a:pt x="48" y="4"/>
                            <a:pt x="37" y="3"/>
                          </a:cubicBezTo>
                          <a:close/>
                        </a:path>
                      </a:pathLst>
                    </a:custGeom>
                    <a:solidFill>
                      <a:srgbClr val="99712F"/>
                    </a:solidFill>
                    <a:ln w="19050">
                      <a:noFill/>
                      <a:round/>
                      <a:headEnd/>
                      <a:tailEnd/>
                    </a:ln>
                  </p:spPr>
                  <p:txBody>
                    <a:bodyPr wrap="none" lIns="90000" tIns="46800" rIns="90000" bIns="46800" anchor="ctr"/>
                    <a:lstStyle/>
                    <a:p>
                      <a:pPr defTabSz="912546"/>
                      <a:endParaRPr>
                        <a:solidFill>
                          <a:srgbClr val="000000"/>
                        </a:solidFill>
                      </a:endParaRPr>
                    </a:p>
                  </p:txBody>
                </p:sp>
              </p:grpSp>
            </p:grpSp>
            <p:grpSp>
              <p:nvGrpSpPr>
                <p:cNvPr id="265153" name="Group 840"/>
                <p:cNvGrpSpPr>
                  <a:grpSpLocks/>
                </p:cNvGrpSpPr>
                <p:nvPr/>
              </p:nvGrpSpPr>
              <p:grpSpPr bwMode="gray">
                <a:xfrm>
                  <a:off x="3312" y="2970"/>
                  <a:ext cx="265" cy="454"/>
                  <a:chOff x="1359" y="2952"/>
                  <a:chExt cx="296" cy="508"/>
                </a:xfrm>
              </p:grpSpPr>
              <p:sp>
                <p:nvSpPr>
                  <p:cNvPr id="441564" name="Freeform 841"/>
                  <p:cNvSpPr>
                    <a:spLocks/>
                  </p:cNvSpPr>
                  <p:nvPr/>
                </p:nvSpPr>
                <p:spPr bwMode="gray">
                  <a:xfrm>
                    <a:off x="1393" y="3389"/>
                    <a:ext cx="262" cy="67"/>
                  </a:xfrm>
                  <a:custGeom>
                    <a:avLst/>
                    <a:gdLst>
                      <a:gd name="T0" fmla="*/ 1 w 381"/>
                      <a:gd name="T1" fmla="*/ 0 h 98"/>
                      <a:gd name="T2" fmla="*/ 3 w 381"/>
                      <a:gd name="T3" fmla="*/ 1 h 98"/>
                      <a:gd name="T4" fmla="*/ 3 w 381"/>
                      <a:gd name="T5" fmla="*/ 1 h 98"/>
                      <a:gd name="T6" fmla="*/ 3 w 381"/>
                      <a:gd name="T7" fmla="*/ 1 h 98"/>
                      <a:gd name="T8" fmla="*/ 3 w 381"/>
                      <a:gd name="T9" fmla="*/ 1 h 98"/>
                      <a:gd name="T10" fmla="*/ 3 w 381"/>
                      <a:gd name="T11" fmla="*/ 1 h 98"/>
                      <a:gd name="T12" fmla="*/ 2 w 381"/>
                      <a:gd name="T13" fmla="*/ 1 h 98"/>
                      <a:gd name="T14" fmla="*/ 2 w 381"/>
                      <a:gd name="T15" fmla="*/ 1 h 98"/>
                      <a:gd name="T16" fmla="*/ 2 w 381"/>
                      <a:gd name="T17" fmla="*/ 1 h 98"/>
                      <a:gd name="T18" fmla="*/ 2 w 381"/>
                      <a:gd name="T19" fmla="*/ 1 h 98"/>
                      <a:gd name="T20" fmla="*/ 1 w 381"/>
                      <a:gd name="T21" fmla="*/ 1 h 98"/>
                      <a:gd name="T22" fmla="*/ 1 w 381"/>
                      <a:gd name="T23" fmla="*/ 1 h 98"/>
                      <a:gd name="T24" fmla="*/ 0 w 381"/>
                      <a:gd name="T25" fmla="*/ 1 h 98"/>
                      <a:gd name="T26" fmla="*/ 1 w 381"/>
                      <a:gd name="T27" fmla="*/ 1 h 98"/>
                      <a:gd name="T28" fmla="*/ 1 w 381"/>
                      <a:gd name="T29" fmla="*/ 0 h 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1"/>
                      <a:gd name="T46" fmla="*/ 0 h 98"/>
                      <a:gd name="T47" fmla="*/ 381 w 381"/>
                      <a:gd name="T48" fmla="*/ 98 h 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1" h="98">
                        <a:moveTo>
                          <a:pt x="139" y="0"/>
                        </a:moveTo>
                        <a:cubicBezTo>
                          <a:pt x="271" y="2"/>
                          <a:pt x="249" y="1"/>
                          <a:pt x="338" y="16"/>
                        </a:cubicBezTo>
                        <a:cubicBezTo>
                          <a:pt x="342" y="22"/>
                          <a:pt x="369" y="29"/>
                          <a:pt x="369" y="29"/>
                        </a:cubicBezTo>
                        <a:cubicBezTo>
                          <a:pt x="379" y="38"/>
                          <a:pt x="378" y="42"/>
                          <a:pt x="381" y="53"/>
                        </a:cubicBezTo>
                        <a:cubicBezTo>
                          <a:pt x="379" y="58"/>
                          <a:pt x="381" y="82"/>
                          <a:pt x="366" y="87"/>
                        </a:cubicBezTo>
                        <a:cubicBezTo>
                          <a:pt x="353" y="91"/>
                          <a:pt x="358" y="73"/>
                          <a:pt x="334" y="73"/>
                        </a:cubicBezTo>
                        <a:cubicBezTo>
                          <a:pt x="328" y="74"/>
                          <a:pt x="300" y="98"/>
                          <a:pt x="300" y="98"/>
                        </a:cubicBezTo>
                        <a:cubicBezTo>
                          <a:pt x="288" y="97"/>
                          <a:pt x="280" y="96"/>
                          <a:pt x="269" y="95"/>
                        </a:cubicBezTo>
                        <a:cubicBezTo>
                          <a:pt x="263" y="94"/>
                          <a:pt x="251" y="92"/>
                          <a:pt x="251" y="92"/>
                        </a:cubicBezTo>
                        <a:cubicBezTo>
                          <a:pt x="245" y="87"/>
                          <a:pt x="226" y="80"/>
                          <a:pt x="226" y="80"/>
                        </a:cubicBezTo>
                        <a:cubicBezTo>
                          <a:pt x="192" y="53"/>
                          <a:pt x="74" y="51"/>
                          <a:pt x="19" y="43"/>
                        </a:cubicBezTo>
                        <a:cubicBezTo>
                          <a:pt x="3" y="39"/>
                          <a:pt x="11" y="42"/>
                          <a:pt x="3" y="31"/>
                        </a:cubicBezTo>
                        <a:cubicBezTo>
                          <a:pt x="2" y="29"/>
                          <a:pt x="0" y="26"/>
                          <a:pt x="0" y="26"/>
                        </a:cubicBezTo>
                        <a:cubicBezTo>
                          <a:pt x="11" y="22"/>
                          <a:pt x="23" y="22"/>
                          <a:pt x="34" y="19"/>
                        </a:cubicBezTo>
                        <a:cubicBezTo>
                          <a:pt x="60" y="12"/>
                          <a:pt x="110" y="0"/>
                          <a:pt x="139" y="0"/>
                        </a:cubicBezTo>
                        <a:close/>
                      </a:path>
                    </a:pathLst>
                  </a:custGeom>
                  <a:noFill/>
                  <a:ln w="9525">
                    <a:noFill/>
                    <a:round/>
                    <a:headEnd/>
                    <a:tailEnd/>
                  </a:ln>
                </p:spPr>
                <p:txBody>
                  <a:bodyPr/>
                  <a:lstStyle/>
                  <a:p>
                    <a:pPr defTabSz="912546"/>
                    <a:endParaRPr>
                      <a:solidFill>
                        <a:srgbClr val="000000"/>
                      </a:solidFill>
                    </a:endParaRPr>
                  </a:p>
                </p:txBody>
              </p:sp>
              <p:sp>
                <p:nvSpPr>
                  <p:cNvPr id="441565" name="Freeform 842"/>
                  <p:cNvSpPr>
                    <a:spLocks/>
                  </p:cNvSpPr>
                  <p:nvPr/>
                </p:nvSpPr>
                <p:spPr bwMode="gray">
                  <a:xfrm flipH="1">
                    <a:off x="1525" y="3410"/>
                    <a:ext cx="40" cy="50"/>
                  </a:xfrm>
                  <a:custGeom>
                    <a:avLst/>
                    <a:gdLst>
                      <a:gd name="T0" fmla="*/ 3 w 47"/>
                      <a:gd name="T1" fmla="*/ 2 h 62"/>
                      <a:gd name="T2" fmla="*/ 0 w 47"/>
                      <a:gd name="T3" fmla="*/ 2 h 62"/>
                      <a:gd name="T4" fmla="*/ 3 w 47"/>
                      <a:gd name="T5" fmla="*/ 3 h 62"/>
                      <a:gd name="T6" fmla="*/ 3 w 47"/>
                      <a:gd name="T7" fmla="*/ 4 h 62"/>
                      <a:gd name="T8" fmla="*/ 5 w 47"/>
                      <a:gd name="T9" fmla="*/ 3 h 62"/>
                      <a:gd name="T10" fmla="*/ 5 w 47"/>
                      <a:gd name="T11" fmla="*/ 2 h 62"/>
                      <a:gd name="T12" fmla="*/ 3 w 47"/>
                      <a:gd name="T13" fmla="*/ 2 h 62"/>
                      <a:gd name="T14" fmla="*/ 3 w 47"/>
                      <a:gd name="T15" fmla="*/ 2 h 62"/>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62"/>
                      <a:gd name="T26" fmla="*/ 47 w 47"/>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62">
                        <a:moveTo>
                          <a:pt x="6" y="2"/>
                        </a:moveTo>
                        <a:cubicBezTo>
                          <a:pt x="4" y="11"/>
                          <a:pt x="2" y="19"/>
                          <a:pt x="0" y="28"/>
                        </a:cubicBezTo>
                        <a:cubicBezTo>
                          <a:pt x="2" y="34"/>
                          <a:pt x="2" y="46"/>
                          <a:pt x="6" y="50"/>
                        </a:cubicBezTo>
                        <a:cubicBezTo>
                          <a:pt x="11" y="55"/>
                          <a:pt x="24" y="62"/>
                          <a:pt x="24" y="62"/>
                        </a:cubicBezTo>
                        <a:cubicBezTo>
                          <a:pt x="27" y="61"/>
                          <a:pt x="34" y="59"/>
                          <a:pt x="36" y="56"/>
                        </a:cubicBezTo>
                        <a:cubicBezTo>
                          <a:pt x="38" y="52"/>
                          <a:pt x="40" y="44"/>
                          <a:pt x="40" y="44"/>
                        </a:cubicBezTo>
                        <a:cubicBezTo>
                          <a:pt x="38" y="0"/>
                          <a:pt x="47" y="0"/>
                          <a:pt x="14" y="8"/>
                        </a:cubicBezTo>
                        <a:cubicBezTo>
                          <a:pt x="7" y="6"/>
                          <a:pt x="9" y="8"/>
                          <a:pt x="6" y="2"/>
                        </a:cubicBezTo>
                        <a:close/>
                      </a:path>
                    </a:pathLst>
                  </a:custGeom>
                  <a:solidFill>
                    <a:srgbClr val="373737"/>
                  </a:solidFill>
                  <a:ln w="9525">
                    <a:noFill/>
                    <a:round/>
                    <a:headEnd/>
                    <a:tailEnd/>
                  </a:ln>
                </p:spPr>
                <p:txBody>
                  <a:bodyPr/>
                  <a:lstStyle/>
                  <a:p>
                    <a:pPr defTabSz="912546"/>
                    <a:endParaRPr>
                      <a:solidFill>
                        <a:srgbClr val="000000"/>
                      </a:solidFill>
                    </a:endParaRPr>
                  </a:p>
                </p:txBody>
              </p:sp>
              <p:sp>
                <p:nvSpPr>
                  <p:cNvPr id="441566" name="Freeform 843"/>
                  <p:cNvSpPr>
                    <a:spLocks/>
                  </p:cNvSpPr>
                  <p:nvPr/>
                </p:nvSpPr>
                <p:spPr bwMode="gray">
                  <a:xfrm flipH="1">
                    <a:off x="1417" y="3385"/>
                    <a:ext cx="84" cy="30"/>
                  </a:xfrm>
                  <a:custGeom>
                    <a:avLst/>
                    <a:gdLst>
                      <a:gd name="T0" fmla="*/ 0 w 98"/>
                      <a:gd name="T1" fmla="*/ 2 h 36"/>
                      <a:gd name="T2" fmla="*/ 4 w 98"/>
                      <a:gd name="T3" fmla="*/ 2 h 36"/>
                      <a:gd name="T4" fmla="*/ 11 w 98"/>
                      <a:gd name="T5" fmla="*/ 3 h 36"/>
                      <a:gd name="T6" fmla="*/ 9 w 98"/>
                      <a:gd name="T7" fmla="*/ 2 h 36"/>
                      <a:gd name="T8" fmla="*/ 6 w 98"/>
                      <a:gd name="T9" fmla="*/ 0 h 36"/>
                      <a:gd name="T10" fmla="*/ 0 w 98"/>
                      <a:gd name="T11" fmla="*/ 2 h 36"/>
                      <a:gd name="T12" fmla="*/ 0 60000 65536"/>
                      <a:gd name="T13" fmla="*/ 0 60000 65536"/>
                      <a:gd name="T14" fmla="*/ 0 60000 65536"/>
                      <a:gd name="T15" fmla="*/ 0 60000 65536"/>
                      <a:gd name="T16" fmla="*/ 0 60000 65536"/>
                      <a:gd name="T17" fmla="*/ 0 60000 65536"/>
                      <a:gd name="T18" fmla="*/ 0 w 98"/>
                      <a:gd name="T19" fmla="*/ 0 h 36"/>
                      <a:gd name="T20" fmla="*/ 98 w 98"/>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98" h="36">
                        <a:moveTo>
                          <a:pt x="0" y="14"/>
                        </a:moveTo>
                        <a:cubicBezTo>
                          <a:pt x="7" y="34"/>
                          <a:pt x="10" y="26"/>
                          <a:pt x="30" y="28"/>
                        </a:cubicBezTo>
                        <a:cubicBezTo>
                          <a:pt x="54" y="36"/>
                          <a:pt x="71" y="36"/>
                          <a:pt x="84" y="34"/>
                        </a:cubicBezTo>
                        <a:cubicBezTo>
                          <a:pt x="98" y="29"/>
                          <a:pt x="79" y="15"/>
                          <a:pt x="72" y="10"/>
                        </a:cubicBezTo>
                        <a:cubicBezTo>
                          <a:pt x="56" y="6"/>
                          <a:pt x="46" y="0"/>
                          <a:pt x="46" y="0"/>
                        </a:cubicBezTo>
                        <a:cubicBezTo>
                          <a:pt x="30" y="3"/>
                          <a:pt x="15" y="9"/>
                          <a:pt x="0" y="14"/>
                        </a:cubicBezTo>
                        <a:close/>
                      </a:path>
                    </a:pathLst>
                  </a:custGeom>
                  <a:solidFill>
                    <a:srgbClr val="373737"/>
                  </a:solidFill>
                  <a:ln w="9525">
                    <a:noFill/>
                    <a:round/>
                    <a:headEnd/>
                    <a:tailEnd/>
                  </a:ln>
                </p:spPr>
                <p:txBody>
                  <a:bodyPr/>
                  <a:lstStyle/>
                  <a:p>
                    <a:pPr defTabSz="912546"/>
                    <a:endParaRPr>
                      <a:solidFill>
                        <a:srgbClr val="000000"/>
                      </a:solidFill>
                    </a:endParaRPr>
                  </a:p>
                </p:txBody>
              </p:sp>
              <p:sp>
                <p:nvSpPr>
                  <p:cNvPr id="441567" name="Freeform 844"/>
                  <p:cNvSpPr>
                    <a:spLocks/>
                  </p:cNvSpPr>
                  <p:nvPr/>
                </p:nvSpPr>
                <p:spPr bwMode="gray">
                  <a:xfrm flipH="1">
                    <a:off x="1457" y="3164"/>
                    <a:ext cx="115" cy="262"/>
                  </a:xfrm>
                  <a:custGeom>
                    <a:avLst/>
                    <a:gdLst>
                      <a:gd name="T0" fmla="*/ 16 w 135"/>
                      <a:gd name="T1" fmla="*/ 2 h 323"/>
                      <a:gd name="T2" fmla="*/ 17 w 135"/>
                      <a:gd name="T3" fmla="*/ 6 h 323"/>
                      <a:gd name="T4" fmla="*/ 17 w 135"/>
                      <a:gd name="T5" fmla="*/ 18 h 323"/>
                      <a:gd name="T6" fmla="*/ 14 w 135"/>
                      <a:gd name="T7" fmla="*/ 19 h 323"/>
                      <a:gd name="T8" fmla="*/ 14 w 135"/>
                      <a:gd name="T9" fmla="*/ 19 h 323"/>
                      <a:gd name="T10" fmla="*/ 11 w 135"/>
                      <a:gd name="T11" fmla="*/ 19 h 323"/>
                      <a:gd name="T12" fmla="*/ 10 w 135"/>
                      <a:gd name="T13" fmla="*/ 15 h 323"/>
                      <a:gd name="T14" fmla="*/ 10 w 135"/>
                      <a:gd name="T15" fmla="*/ 12 h 323"/>
                      <a:gd name="T16" fmla="*/ 9 w 135"/>
                      <a:gd name="T17" fmla="*/ 9 h 323"/>
                      <a:gd name="T18" fmla="*/ 9 w 135"/>
                      <a:gd name="T19" fmla="*/ 10 h 323"/>
                      <a:gd name="T20" fmla="*/ 9 w 135"/>
                      <a:gd name="T21" fmla="*/ 11 h 323"/>
                      <a:gd name="T22" fmla="*/ 8 w 135"/>
                      <a:gd name="T23" fmla="*/ 12 h 323"/>
                      <a:gd name="T24" fmla="*/ 8 w 135"/>
                      <a:gd name="T25" fmla="*/ 15 h 323"/>
                      <a:gd name="T26" fmla="*/ 7 w 135"/>
                      <a:gd name="T27" fmla="*/ 19 h 323"/>
                      <a:gd name="T28" fmla="*/ 6 w 135"/>
                      <a:gd name="T29" fmla="*/ 21 h 323"/>
                      <a:gd name="T30" fmla="*/ 3 w 135"/>
                      <a:gd name="T31" fmla="*/ 21 h 323"/>
                      <a:gd name="T32" fmla="*/ 3 w 135"/>
                      <a:gd name="T33" fmla="*/ 17 h 323"/>
                      <a:gd name="T34" fmla="*/ 3 w 135"/>
                      <a:gd name="T35" fmla="*/ 7 h 323"/>
                      <a:gd name="T36" fmla="*/ 3 w 135"/>
                      <a:gd name="T37" fmla="*/ 2 h 323"/>
                      <a:gd name="T38" fmla="*/ 12 w 135"/>
                      <a:gd name="T39" fmla="*/ 2 h 323"/>
                      <a:gd name="T40" fmla="*/ 16 w 135"/>
                      <a:gd name="T41" fmla="*/ 2 h 3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5"/>
                      <a:gd name="T64" fmla="*/ 0 h 323"/>
                      <a:gd name="T65" fmla="*/ 135 w 135"/>
                      <a:gd name="T66" fmla="*/ 323 h 3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5" h="323">
                        <a:moveTo>
                          <a:pt x="126" y="9"/>
                        </a:moveTo>
                        <a:cubicBezTo>
                          <a:pt x="135" y="36"/>
                          <a:pt x="131" y="73"/>
                          <a:pt x="134" y="103"/>
                        </a:cubicBezTo>
                        <a:cubicBezTo>
                          <a:pt x="133" y="157"/>
                          <a:pt x="125" y="219"/>
                          <a:pt x="134" y="273"/>
                        </a:cubicBezTo>
                        <a:cubicBezTo>
                          <a:pt x="131" y="285"/>
                          <a:pt x="135" y="280"/>
                          <a:pt x="120" y="285"/>
                        </a:cubicBezTo>
                        <a:cubicBezTo>
                          <a:pt x="118" y="286"/>
                          <a:pt x="114" y="287"/>
                          <a:pt x="114" y="287"/>
                        </a:cubicBezTo>
                        <a:cubicBezTo>
                          <a:pt x="102" y="285"/>
                          <a:pt x="99" y="286"/>
                          <a:pt x="88" y="289"/>
                        </a:cubicBezTo>
                        <a:cubicBezTo>
                          <a:pt x="73" y="279"/>
                          <a:pt x="83" y="258"/>
                          <a:pt x="86" y="243"/>
                        </a:cubicBezTo>
                        <a:cubicBezTo>
                          <a:pt x="82" y="186"/>
                          <a:pt x="86" y="207"/>
                          <a:pt x="80" y="181"/>
                        </a:cubicBezTo>
                        <a:cubicBezTo>
                          <a:pt x="79" y="168"/>
                          <a:pt x="78" y="152"/>
                          <a:pt x="76" y="139"/>
                        </a:cubicBezTo>
                        <a:cubicBezTo>
                          <a:pt x="76" y="137"/>
                          <a:pt x="77" y="145"/>
                          <a:pt x="76" y="147"/>
                        </a:cubicBezTo>
                        <a:cubicBezTo>
                          <a:pt x="72" y="155"/>
                          <a:pt x="66" y="171"/>
                          <a:pt x="66" y="171"/>
                        </a:cubicBezTo>
                        <a:cubicBezTo>
                          <a:pt x="65" y="180"/>
                          <a:pt x="65" y="188"/>
                          <a:pt x="64" y="197"/>
                        </a:cubicBezTo>
                        <a:cubicBezTo>
                          <a:pt x="63" y="208"/>
                          <a:pt x="60" y="229"/>
                          <a:pt x="60" y="229"/>
                        </a:cubicBezTo>
                        <a:cubicBezTo>
                          <a:pt x="59" y="248"/>
                          <a:pt x="60" y="272"/>
                          <a:pt x="54" y="291"/>
                        </a:cubicBezTo>
                        <a:cubicBezTo>
                          <a:pt x="53" y="301"/>
                          <a:pt x="55" y="311"/>
                          <a:pt x="44" y="315"/>
                        </a:cubicBezTo>
                        <a:cubicBezTo>
                          <a:pt x="32" y="311"/>
                          <a:pt x="20" y="316"/>
                          <a:pt x="10" y="323"/>
                        </a:cubicBezTo>
                        <a:cubicBezTo>
                          <a:pt x="0" y="294"/>
                          <a:pt x="6" y="316"/>
                          <a:pt x="8" y="259"/>
                        </a:cubicBezTo>
                        <a:cubicBezTo>
                          <a:pt x="10" y="210"/>
                          <a:pt x="4" y="155"/>
                          <a:pt x="16" y="107"/>
                        </a:cubicBezTo>
                        <a:cubicBezTo>
                          <a:pt x="14" y="90"/>
                          <a:pt x="10" y="49"/>
                          <a:pt x="26" y="35"/>
                        </a:cubicBezTo>
                        <a:cubicBezTo>
                          <a:pt x="45" y="18"/>
                          <a:pt x="75" y="9"/>
                          <a:pt x="100" y="5"/>
                        </a:cubicBezTo>
                        <a:cubicBezTo>
                          <a:pt x="129" y="7"/>
                          <a:pt x="135" y="0"/>
                          <a:pt x="126" y="9"/>
                        </a:cubicBezTo>
                        <a:close/>
                      </a:path>
                    </a:pathLst>
                  </a:custGeom>
                  <a:solidFill>
                    <a:srgbClr val="6F5A41"/>
                  </a:solidFill>
                  <a:ln w="9525">
                    <a:noFill/>
                    <a:round/>
                    <a:headEnd/>
                    <a:tailEnd/>
                  </a:ln>
                </p:spPr>
                <p:txBody>
                  <a:bodyPr/>
                  <a:lstStyle/>
                  <a:p>
                    <a:pPr defTabSz="912546"/>
                    <a:endParaRPr>
                      <a:solidFill>
                        <a:srgbClr val="000000"/>
                      </a:solidFill>
                    </a:endParaRPr>
                  </a:p>
                </p:txBody>
              </p:sp>
              <p:sp>
                <p:nvSpPr>
                  <p:cNvPr id="441568" name="Freeform 845"/>
                  <p:cNvSpPr>
                    <a:spLocks/>
                  </p:cNvSpPr>
                  <p:nvPr/>
                </p:nvSpPr>
                <p:spPr bwMode="gray">
                  <a:xfrm flipH="1">
                    <a:off x="1398" y="3023"/>
                    <a:ext cx="193" cy="190"/>
                  </a:xfrm>
                  <a:custGeom>
                    <a:avLst/>
                    <a:gdLst>
                      <a:gd name="T0" fmla="*/ 8 w 227"/>
                      <a:gd name="T1" fmla="*/ 2 h 234"/>
                      <a:gd name="T2" fmla="*/ 3 w 227"/>
                      <a:gd name="T3" fmla="*/ 2 h 234"/>
                      <a:gd name="T4" fmla="*/ 3 w 227"/>
                      <a:gd name="T5" fmla="*/ 4 h 234"/>
                      <a:gd name="T6" fmla="*/ 3 w 227"/>
                      <a:gd name="T7" fmla="*/ 12 h 234"/>
                      <a:gd name="T8" fmla="*/ 7 w 227"/>
                      <a:gd name="T9" fmla="*/ 15 h 234"/>
                      <a:gd name="T10" fmla="*/ 9 w 227"/>
                      <a:gd name="T11" fmla="*/ 13 h 234"/>
                      <a:gd name="T12" fmla="*/ 12 w 227"/>
                      <a:gd name="T13" fmla="*/ 12 h 234"/>
                      <a:gd name="T14" fmla="*/ 19 w 227"/>
                      <a:gd name="T15" fmla="*/ 12 h 234"/>
                      <a:gd name="T16" fmla="*/ 19 w 227"/>
                      <a:gd name="T17" fmla="*/ 8 h 234"/>
                      <a:gd name="T18" fmla="*/ 21 w 227"/>
                      <a:gd name="T19" fmla="*/ 9 h 234"/>
                      <a:gd name="T20" fmla="*/ 22 w 227"/>
                      <a:gd name="T21" fmla="*/ 10 h 234"/>
                      <a:gd name="T22" fmla="*/ 25 w 227"/>
                      <a:gd name="T23" fmla="*/ 8 h 234"/>
                      <a:gd name="T24" fmla="*/ 26 w 227"/>
                      <a:gd name="T25" fmla="*/ 5 h 234"/>
                      <a:gd name="T26" fmla="*/ 26 w 227"/>
                      <a:gd name="T27" fmla="*/ 4 h 234"/>
                      <a:gd name="T28" fmla="*/ 26 w 227"/>
                      <a:gd name="T29" fmla="*/ 3 h 234"/>
                      <a:gd name="T30" fmla="*/ 22 w 227"/>
                      <a:gd name="T31" fmla="*/ 4 h 234"/>
                      <a:gd name="T32" fmla="*/ 20 w 227"/>
                      <a:gd name="T33" fmla="*/ 6 h 234"/>
                      <a:gd name="T34" fmla="*/ 18 w 227"/>
                      <a:gd name="T35" fmla="*/ 2 h 234"/>
                      <a:gd name="T36" fmla="*/ 14 w 227"/>
                      <a:gd name="T37" fmla="*/ 2 h 234"/>
                      <a:gd name="T38" fmla="*/ 12 w 227"/>
                      <a:gd name="T39" fmla="*/ 2 h 234"/>
                      <a:gd name="T40" fmla="*/ 11 w 227"/>
                      <a:gd name="T41" fmla="*/ 0 h 234"/>
                      <a:gd name="T42" fmla="*/ 8 w 227"/>
                      <a:gd name="T43" fmla="*/ 2 h 2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7"/>
                      <a:gd name="T67" fmla="*/ 0 h 234"/>
                      <a:gd name="T68" fmla="*/ 227 w 227"/>
                      <a:gd name="T69" fmla="*/ 234 h 2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7" h="234">
                        <a:moveTo>
                          <a:pt x="63" y="6"/>
                        </a:moveTo>
                        <a:cubicBezTo>
                          <a:pt x="58" y="21"/>
                          <a:pt x="35" y="33"/>
                          <a:pt x="21" y="42"/>
                        </a:cubicBezTo>
                        <a:cubicBezTo>
                          <a:pt x="12" y="56"/>
                          <a:pt x="10" y="46"/>
                          <a:pt x="13" y="68"/>
                        </a:cubicBezTo>
                        <a:cubicBezTo>
                          <a:pt x="12" y="99"/>
                          <a:pt x="0" y="159"/>
                          <a:pt x="27" y="186"/>
                        </a:cubicBezTo>
                        <a:cubicBezTo>
                          <a:pt x="33" y="203"/>
                          <a:pt x="45" y="217"/>
                          <a:pt x="51" y="234"/>
                        </a:cubicBezTo>
                        <a:cubicBezTo>
                          <a:pt x="68" y="230"/>
                          <a:pt x="70" y="220"/>
                          <a:pt x="75" y="204"/>
                        </a:cubicBezTo>
                        <a:cubicBezTo>
                          <a:pt x="75" y="204"/>
                          <a:pt x="90" y="199"/>
                          <a:pt x="93" y="198"/>
                        </a:cubicBezTo>
                        <a:cubicBezTo>
                          <a:pt x="112" y="192"/>
                          <a:pt x="129" y="188"/>
                          <a:pt x="149" y="186"/>
                        </a:cubicBezTo>
                        <a:cubicBezTo>
                          <a:pt x="160" y="175"/>
                          <a:pt x="152" y="140"/>
                          <a:pt x="155" y="124"/>
                        </a:cubicBezTo>
                        <a:cubicBezTo>
                          <a:pt x="161" y="126"/>
                          <a:pt x="167" y="136"/>
                          <a:pt x="173" y="138"/>
                        </a:cubicBezTo>
                        <a:cubicBezTo>
                          <a:pt x="177" y="139"/>
                          <a:pt x="187" y="142"/>
                          <a:pt x="187" y="142"/>
                        </a:cubicBezTo>
                        <a:cubicBezTo>
                          <a:pt x="197" y="139"/>
                          <a:pt x="196" y="129"/>
                          <a:pt x="203" y="122"/>
                        </a:cubicBezTo>
                        <a:cubicBezTo>
                          <a:pt x="208" y="106"/>
                          <a:pt x="218" y="102"/>
                          <a:pt x="223" y="86"/>
                        </a:cubicBezTo>
                        <a:cubicBezTo>
                          <a:pt x="220" y="78"/>
                          <a:pt x="227" y="68"/>
                          <a:pt x="221" y="62"/>
                        </a:cubicBezTo>
                        <a:cubicBezTo>
                          <a:pt x="218" y="59"/>
                          <a:pt x="213" y="58"/>
                          <a:pt x="209" y="56"/>
                        </a:cubicBezTo>
                        <a:cubicBezTo>
                          <a:pt x="194" y="34"/>
                          <a:pt x="198" y="60"/>
                          <a:pt x="181" y="66"/>
                        </a:cubicBezTo>
                        <a:cubicBezTo>
                          <a:pt x="174" y="73"/>
                          <a:pt x="178" y="91"/>
                          <a:pt x="169" y="88"/>
                        </a:cubicBezTo>
                        <a:cubicBezTo>
                          <a:pt x="161" y="76"/>
                          <a:pt x="157" y="44"/>
                          <a:pt x="147" y="34"/>
                        </a:cubicBezTo>
                        <a:cubicBezTo>
                          <a:pt x="137" y="24"/>
                          <a:pt x="122" y="25"/>
                          <a:pt x="111" y="14"/>
                        </a:cubicBezTo>
                        <a:cubicBezTo>
                          <a:pt x="108" y="2"/>
                          <a:pt x="112" y="7"/>
                          <a:pt x="97" y="2"/>
                        </a:cubicBezTo>
                        <a:cubicBezTo>
                          <a:pt x="95" y="1"/>
                          <a:pt x="91" y="0"/>
                          <a:pt x="91" y="0"/>
                        </a:cubicBezTo>
                        <a:cubicBezTo>
                          <a:pt x="81" y="1"/>
                          <a:pt x="69" y="8"/>
                          <a:pt x="63" y="6"/>
                        </a:cubicBezTo>
                        <a:close/>
                      </a:path>
                    </a:pathLst>
                  </a:custGeom>
                  <a:solidFill>
                    <a:srgbClr val="EAE8D6"/>
                  </a:solidFill>
                  <a:ln w="9525">
                    <a:noFill/>
                    <a:round/>
                    <a:headEnd/>
                    <a:tailEnd/>
                  </a:ln>
                </p:spPr>
                <p:txBody>
                  <a:bodyPr/>
                  <a:lstStyle/>
                  <a:p>
                    <a:pPr defTabSz="912546"/>
                    <a:endParaRPr>
                      <a:solidFill>
                        <a:srgbClr val="000000"/>
                      </a:solidFill>
                    </a:endParaRPr>
                  </a:p>
                </p:txBody>
              </p:sp>
              <p:sp>
                <p:nvSpPr>
                  <p:cNvPr id="441569" name="Freeform 846"/>
                  <p:cNvSpPr>
                    <a:spLocks/>
                  </p:cNvSpPr>
                  <p:nvPr/>
                </p:nvSpPr>
                <p:spPr bwMode="gray">
                  <a:xfrm flipH="1">
                    <a:off x="1508" y="3073"/>
                    <a:ext cx="53" cy="122"/>
                  </a:xfrm>
                  <a:custGeom>
                    <a:avLst/>
                    <a:gdLst>
                      <a:gd name="T0" fmla="*/ 3 w 63"/>
                      <a:gd name="T1" fmla="*/ 0 h 150"/>
                      <a:gd name="T2" fmla="*/ 3 w 63"/>
                      <a:gd name="T3" fmla="*/ 2 h 150"/>
                      <a:gd name="T4" fmla="*/ 3 w 63"/>
                      <a:gd name="T5" fmla="*/ 3 h 150"/>
                      <a:gd name="T6" fmla="*/ 3 w 63"/>
                      <a:gd name="T7" fmla="*/ 5 h 150"/>
                      <a:gd name="T8" fmla="*/ 0 w 63"/>
                      <a:gd name="T9" fmla="*/ 6 h 150"/>
                      <a:gd name="T10" fmla="*/ 3 w 63"/>
                      <a:gd name="T11" fmla="*/ 6 h 150"/>
                      <a:gd name="T12" fmla="*/ 3 w 63"/>
                      <a:gd name="T13" fmla="*/ 7 h 150"/>
                      <a:gd name="T14" fmla="*/ 3 w 63"/>
                      <a:gd name="T15" fmla="*/ 8 h 150"/>
                      <a:gd name="T16" fmla="*/ 3 w 63"/>
                      <a:gd name="T17" fmla="*/ 10 h 150"/>
                      <a:gd name="T18" fmla="*/ 3 w 63"/>
                      <a:gd name="T19" fmla="*/ 10 h 150"/>
                      <a:gd name="T20" fmla="*/ 3 w 63"/>
                      <a:gd name="T21" fmla="*/ 10 h 150"/>
                      <a:gd name="T22" fmla="*/ 4 w 63"/>
                      <a:gd name="T23" fmla="*/ 10 h 150"/>
                      <a:gd name="T24" fmla="*/ 5 w 63"/>
                      <a:gd name="T25" fmla="*/ 10 h 150"/>
                      <a:gd name="T26" fmla="*/ 5 w 63"/>
                      <a:gd name="T27" fmla="*/ 10 h 150"/>
                      <a:gd name="T28" fmla="*/ 4 w 63"/>
                      <a:gd name="T29" fmla="*/ 8 h 150"/>
                      <a:gd name="T30" fmla="*/ 3 w 63"/>
                      <a:gd name="T31" fmla="*/ 7 h 150"/>
                      <a:gd name="T32" fmla="*/ 3 w 63"/>
                      <a:gd name="T33" fmla="*/ 6 h 150"/>
                      <a:gd name="T34" fmla="*/ 3 w 63"/>
                      <a:gd name="T35" fmla="*/ 7 h 150"/>
                      <a:gd name="T36" fmla="*/ 5 w 63"/>
                      <a:gd name="T37" fmla="*/ 7 h 150"/>
                      <a:gd name="T38" fmla="*/ 6 w 63"/>
                      <a:gd name="T39" fmla="*/ 7 h 150"/>
                      <a:gd name="T40" fmla="*/ 7 w 63"/>
                      <a:gd name="T41" fmla="*/ 7 h 150"/>
                      <a:gd name="T42" fmla="*/ 5 w 63"/>
                      <a:gd name="T43" fmla="*/ 7 h 150"/>
                      <a:gd name="T44" fmla="*/ 3 w 63"/>
                      <a:gd name="T45" fmla="*/ 5 h 150"/>
                      <a:gd name="T46" fmla="*/ 3 w 63"/>
                      <a:gd name="T47" fmla="*/ 3 h 150"/>
                      <a:gd name="T48" fmla="*/ 3 w 63"/>
                      <a:gd name="T49" fmla="*/ 2 h 150"/>
                      <a:gd name="T50" fmla="*/ 3 w 63"/>
                      <a:gd name="T51" fmla="*/ 0 h 1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
                      <a:gd name="T79" fmla="*/ 0 h 150"/>
                      <a:gd name="T80" fmla="*/ 63 w 63"/>
                      <a:gd name="T81" fmla="*/ 150 h 1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 h="150">
                        <a:moveTo>
                          <a:pt x="12" y="0"/>
                        </a:moveTo>
                        <a:cubicBezTo>
                          <a:pt x="18" y="8"/>
                          <a:pt x="21" y="16"/>
                          <a:pt x="26" y="24"/>
                        </a:cubicBezTo>
                        <a:cubicBezTo>
                          <a:pt x="18" y="29"/>
                          <a:pt x="16" y="32"/>
                          <a:pt x="22" y="40"/>
                        </a:cubicBezTo>
                        <a:cubicBezTo>
                          <a:pt x="21" y="49"/>
                          <a:pt x="24" y="60"/>
                          <a:pt x="18" y="66"/>
                        </a:cubicBezTo>
                        <a:cubicBezTo>
                          <a:pt x="13" y="71"/>
                          <a:pt x="0" y="78"/>
                          <a:pt x="0" y="78"/>
                        </a:cubicBezTo>
                        <a:cubicBezTo>
                          <a:pt x="7" y="80"/>
                          <a:pt x="20" y="88"/>
                          <a:pt x="20" y="88"/>
                        </a:cubicBezTo>
                        <a:cubicBezTo>
                          <a:pt x="26" y="98"/>
                          <a:pt x="23" y="92"/>
                          <a:pt x="28" y="106"/>
                        </a:cubicBezTo>
                        <a:cubicBezTo>
                          <a:pt x="29" y="110"/>
                          <a:pt x="32" y="118"/>
                          <a:pt x="32" y="118"/>
                        </a:cubicBezTo>
                        <a:cubicBezTo>
                          <a:pt x="30" y="123"/>
                          <a:pt x="28" y="137"/>
                          <a:pt x="24" y="142"/>
                        </a:cubicBezTo>
                        <a:cubicBezTo>
                          <a:pt x="23" y="144"/>
                          <a:pt x="18" y="146"/>
                          <a:pt x="20" y="148"/>
                        </a:cubicBezTo>
                        <a:cubicBezTo>
                          <a:pt x="22" y="150"/>
                          <a:pt x="24" y="145"/>
                          <a:pt x="26" y="144"/>
                        </a:cubicBezTo>
                        <a:cubicBezTo>
                          <a:pt x="29" y="135"/>
                          <a:pt x="32" y="135"/>
                          <a:pt x="40" y="138"/>
                        </a:cubicBezTo>
                        <a:cubicBezTo>
                          <a:pt x="41" y="140"/>
                          <a:pt x="42" y="144"/>
                          <a:pt x="44" y="144"/>
                        </a:cubicBezTo>
                        <a:cubicBezTo>
                          <a:pt x="46" y="144"/>
                          <a:pt x="47" y="140"/>
                          <a:pt x="46" y="138"/>
                        </a:cubicBezTo>
                        <a:cubicBezTo>
                          <a:pt x="44" y="131"/>
                          <a:pt x="38" y="127"/>
                          <a:pt x="36" y="120"/>
                        </a:cubicBezTo>
                        <a:cubicBezTo>
                          <a:pt x="35" y="114"/>
                          <a:pt x="35" y="108"/>
                          <a:pt x="34" y="102"/>
                        </a:cubicBezTo>
                        <a:cubicBezTo>
                          <a:pt x="34" y="102"/>
                          <a:pt x="26" y="92"/>
                          <a:pt x="28" y="90"/>
                        </a:cubicBezTo>
                        <a:cubicBezTo>
                          <a:pt x="29" y="89"/>
                          <a:pt x="32" y="91"/>
                          <a:pt x="34" y="92"/>
                        </a:cubicBezTo>
                        <a:cubicBezTo>
                          <a:pt x="38" y="103"/>
                          <a:pt x="34" y="97"/>
                          <a:pt x="48" y="106"/>
                        </a:cubicBezTo>
                        <a:cubicBezTo>
                          <a:pt x="52" y="108"/>
                          <a:pt x="60" y="110"/>
                          <a:pt x="60" y="110"/>
                        </a:cubicBezTo>
                        <a:cubicBezTo>
                          <a:pt x="61" y="108"/>
                          <a:pt x="63" y="105"/>
                          <a:pt x="62" y="104"/>
                        </a:cubicBezTo>
                        <a:cubicBezTo>
                          <a:pt x="58" y="100"/>
                          <a:pt x="44" y="98"/>
                          <a:pt x="44" y="98"/>
                        </a:cubicBezTo>
                        <a:cubicBezTo>
                          <a:pt x="30" y="84"/>
                          <a:pt x="28" y="79"/>
                          <a:pt x="22" y="60"/>
                        </a:cubicBezTo>
                        <a:cubicBezTo>
                          <a:pt x="27" y="53"/>
                          <a:pt x="29" y="50"/>
                          <a:pt x="26" y="42"/>
                        </a:cubicBezTo>
                        <a:cubicBezTo>
                          <a:pt x="25" y="31"/>
                          <a:pt x="30" y="16"/>
                          <a:pt x="22" y="8"/>
                        </a:cubicBezTo>
                        <a:cubicBezTo>
                          <a:pt x="14" y="0"/>
                          <a:pt x="5" y="0"/>
                          <a:pt x="12" y="0"/>
                        </a:cubicBezTo>
                        <a:close/>
                      </a:path>
                    </a:pathLst>
                  </a:custGeom>
                  <a:solidFill>
                    <a:srgbClr val="C9C495"/>
                  </a:solidFill>
                  <a:ln w="9525">
                    <a:noFill/>
                    <a:round/>
                    <a:headEnd/>
                    <a:tailEnd/>
                  </a:ln>
                </p:spPr>
                <p:txBody>
                  <a:bodyPr/>
                  <a:lstStyle/>
                  <a:p>
                    <a:pPr defTabSz="912546"/>
                    <a:endParaRPr>
                      <a:solidFill>
                        <a:srgbClr val="000000"/>
                      </a:solidFill>
                    </a:endParaRPr>
                  </a:p>
                </p:txBody>
              </p:sp>
              <p:sp>
                <p:nvSpPr>
                  <p:cNvPr id="441570" name="Freeform 847"/>
                  <p:cNvSpPr>
                    <a:spLocks/>
                  </p:cNvSpPr>
                  <p:nvPr/>
                </p:nvSpPr>
                <p:spPr bwMode="gray">
                  <a:xfrm flipH="1">
                    <a:off x="1495" y="3021"/>
                    <a:ext cx="43" cy="58"/>
                  </a:xfrm>
                  <a:custGeom>
                    <a:avLst/>
                    <a:gdLst>
                      <a:gd name="T0" fmla="*/ 3 w 50"/>
                      <a:gd name="T1" fmla="*/ 2 h 72"/>
                      <a:gd name="T2" fmla="*/ 3 w 50"/>
                      <a:gd name="T3" fmla="*/ 2 h 72"/>
                      <a:gd name="T4" fmla="*/ 3 w 50"/>
                      <a:gd name="T5" fmla="*/ 2 h 72"/>
                      <a:gd name="T6" fmla="*/ 3 w 50"/>
                      <a:gd name="T7" fmla="*/ 2 h 72"/>
                      <a:gd name="T8" fmla="*/ 7 w 50"/>
                      <a:gd name="T9" fmla="*/ 4 h 72"/>
                      <a:gd name="T10" fmla="*/ 6 w 50"/>
                      <a:gd name="T11" fmla="*/ 2 h 72"/>
                      <a:gd name="T12" fmla="*/ 6 w 50"/>
                      <a:gd name="T13" fmla="*/ 2 h 72"/>
                      <a:gd name="T14" fmla="*/ 7 w 50"/>
                      <a:gd name="T15" fmla="*/ 2 h 72"/>
                      <a:gd name="T16" fmla="*/ 5 w 50"/>
                      <a:gd name="T17" fmla="*/ 2 h 72"/>
                      <a:gd name="T18" fmla="*/ 3 w 50"/>
                      <a:gd name="T19" fmla="*/ 0 h 72"/>
                      <a:gd name="T20" fmla="*/ 3 w 50"/>
                      <a:gd name="T21" fmla="*/ 2 h 72"/>
                      <a:gd name="T22" fmla="*/ 3 w 50"/>
                      <a:gd name="T23" fmla="*/ 2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2"/>
                      <a:gd name="T38" fmla="*/ 50 w 50"/>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2">
                        <a:moveTo>
                          <a:pt x="6" y="10"/>
                        </a:moveTo>
                        <a:cubicBezTo>
                          <a:pt x="20" y="15"/>
                          <a:pt x="14" y="12"/>
                          <a:pt x="24" y="18"/>
                        </a:cubicBezTo>
                        <a:cubicBezTo>
                          <a:pt x="28" y="29"/>
                          <a:pt x="18" y="25"/>
                          <a:pt x="10" y="28"/>
                        </a:cubicBezTo>
                        <a:cubicBezTo>
                          <a:pt x="6" y="39"/>
                          <a:pt x="16" y="32"/>
                          <a:pt x="24" y="30"/>
                        </a:cubicBezTo>
                        <a:cubicBezTo>
                          <a:pt x="44" y="35"/>
                          <a:pt x="43" y="55"/>
                          <a:pt x="46" y="72"/>
                        </a:cubicBezTo>
                        <a:cubicBezTo>
                          <a:pt x="49" y="62"/>
                          <a:pt x="44" y="52"/>
                          <a:pt x="42" y="42"/>
                        </a:cubicBezTo>
                        <a:cubicBezTo>
                          <a:pt x="43" y="35"/>
                          <a:pt x="42" y="28"/>
                          <a:pt x="44" y="22"/>
                        </a:cubicBezTo>
                        <a:cubicBezTo>
                          <a:pt x="45" y="20"/>
                          <a:pt x="50" y="20"/>
                          <a:pt x="50" y="20"/>
                        </a:cubicBezTo>
                        <a:cubicBezTo>
                          <a:pt x="46" y="14"/>
                          <a:pt x="45" y="7"/>
                          <a:pt x="38" y="4"/>
                        </a:cubicBezTo>
                        <a:cubicBezTo>
                          <a:pt x="34" y="2"/>
                          <a:pt x="26" y="0"/>
                          <a:pt x="26" y="0"/>
                        </a:cubicBezTo>
                        <a:cubicBezTo>
                          <a:pt x="26" y="0"/>
                          <a:pt x="11" y="2"/>
                          <a:pt x="8" y="4"/>
                        </a:cubicBezTo>
                        <a:cubicBezTo>
                          <a:pt x="0" y="11"/>
                          <a:pt x="3" y="10"/>
                          <a:pt x="6" y="10"/>
                        </a:cubicBezTo>
                        <a:close/>
                      </a:path>
                    </a:pathLst>
                  </a:custGeom>
                  <a:solidFill>
                    <a:srgbClr val="DDDDDD"/>
                  </a:solidFill>
                  <a:ln w="9525">
                    <a:noFill/>
                    <a:round/>
                    <a:headEnd/>
                    <a:tailEnd/>
                  </a:ln>
                </p:spPr>
                <p:txBody>
                  <a:bodyPr/>
                  <a:lstStyle/>
                  <a:p>
                    <a:pPr defTabSz="912546"/>
                    <a:endParaRPr>
                      <a:solidFill>
                        <a:srgbClr val="000000"/>
                      </a:solidFill>
                    </a:endParaRPr>
                  </a:p>
                </p:txBody>
              </p:sp>
              <p:sp>
                <p:nvSpPr>
                  <p:cNvPr id="441571" name="Freeform 848"/>
                  <p:cNvSpPr>
                    <a:spLocks/>
                  </p:cNvSpPr>
                  <p:nvPr/>
                </p:nvSpPr>
                <p:spPr bwMode="gray">
                  <a:xfrm flipH="1">
                    <a:off x="1431" y="3057"/>
                    <a:ext cx="44" cy="87"/>
                  </a:xfrm>
                  <a:custGeom>
                    <a:avLst/>
                    <a:gdLst>
                      <a:gd name="T0" fmla="*/ 3 w 52"/>
                      <a:gd name="T1" fmla="*/ 2 h 107"/>
                      <a:gd name="T2" fmla="*/ 3 w 52"/>
                      <a:gd name="T3" fmla="*/ 2 h 107"/>
                      <a:gd name="T4" fmla="*/ 3 w 52"/>
                      <a:gd name="T5" fmla="*/ 3 h 107"/>
                      <a:gd name="T6" fmla="*/ 3 w 52"/>
                      <a:gd name="T7" fmla="*/ 6 h 107"/>
                      <a:gd name="T8" fmla="*/ 4 w 52"/>
                      <a:gd name="T9" fmla="*/ 4 h 107"/>
                      <a:gd name="T10" fmla="*/ 5 w 52"/>
                      <a:gd name="T11" fmla="*/ 5 h 107"/>
                      <a:gd name="T12" fmla="*/ 5 w 52"/>
                      <a:gd name="T13" fmla="*/ 4 h 107"/>
                      <a:gd name="T14" fmla="*/ 5 w 52"/>
                      <a:gd name="T15" fmla="*/ 3 h 107"/>
                      <a:gd name="T16" fmla="*/ 6 w 52"/>
                      <a:gd name="T17" fmla="*/ 3 h 107"/>
                      <a:gd name="T18" fmla="*/ 5 w 52"/>
                      <a:gd name="T19" fmla="*/ 2 h 107"/>
                      <a:gd name="T20" fmla="*/ 3 w 52"/>
                      <a:gd name="T21" fmla="*/ 2 h 107"/>
                      <a:gd name="T22" fmla="*/ 3 w 52"/>
                      <a:gd name="T23" fmla="*/ 2 h 107"/>
                      <a:gd name="T24" fmla="*/ 3 w 52"/>
                      <a:gd name="T25" fmla="*/ 2 h 107"/>
                      <a:gd name="T26" fmla="*/ 3 w 52"/>
                      <a:gd name="T27" fmla="*/ 2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107"/>
                      <a:gd name="T44" fmla="*/ 52 w 52"/>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107">
                        <a:moveTo>
                          <a:pt x="6" y="8"/>
                        </a:moveTo>
                        <a:cubicBezTo>
                          <a:pt x="8" y="14"/>
                          <a:pt x="12" y="26"/>
                          <a:pt x="12" y="26"/>
                        </a:cubicBezTo>
                        <a:cubicBezTo>
                          <a:pt x="11" y="30"/>
                          <a:pt x="0" y="66"/>
                          <a:pt x="12" y="48"/>
                        </a:cubicBezTo>
                        <a:cubicBezTo>
                          <a:pt x="24" y="60"/>
                          <a:pt x="10" y="107"/>
                          <a:pt x="24" y="86"/>
                        </a:cubicBezTo>
                        <a:cubicBezTo>
                          <a:pt x="25" y="73"/>
                          <a:pt x="21" y="58"/>
                          <a:pt x="34" y="54"/>
                        </a:cubicBezTo>
                        <a:cubicBezTo>
                          <a:pt x="39" y="59"/>
                          <a:pt x="44" y="72"/>
                          <a:pt x="44" y="72"/>
                        </a:cubicBezTo>
                        <a:cubicBezTo>
                          <a:pt x="46" y="66"/>
                          <a:pt x="42" y="54"/>
                          <a:pt x="42" y="54"/>
                        </a:cubicBezTo>
                        <a:cubicBezTo>
                          <a:pt x="43" y="52"/>
                          <a:pt x="42" y="48"/>
                          <a:pt x="44" y="48"/>
                        </a:cubicBezTo>
                        <a:cubicBezTo>
                          <a:pt x="52" y="48"/>
                          <a:pt x="45" y="63"/>
                          <a:pt x="50" y="48"/>
                        </a:cubicBezTo>
                        <a:cubicBezTo>
                          <a:pt x="45" y="41"/>
                          <a:pt x="44" y="36"/>
                          <a:pt x="42" y="28"/>
                        </a:cubicBezTo>
                        <a:cubicBezTo>
                          <a:pt x="38" y="31"/>
                          <a:pt x="34" y="33"/>
                          <a:pt x="30" y="36"/>
                        </a:cubicBezTo>
                        <a:cubicBezTo>
                          <a:pt x="28" y="37"/>
                          <a:pt x="29" y="31"/>
                          <a:pt x="28" y="30"/>
                        </a:cubicBezTo>
                        <a:cubicBezTo>
                          <a:pt x="25" y="27"/>
                          <a:pt x="16" y="22"/>
                          <a:pt x="16" y="22"/>
                        </a:cubicBezTo>
                        <a:cubicBezTo>
                          <a:pt x="13" y="14"/>
                          <a:pt x="14" y="0"/>
                          <a:pt x="6" y="8"/>
                        </a:cubicBezTo>
                        <a:close/>
                      </a:path>
                    </a:pathLst>
                  </a:custGeom>
                  <a:solidFill>
                    <a:srgbClr val="C9C495"/>
                  </a:solidFill>
                  <a:ln w="9525">
                    <a:noFill/>
                    <a:round/>
                    <a:headEnd/>
                    <a:tailEnd/>
                  </a:ln>
                </p:spPr>
                <p:txBody>
                  <a:bodyPr/>
                  <a:lstStyle/>
                  <a:p>
                    <a:pPr defTabSz="912546"/>
                    <a:endParaRPr>
                      <a:solidFill>
                        <a:srgbClr val="000000"/>
                      </a:solidFill>
                    </a:endParaRPr>
                  </a:p>
                </p:txBody>
              </p:sp>
              <p:sp>
                <p:nvSpPr>
                  <p:cNvPr id="441572" name="Freeform 849"/>
                  <p:cNvSpPr>
                    <a:spLocks/>
                  </p:cNvSpPr>
                  <p:nvPr/>
                </p:nvSpPr>
                <p:spPr bwMode="gray">
                  <a:xfrm flipH="1">
                    <a:off x="1484" y="2960"/>
                    <a:ext cx="62" cy="89"/>
                  </a:xfrm>
                  <a:custGeom>
                    <a:avLst/>
                    <a:gdLst>
                      <a:gd name="T0" fmla="*/ 7 w 74"/>
                      <a:gd name="T1" fmla="*/ 2 h 110"/>
                      <a:gd name="T2" fmla="*/ 7 w 74"/>
                      <a:gd name="T3" fmla="*/ 2 h 110"/>
                      <a:gd name="T4" fmla="*/ 5 w 74"/>
                      <a:gd name="T5" fmla="*/ 0 h 110"/>
                      <a:gd name="T6" fmla="*/ 3 w 74"/>
                      <a:gd name="T7" fmla="*/ 2 h 110"/>
                      <a:gd name="T8" fmla="*/ 3 w 74"/>
                      <a:gd name="T9" fmla="*/ 2 h 110"/>
                      <a:gd name="T10" fmla="*/ 3 w 74"/>
                      <a:gd name="T11" fmla="*/ 2 h 110"/>
                      <a:gd name="T12" fmla="*/ 0 w 74"/>
                      <a:gd name="T13" fmla="*/ 2 h 110"/>
                      <a:gd name="T14" fmla="*/ 3 w 74"/>
                      <a:gd name="T15" fmla="*/ 4 h 110"/>
                      <a:gd name="T16" fmla="*/ 3 w 74"/>
                      <a:gd name="T17" fmla="*/ 5 h 110"/>
                      <a:gd name="T18" fmla="*/ 4 w 74"/>
                      <a:gd name="T19" fmla="*/ 6 h 110"/>
                      <a:gd name="T20" fmla="*/ 5 w 74"/>
                      <a:gd name="T21" fmla="*/ 7 h 110"/>
                      <a:gd name="T22" fmla="*/ 6 w 74"/>
                      <a:gd name="T23" fmla="*/ 6 h 110"/>
                      <a:gd name="T24" fmla="*/ 7 w 74"/>
                      <a:gd name="T25" fmla="*/ 5 h 110"/>
                      <a:gd name="T26" fmla="*/ 7 w 74"/>
                      <a:gd name="T27" fmla="*/ 4 h 110"/>
                      <a:gd name="T28" fmla="*/ 8 w 74"/>
                      <a:gd name="T29" fmla="*/ 3 h 110"/>
                      <a:gd name="T30" fmla="*/ 7 w 74"/>
                      <a:gd name="T31" fmla="*/ 2 h 110"/>
                      <a:gd name="T32" fmla="*/ 7 w 74"/>
                      <a:gd name="T33" fmla="*/ 2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4"/>
                      <a:gd name="T52" fmla="*/ 0 h 110"/>
                      <a:gd name="T53" fmla="*/ 74 w 74"/>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4" h="110">
                        <a:moveTo>
                          <a:pt x="70" y="14"/>
                        </a:moveTo>
                        <a:cubicBezTo>
                          <a:pt x="68" y="7"/>
                          <a:pt x="69" y="7"/>
                          <a:pt x="62" y="4"/>
                        </a:cubicBezTo>
                        <a:cubicBezTo>
                          <a:pt x="58" y="2"/>
                          <a:pt x="50" y="0"/>
                          <a:pt x="50" y="0"/>
                        </a:cubicBezTo>
                        <a:cubicBezTo>
                          <a:pt x="36" y="2"/>
                          <a:pt x="22" y="4"/>
                          <a:pt x="10" y="12"/>
                        </a:cubicBezTo>
                        <a:cubicBezTo>
                          <a:pt x="9" y="14"/>
                          <a:pt x="9" y="16"/>
                          <a:pt x="8" y="18"/>
                        </a:cubicBezTo>
                        <a:cubicBezTo>
                          <a:pt x="7" y="20"/>
                          <a:pt x="5" y="22"/>
                          <a:pt x="4" y="24"/>
                        </a:cubicBezTo>
                        <a:cubicBezTo>
                          <a:pt x="2" y="28"/>
                          <a:pt x="0" y="36"/>
                          <a:pt x="0" y="36"/>
                        </a:cubicBezTo>
                        <a:cubicBezTo>
                          <a:pt x="2" y="49"/>
                          <a:pt x="1" y="59"/>
                          <a:pt x="12" y="66"/>
                        </a:cubicBezTo>
                        <a:cubicBezTo>
                          <a:pt x="14" y="71"/>
                          <a:pt x="12" y="78"/>
                          <a:pt x="16" y="82"/>
                        </a:cubicBezTo>
                        <a:cubicBezTo>
                          <a:pt x="19" y="85"/>
                          <a:pt x="34" y="88"/>
                          <a:pt x="40" y="92"/>
                        </a:cubicBezTo>
                        <a:cubicBezTo>
                          <a:pt x="45" y="106"/>
                          <a:pt x="42" y="100"/>
                          <a:pt x="48" y="110"/>
                        </a:cubicBezTo>
                        <a:cubicBezTo>
                          <a:pt x="49" y="103"/>
                          <a:pt x="46" y="94"/>
                          <a:pt x="52" y="90"/>
                        </a:cubicBezTo>
                        <a:cubicBezTo>
                          <a:pt x="55" y="88"/>
                          <a:pt x="64" y="86"/>
                          <a:pt x="64" y="86"/>
                        </a:cubicBezTo>
                        <a:cubicBezTo>
                          <a:pt x="74" y="56"/>
                          <a:pt x="62" y="94"/>
                          <a:pt x="70" y="60"/>
                        </a:cubicBezTo>
                        <a:cubicBezTo>
                          <a:pt x="71" y="56"/>
                          <a:pt x="74" y="48"/>
                          <a:pt x="74" y="48"/>
                        </a:cubicBezTo>
                        <a:cubicBezTo>
                          <a:pt x="73" y="39"/>
                          <a:pt x="73" y="29"/>
                          <a:pt x="72" y="20"/>
                        </a:cubicBezTo>
                        <a:cubicBezTo>
                          <a:pt x="72" y="18"/>
                          <a:pt x="70" y="14"/>
                          <a:pt x="70" y="14"/>
                        </a:cubicBezTo>
                        <a:close/>
                      </a:path>
                    </a:pathLst>
                  </a:custGeom>
                  <a:solidFill>
                    <a:srgbClr val="CDA371"/>
                  </a:solidFill>
                  <a:ln w="9525">
                    <a:noFill/>
                    <a:round/>
                    <a:headEnd/>
                    <a:tailEnd/>
                  </a:ln>
                </p:spPr>
                <p:txBody>
                  <a:bodyPr/>
                  <a:lstStyle/>
                  <a:p>
                    <a:pPr defTabSz="912546"/>
                    <a:endParaRPr>
                      <a:solidFill>
                        <a:srgbClr val="000000"/>
                      </a:solidFill>
                    </a:endParaRPr>
                  </a:p>
                </p:txBody>
              </p:sp>
              <p:sp>
                <p:nvSpPr>
                  <p:cNvPr id="441573" name="Freeform 850"/>
                  <p:cNvSpPr>
                    <a:spLocks/>
                  </p:cNvSpPr>
                  <p:nvPr/>
                </p:nvSpPr>
                <p:spPr bwMode="gray">
                  <a:xfrm flipH="1">
                    <a:off x="1359" y="3023"/>
                    <a:ext cx="61" cy="51"/>
                  </a:xfrm>
                  <a:custGeom>
                    <a:avLst/>
                    <a:gdLst>
                      <a:gd name="T0" fmla="*/ 0 w 72"/>
                      <a:gd name="T1" fmla="*/ 3 h 63"/>
                      <a:gd name="T2" fmla="*/ 3 w 72"/>
                      <a:gd name="T3" fmla="*/ 2 h 63"/>
                      <a:gd name="T4" fmla="*/ 3 w 72"/>
                      <a:gd name="T5" fmla="*/ 2 h 63"/>
                      <a:gd name="T6" fmla="*/ 3 w 72"/>
                      <a:gd name="T7" fmla="*/ 0 h 63"/>
                      <a:gd name="T8" fmla="*/ 3 w 72"/>
                      <a:gd name="T9" fmla="*/ 2 h 63"/>
                      <a:gd name="T10" fmla="*/ 5 w 72"/>
                      <a:gd name="T11" fmla="*/ 2 h 63"/>
                      <a:gd name="T12" fmla="*/ 8 w 72"/>
                      <a:gd name="T13" fmla="*/ 2 h 63"/>
                      <a:gd name="T14" fmla="*/ 8 w 72"/>
                      <a:gd name="T15" fmla="*/ 2 h 63"/>
                      <a:gd name="T16" fmla="*/ 3 w 72"/>
                      <a:gd name="T17" fmla="*/ 3 h 63"/>
                      <a:gd name="T18" fmla="*/ 3 w 72"/>
                      <a:gd name="T19" fmla="*/ 4 h 63"/>
                      <a:gd name="T20" fmla="*/ 0 w 72"/>
                      <a:gd name="T21" fmla="*/ 3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63"/>
                      <a:gd name="T35" fmla="*/ 72 w 72"/>
                      <a:gd name="T36" fmla="*/ 63 h 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63">
                        <a:moveTo>
                          <a:pt x="0" y="52"/>
                        </a:moveTo>
                        <a:cubicBezTo>
                          <a:pt x="3" y="43"/>
                          <a:pt x="7" y="42"/>
                          <a:pt x="4" y="32"/>
                        </a:cubicBezTo>
                        <a:cubicBezTo>
                          <a:pt x="6" y="20"/>
                          <a:pt x="8" y="17"/>
                          <a:pt x="6" y="4"/>
                        </a:cubicBezTo>
                        <a:cubicBezTo>
                          <a:pt x="8" y="3"/>
                          <a:pt x="10" y="0"/>
                          <a:pt x="12" y="0"/>
                        </a:cubicBezTo>
                        <a:cubicBezTo>
                          <a:pt x="18" y="1"/>
                          <a:pt x="20" y="18"/>
                          <a:pt x="20" y="18"/>
                        </a:cubicBezTo>
                        <a:cubicBezTo>
                          <a:pt x="28" y="16"/>
                          <a:pt x="36" y="14"/>
                          <a:pt x="44" y="12"/>
                        </a:cubicBezTo>
                        <a:cubicBezTo>
                          <a:pt x="54" y="13"/>
                          <a:pt x="63" y="15"/>
                          <a:pt x="72" y="18"/>
                        </a:cubicBezTo>
                        <a:cubicBezTo>
                          <a:pt x="70" y="23"/>
                          <a:pt x="71" y="30"/>
                          <a:pt x="68" y="34"/>
                        </a:cubicBezTo>
                        <a:cubicBezTo>
                          <a:pt x="59" y="46"/>
                          <a:pt x="38" y="48"/>
                          <a:pt x="24" y="50"/>
                        </a:cubicBezTo>
                        <a:cubicBezTo>
                          <a:pt x="21" y="63"/>
                          <a:pt x="20" y="63"/>
                          <a:pt x="8" y="60"/>
                        </a:cubicBezTo>
                        <a:cubicBezTo>
                          <a:pt x="4" y="57"/>
                          <a:pt x="0" y="50"/>
                          <a:pt x="0" y="52"/>
                        </a:cubicBezTo>
                        <a:close/>
                      </a:path>
                    </a:pathLst>
                  </a:custGeom>
                  <a:solidFill>
                    <a:srgbClr val="CDA371"/>
                  </a:solidFill>
                  <a:ln w="9525">
                    <a:noFill/>
                    <a:round/>
                    <a:headEnd/>
                    <a:tailEnd/>
                  </a:ln>
                </p:spPr>
                <p:txBody>
                  <a:bodyPr/>
                  <a:lstStyle/>
                  <a:p>
                    <a:pPr defTabSz="912546"/>
                    <a:endParaRPr>
                      <a:solidFill>
                        <a:srgbClr val="000000"/>
                      </a:solidFill>
                    </a:endParaRPr>
                  </a:p>
                </p:txBody>
              </p:sp>
              <p:sp>
                <p:nvSpPr>
                  <p:cNvPr id="441574" name="Freeform 851"/>
                  <p:cNvSpPr>
                    <a:spLocks/>
                  </p:cNvSpPr>
                  <p:nvPr/>
                </p:nvSpPr>
                <p:spPr bwMode="gray">
                  <a:xfrm flipH="1">
                    <a:off x="1479" y="2952"/>
                    <a:ext cx="72" cy="61"/>
                  </a:xfrm>
                  <a:custGeom>
                    <a:avLst/>
                    <a:gdLst>
                      <a:gd name="T0" fmla="*/ 5 w 89"/>
                      <a:gd name="T1" fmla="*/ 2 h 80"/>
                      <a:gd name="T2" fmla="*/ 5 w 89"/>
                      <a:gd name="T3" fmla="*/ 2 h 80"/>
                      <a:gd name="T4" fmla="*/ 5 w 89"/>
                      <a:gd name="T5" fmla="*/ 2 h 80"/>
                      <a:gd name="T6" fmla="*/ 2 w 89"/>
                      <a:gd name="T7" fmla="*/ 2 h 80"/>
                      <a:gd name="T8" fmla="*/ 2 w 89"/>
                      <a:gd name="T9" fmla="*/ 2 h 80"/>
                      <a:gd name="T10" fmla="*/ 2 w 89"/>
                      <a:gd name="T11" fmla="*/ 2 h 80"/>
                      <a:gd name="T12" fmla="*/ 2 w 89"/>
                      <a:gd name="T13" fmla="*/ 2 h 80"/>
                      <a:gd name="T14" fmla="*/ 2 w 89"/>
                      <a:gd name="T15" fmla="*/ 2 h 80"/>
                      <a:gd name="T16" fmla="*/ 2 w 89"/>
                      <a:gd name="T17" fmla="*/ 2 h 80"/>
                      <a:gd name="T18" fmla="*/ 2 w 89"/>
                      <a:gd name="T19" fmla="*/ 2 h 80"/>
                      <a:gd name="T20" fmla="*/ 3 w 89"/>
                      <a:gd name="T21" fmla="*/ 0 h 80"/>
                      <a:gd name="T22" fmla="*/ 6 w 89"/>
                      <a:gd name="T23" fmla="*/ 2 h 80"/>
                      <a:gd name="T24" fmla="*/ 5 w 89"/>
                      <a:gd name="T25" fmla="*/ 2 h 80"/>
                      <a:gd name="T26" fmla="*/ 5 w 89"/>
                      <a:gd name="T27" fmla="*/ 2 h 80"/>
                      <a:gd name="T28" fmla="*/ 5 w 89"/>
                      <a:gd name="T29" fmla="*/ 2 h 80"/>
                      <a:gd name="T30" fmla="*/ 5 w 89"/>
                      <a:gd name="T31" fmla="*/ 2 h 8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80"/>
                      <a:gd name="T50" fmla="*/ 89 w 89"/>
                      <a:gd name="T51" fmla="*/ 80 h 8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80">
                        <a:moveTo>
                          <a:pt x="73" y="10"/>
                        </a:moveTo>
                        <a:cubicBezTo>
                          <a:pt x="77" y="15"/>
                          <a:pt x="81" y="28"/>
                          <a:pt x="81" y="28"/>
                        </a:cubicBezTo>
                        <a:cubicBezTo>
                          <a:pt x="77" y="30"/>
                          <a:pt x="82" y="23"/>
                          <a:pt x="79" y="26"/>
                        </a:cubicBezTo>
                        <a:cubicBezTo>
                          <a:pt x="73" y="32"/>
                          <a:pt x="52" y="45"/>
                          <a:pt x="43" y="48"/>
                        </a:cubicBezTo>
                        <a:cubicBezTo>
                          <a:pt x="28" y="43"/>
                          <a:pt x="38" y="54"/>
                          <a:pt x="35" y="66"/>
                        </a:cubicBezTo>
                        <a:cubicBezTo>
                          <a:pt x="26" y="63"/>
                          <a:pt x="26" y="58"/>
                          <a:pt x="17" y="64"/>
                        </a:cubicBezTo>
                        <a:cubicBezTo>
                          <a:pt x="19" y="73"/>
                          <a:pt x="25" y="77"/>
                          <a:pt x="15" y="80"/>
                        </a:cubicBezTo>
                        <a:cubicBezTo>
                          <a:pt x="10" y="72"/>
                          <a:pt x="8" y="64"/>
                          <a:pt x="3" y="56"/>
                        </a:cubicBezTo>
                        <a:cubicBezTo>
                          <a:pt x="4" y="41"/>
                          <a:pt x="0" y="26"/>
                          <a:pt x="11" y="18"/>
                        </a:cubicBezTo>
                        <a:cubicBezTo>
                          <a:pt x="14" y="8"/>
                          <a:pt x="21" y="7"/>
                          <a:pt x="31" y="4"/>
                        </a:cubicBezTo>
                        <a:cubicBezTo>
                          <a:pt x="35" y="3"/>
                          <a:pt x="49" y="0"/>
                          <a:pt x="49" y="0"/>
                        </a:cubicBezTo>
                        <a:cubicBezTo>
                          <a:pt x="85" y="2"/>
                          <a:pt x="75" y="5"/>
                          <a:pt x="89" y="26"/>
                        </a:cubicBezTo>
                        <a:cubicBezTo>
                          <a:pt x="88" y="37"/>
                          <a:pt x="86" y="46"/>
                          <a:pt x="83" y="56"/>
                        </a:cubicBezTo>
                        <a:cubicBezTo>
                          <a:pt x="76" y="46"/>
                          <a:pt x="77" y="40"/>
                          <a:pt x="81" y="28"/>
                        </a:cubicBezTo>
                        <a:cubicBezTo>
                          <a:pt x="80" y="24"/>
                          <a:pt x="78" y="20"/>
                          <a:pt x="77" y="16"/>
                        </a:cubicBezTo>
                        <a:cubicBezTo>
                          <a:pt x="76" y="14"/>
                          <a:pt x="73" y="10"/>
                          <a:pt x="73" y="10"/>
                        </a:cubicBezTo>
                        <a:close/>
                      </a:path>
                    </a:pathLst>
                  </a:custGeom>
                  <a:solidFill>
                    <a:srgbClr val="5F3F1F"/>
                  </a:solidFill>
                  <a:ln w="9525">
                    <a:noFill/>
                    <a:round/>
                    <a:headEnd/>
                    <a:tailEnd/>
                  </a:ln>
                </p:spPr>
                <p:txBody>
                  <a:bodyPr/>
                  <a:lstStyle/>
                  <a:p>
                    <a:pPr defTabSz="912546"/>
                    <a:endParaRPr>
                      <a:solidFill>
                        <a:srgbClr val="000000"/>
                      </a:solidFill>
                    </a:endParaRPr>
                  </a:p>
                </p:txBody>
              </p:sp>
              <p:sp>
                <p:nvSpPr>
                  <p:cNvPr id="441575" name="Freeform 852"/>
                  <p:cNvSpPr>
                    <a:spLocks/>
                  </p:cNvSpPr>
                  <p:nvPr/>
                </p:nvSpPr>
                <p:spPr bwMode="gray">
                  <a:xfrm flipH="1">
                    <a:off x="1485" y="2985"/>
                    <a:ext cx="33" cy="19"/>
                  </a:xfrm>
                  <a:custGeom>
                    <a:avLst/>
                    <a:gdLst>
                      <a:gd name="T0" fmla="*/ 3 w 38"/>
                      <a:gd name="T1" fmla="*/ 1 h 23"/>
                      <a:gd name="T2" fmla="*/ 3 w 38"/>
                      <a:gd name="T3" fmla="*/ 2 h 23"/>
                      <a:gd name="T4" fmla="*/ 7 w 38"/>
                      <a:gd name="T5" fmla="*/ 2 h 23"/>
                      <a:gd name="T6" fmla="*/ 4 w 38"/>
                      <a:gd name="T7" fmla="*/ 2 h 23"/>
                      <a:gd name="T8" fmla="*/ 3 w 38"/>
                      <a:gd name="T9" fmla="*/ 2 h 23"/>
                      <a:gd name="T10" fmla="*/ 2 w 38"/>
                      <a:gd name="T11" fmla="*/ 2 h 23"/>
                      <a:gd name="T12" fmla="*/ 3 w 38"/>
                      <a:gd name="T13" fmla="*/ 1 h 23"/>
                      <a:gd name="T14" fmla="*/ 0 60000 65536"/>
                      <a:gd name="T15" fmla="*/ 0 60000 65536"/>
                      <a:gd name="T16" fmla="*/ 0 60000 65536"/>
                      <a:gd name="T17" fmla="*/ 0 60000 65536"/>
                      <a:gd name="T18" fmla="*/ 0 60000 65536"/>
                      <a:gd name="T19" fmla="*/ 0 60000 65536"/>
                      <a:gd name="T20" fmla="*/ 0 60000 65536"/>
                      <a:gd name="T21" fmla="*/ 0 w 38"/>
                      <a:gd name="T22" fmla="*/ 0 h 23"/>
                      <a:gd name="T23" fmla="*/ 38 w 38"/>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3">
                        <a:moveTo>
                          <a:pt x="4" y="1"/>
                        </a:moveTo>
                        <a:cubicBezTo>
                          <a:pt x="12" y="4"/>
                          <a:pt x="16" y="0"/>
                          <a:pt x="24" y="3"/>
                        </a:cubicBezTo>
                        <a:cubicBezTo>
                          <a:pt x="35" y="0"/>
                          <a:pt x="35" y="3"/>
                          <a:pt x="38" y="13"/>
                        </a:cubicBezTo>
                        <a:cubicBezTo>
                          <a:pt x="31" y="23"/>
                          <a:pt x="33" y="14"/>
                          <a:pt x="28" y="7"/>
                        </a:cubicBezTo>
                        <a:cubicBezTo>
                          <a:pt x="20" y="10"/>
                          <a:pt x="21" y="14"/>
                          <a:pt x="14" y="19"/>
                        </a:cubicBezTo>
                        <a:cubicBezTo>
                          <a:pt x="11" y="18"/>
                          <a:pt x="3" y="16"/>
                          <a:pt x="2" y="13"/>
                        </a:cubicBezTo>
                        <a:cubicBezTo>
                          <a:pt x="0" y="7"/>
                          <a:pt x="15" y="1"/>
                          <a:pt x="4" y="1"/>
                        </a:cubicBezTo>
                        <a:close/>
                      </a:path>
                    </a:pathLst>
                  </a:custGeom>
                  <a:solidFill>
                    <a:srgbClr val="B38557"/>
                  </a:solidFill>
                  <a:ln w="9525">
                    <a:noFill/>
                    <a:round/>
                    <a:headEnd/>
                    <a:tailEnd/>
                  </a:ln>
                </p:spPr>
                <p:txBody>
                  <a:bodyPr/>
                  <a:lstStyle/>
                  <a:p>
                    <a:pPr defTabSz="912546"/>
                    <a:endParaRPr>
                      <a:solidFill>
                        <a:srgbClr val="000000"/>
                      </a:solidFill>
                    </a:endParaRPr>
                  </a:p>
                </p:txBody>
              </p:sp>
              <p:sp>
                <p:nvSpPr>
                  <p:cNvPr id="441576" name="Freeform 853"/>
                  <p:cNvSpPr>
                    <a:spLocks/>
                  </p:cNvSpPr>
                  <p:nvPr/>
                </p:nvSpPr>
                <p:spPr bwMode="gray">
                  <a:xfrm flipH="1">
                    <a:off x="1499" y="3008"/>
                    <a:ext cx="40" cy="37"/>
                  </a:xfrm>
                  <a:custGeom>
                    <a:avLst/>
                    <a:gdLst>
                      <a:gd name="T0" fmla="*/ 3 w 48"/>
                      <a:gd name="T1" fmla="*/ 2 h 47"/>
                      <a:gd name="T2" fmla="*/ 5 w 48"/>
                      <a:gd name="T3" fmla="*/ 2 h 47"/>
                      <a:gd name="T4" fmla="*/ 3 w 48"/>
                      <a:gd name="T5" fmla="*/ 2 h 47"/>
                      <a:gd name="T6" fmla="*/ 3 w 48"/>
                      <a:gd name="T7" fmla="*/ 2 h 47"/>
                      <a:gd name="T8" fmla="*/ 3 w 48"/>
                      <a:gd name="T9" fmla="*/ 2 h 47"/>
                      <a:gd name="T10" fmla="*/ 3 w 48"/>
                      <a:gd name="T11" fmla="*/ 2 h 47"/>
                      <a:gd name="T12" fmla="*/ 3 w 48"/>
                      <a:gd name="T13" fmla="*/ 2 h 47"/>
                      <a:gd name="T14" fmla="*/ 0 60000 65536"/>
                      <a:gd name="T15" fmla="*/ 0 60000 65536"/>
                      <a:gd name="T16" fmla="*/ 0 60000 65536"/>
                      <a:gd name="T17" fmla="*/ 0 60000 65536"/>
                      <a:gd name="T18" fmla="*/ 0 60000 65536"/>
                      <a:gd name="T19" fmla="*/ 0 60000 65536"/>
                      <a:gd name="T20" fmla="*/ 0 60000 65536"/>
                      <a:gd name="T21" fmla="*/ 0 w 48"/>
                      <a:gd name="T22" fmla="*/ 0 h 47"/>
                      <a:gd name="T23" fmla="*/ 48 w 48"/>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47">
                        <a:moveTo>
                          <a:pt x="16" y="3"/>
                        </a:moveTo>
                        <a:cubicBezTo>
                          <a:pt x="20" y="24"/>
                          <a:pt x="28" y="26"/>
                          <a:pt x="48" y="29"/>
                        </a:cubicBezTo>
                        <a:cubicBezTo>
                          <a:pt x="39" y="32"/>
                          <a:pt x="40" y="37"/>
                          <a:pt x="38" y="47"/>
                        </a:cubicBezTo>
                        <a:cubicBezTo>
                          <a:pt x="35" y="31"/>
                          <a:pt x="27" y="27"/>
                          <a:pt x="12" y="23"/>
                        </a:cubicBezTo>
                        <a:cubicBezTo>
                          <a:pt x="0" y="15"/>
                          <a:pt x="8" y="23"/>
                          <a:pt x="10" y="13"/>
                        </a:cubicBezTo>
                        <a:cubicBezTo>
                          <a:pt x="10" y="11"/>
                          <a:pt x="6" y="8"/>
                          <a:pt x="8" y="7"/>
                        </a:cubicBezTo>
                        <a:cubicBezTo>
                          <a:pt x="18" y="0"/>
                          <a:pt x="16" y="18"/>
                          <a:pt x="16" y="3"/>
                        </a:cubicBezTo>
                        <a:close/>
                      </a:path>
                    </a:pathLst>
                  </a:custGeom>
                  <a:solidFill>
                    <a:srgbClr val="B38557"/>
                  </a:solidFill>
                  <a:ln w="9525">
                    <a:noFill/>
                    <a:round/>
                    <a:headEnd/>
                    <a:tailEnd/>
                  </a:ln>
                </p:spPr>
                <p:txBody>
                  <a:bodyPr/>
                  <a:lstStyle/>
                  <a:p>
                    <a:pPr defTabSz="912546"/>
                    <a:endParaRPr>
                      <a:solidFill>
                        <a:srgbClr val="000000"/>
                      </a:solidFill>
                    </a:endParaRPr>
                  </a:p>
                </p:txBody>
              </p:sp>
              <p:sp>
                <p:nvSpPr>
                  <p:cNvPr id="441577" name="Freeform 854"/>
                  <p:cNvSpPr>
                    <a:spLocks/>
                  </p:cNvSpPr>
                  <p:nvPr/>
                </p:nvSpPr>
                <p:spPr bwMode="gray">
                  <a:xfrm flipH="1">
                    <a:off x="1369" y="3052"/>
                    <a:ext cx="47" cy="21"/>
                  </a:xfrm>
                  <a:custGeom>
                    <a:avLst/>
                    <a:gdLst>
                      <a:gd name="T0" fmla="*/ 7 w 55"/>
                      <a:gd name="T1" fmla="*/ 2 h 26"/>
                      <a:gd name="T2" fmla="*/ 3 w 55"/>
                      <a:gd name="T3" fmla="*/ 2 h 26"/>
                      <a:gd name="T4" fmla="*/ 3 w 55"/>
                      <a:gd name="T5" fmla="*/ 2 h 26"/>
                      <a:gd name="T6" fmla="*/ 3 w 55"/>
                      <a:gd name="T7" fmla="*/ 2 h 26"/>
                      <a:gd name="T8" fmla="*/ 3 w 55"/>
                      <a:gd name="T9" fmla="*/ 2 h 26"/>
                      <a:gd name="T10" fmla="*/ 3 w 55"/>
                      <a:gd name="T11" fmla="*/ 2 h 26"/>
                      <a:gd name="T12" fmla="*/ 7 w 55"/>
                      <a:gd name="T13" fmla="*/ 2 h 26"/>
                      <a:gd name="T14" fmla="*/ 0 60000 65536"/>
                      <a:gd name="T15" fmla="*/ 0 60000 65536"/>
                      <a:gd name="T16" fmla="*/ 0 60000 65536"/>
                      <a:gd name="T17" fmla="*/ 0 60000 65536"/>
                      <a:gd name="T18" fmla="*/ 0 60000 65536"/>
                      <a:gd name="T19" fmla="*/ 0 60000 65536"/>
                      <a:gd name="T20" fmla="*/ 0 60000 65536"/>
                      <a:gd name="T21" fmla="*/ 0 w 55"/>
                      <a:gd name="T22" fmla="*/ 0 h 26"/>
                      <a:gd name="T23" fmla="*/ 55 w 55"/>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26">
                        <a:moveTo>
                          <a:pt x="55" y="2"/>
                        </a:moveTo>
                        <a:cubicBezTo>
                          <a:pt x="44" y="9"/>
                          <a:pt x="35" y="10"/>
                          <a:pt x="23" y="12"/>
                        </a:cubicBezTo>
                        <a:cubicBezTo>
                          <a:pt x="20" y="20"/>
                          <a:pt x="19" y="23"/>
                          <a:pt x="11" y="26"/>
                        </a:cubicBezTo>
                        <a:cubicBezTo>
                          <a:pt x="0" y="22"/>
                          <a:pt x="10" y="21"/>
                          <a:pt x="15" y="14"/>
                        </a:cubicBezTo>
                        <a:cubicBezTo>
                          <a:pt x="11" y="8"/>
                          <a:pt x="2" y="0"/>
                          <a:pt x="15" y="6"/>
                        </a:cubicBezTo>
                        <a:cubicBezTo>
                          <a:pt x="17" y="7"/>
                          <a:pt x="19" y="7"/>
                          <a:pt x="21" y="8"/>
                        </a:cubicBezTo>
                        <a:cubicBezTo>
                          <a:pt x="30" y="7"/>
                          <a:pt x="45" y="2"/>
                          <a:pt x="55" y="2"/>
                        </a:cubicBezTo>
                        <a:close/>
                      </a:path>
                    </a:pathLst>
                  </a:custGeom>
                  <a:solidFill>
                    <a:srgbClr val="B38557"/>
                  </a:solidFill>
                  <a:ln w="9525">
                    <a:noFill/>
                    <a:round/>
                    <a:headEnd/>
                    <a:tailEnd/>
                  </a:ln>
                </p:spPr>
                <p:txBody>
                  <a:bodyPr/>
                  <a:lstStyle/>
                  <a:p>
                    <a:pPr defTabSz="912546"/>
                    <a:endParaRPr>
                      <a:solidFill>
                        <a:srgbClr val="000000"/>
                      </a:solidFill>
                    </a:endParaRPr>
                  </a:p>
                </p:txBody>
              </p:sp>
              <p:sp>
                <p:nvSpPr>
                  <p:cNvPr id="441578" name="Freeform 855"/>
                  <p:cNvSpPr>
                    <a:spLocks/>
                  </p:cNvSpPr>
                  <p:nvPr/>
                </p:nvSpPr>
                <p:spPr bwMode="gray">
                  <a:xfrm flipH="1">
                    <a:off x="1480" y="3224"/>
                    <a:ext cx="27" cy="143"/>
                  </a:xfrm>
                  <a:custGeom>
                    <a:avLst/>
                    <a:gdLst>
                      <a:gd name="T0" fmla="*/ 0 w 32"/>
                      <a:gd name="T1" fmla="*/ 4 h 178"/>
                      <a:gd name="T2" fmla="*/ 3 w 32"/>
                      <a:gd name="T3" fmla="*/ 3 h 178"/>
                      <a:gd name="T4" fmla="*/ 3 w 32"/>
                      <a:gd name="T5" fmla="*/ 2 h 178"/>
                      <a:gd name="T6" fmla="*/ 3 w 32"/>
                      <a:gd name="T7" fmla="*/ 2 h 178"/>
                      <a:gd name="T8" fmla="*/ 3 w 32"/>
                      <a:gd name="T9" fmla="*/ 2 h 178"/>
                      <a:gd name="T10" fmla="*/ 3 w 32"/>
                      <a:gd name="T11" fmla="*/ 2 h 178"/>
                      <a:gd name="T12" fmla="*/ 3 w 32"/>
                      <a:gd name="T13" fmla="*/ 2 h 178"/>
                      <a:gd name="T14" fmla="*/ 3 w 32"/>
                      <a:gd name="T15" fmla="*/ 0 h 178"/>
                      <a:gd name="T16" fmla="*/ 3 w 32"/>
                      <a:gd name="T17" fmla="*/ 2 h 178"/>
                      <a:gd name="T18" fmla="*/ 3 w 32"/>
                      <a:gd name="T19" fmla="*/ 3 h 178"/>
                      <a:gd name="T20" fmla="*/ 3 w 32"/>
                      <a:gd name="T21" fmla="*/ 3 h 178"/>
                      <a:gd name="T22" fmla="*/ 3 w 32"/>
                      <a:gd name="T23" fmla="*/ 5 h 178"/>
                      <a:gd name="T24" fmla="*/ 3 w 32"/>
                      <a:gd name="T25" fmla="*/ 6 h 178"/>
                      <a:gd name="T26" fmla="*/ 3 w 32"/>
                      <a:gd name="T27" fmla="*/ 7 h 178"/>
                      <a:gd name="T28" fmla="*/ 3 w 32"/>
                      <a:gd name="T29" fmla="*/ 8 h 178"/>
                      <a:gd name="T30" fmla="*/ 3 w 32"/>
                      <a:gd name="T31" fmla="*/ 10 h 178"/>
                      <a:gd name="T32" fmla="*/ 0 w 32"/>
                      <a:gd name="T33" fmla="*/ 6 h 178"/>
                      <a:gd name="T34" fmla="*/ 0 w 32"/>
                      <a:gd name="T35" fmla="*/ 4 h 17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178"/>
                      <a:gd name="T56" fmla="*/ 32 w 32"/>
                      <a:gd name="T57" fmla="*/ 178 h 17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178">
                        <a:moveTo>
                          <a:pt x="0" y="72"/>
                        </a:moveTo>
                        <a:cubicBezTo>
                          <a:pt x="2" y="65"/>
                          <a:pt x="6" y="52"/>
                          <a:pt x="6" y="52"/>
                        </a:cubicBezTo>
                        <a:cubicBezTo>
                          <a:pt x="7" y="42"/>
                          <a:pt x="9" y="32"/>
                          <a:pt x="12" y="22"/>
                        </a:cubicBezTo>
                        <a:cubicBezTo>
                          <a:pt x="13" y="18"/>
                          <a:pt x="16" y="10"/>
                          <a:pt x="16" y="10"/>
                        </a:cubicBezTo>
                        <a:cubicBezTo>
                          <a:pt x="14" y="9"/>
                          <a:pt x="12" y="8"/>
                          <a:pt x="10" y="8"/>
                        </a:cubicBezTo>
                        <a:cubicBezTo>
                          <a:pt x="8" y="8"/>
                          <a:pt x="4" y="12"/>
                          <a:pt x="4" y="10"/>
                        </a:cubicBezTo>
                        <a:cubicBezTo>
                          <a:pt x="4" y="4"/>
                          <a:pt x="15" y="5"/>
                          <a:pt x="20" y="4"/>
                        </a:cubicBezTo>
                        <a:cubicBezTo>
                          <a:pt x="24" y="3"/>
                          <a:pt x="32" y="0"/>
                          <a:pt x="32" y="0"/>
                        </a:cubicBezTo>
                        <a:cubicBezTo>
                          <a:pt x="28" y="12"/>
                          <a:pt x="20" y="23"/>
                          <a:pt x="16" y="36"/>
                        </a:cubicBezTo>
                        <a:cubicBezTo>
                          <a:pt x="14" y="42"/>
                          <a:pt x="12" y="48"/>
                          <a:pt x="10" y="54"/>
                        </a:cubicBezTo>
                        <a:cubicBezTo>
                          <a:pt x="9" y="56"/>
                          <a:pt x="8" y="60"/>
                          <a:pt x="8" y="60"/>
                        </a:cubicBezTo>
                        <a:cubicBezTo>
                          <a:pt x="9" y="71"/>
                          <a:pt x="10" y="83"/>
                          <a:pt x="12" y="94"/>
                        </a:cubicBezTo>
                        <a:cubicBezTo>
                          <a:pt x="13" y="101"/>
                          <a:pt x="12" y="106"/>
                          <a:pt x="12" y="106"/>
                        </a:cubicBezTo>
                        <a:cubicBezTo>
                          <a:pt x="11" y="112"/>
                          <a:pt x="17" y="126"/>
                          <a:pt x="16" y="132"/>
                        </a:cubicBezTo>
                        <a:cubicBezTo>
                          <a:pt x="15" y="134"/>
                          <a:pt x="12" y="136"/>
                          <a:pt x="12" y="138"/>
                        </a:cubicBezTo>
                        <a:cubicBezTo>
                          <a:pt x="10" y="151"/>
                          <a:pt x="10" y="178"/>
                          <a:pt x="10" y="178"/>
                        </a:cubicBezTo>
                        <a:cubicBezTo>
                          <a:pt x="7" y="153"/>
                          <a:pt x="6" y="127"/>
                          <a:pt x="0" y="102"/>
                        </a:cubicBezTo>
                        <a:cubicBezTo>
                          <a:pt x="2" y="71"/>
                          <a:pt x="12" y="72"/>
                          <a:pt x="0" y="72"/>
                        </a:cubicBezTo>
                        <a:close/>
                      </a:path>
                    </a:pathLst>
                  </a:custGeom>
                  <a:solidFill>
                    <a:srgbClr val="3E3224"/>
                  </a:solidFill>
                  <a:ln w="9525">
                    <a:noFill/>
                    <a:round/>
                    <a:headEnd/>
                    <a:tailEnd/>
                  </a:ln>
                </p:spPr>
                <p:txBody>
                  <a:bodyPr/>
                  <a:lstStyle/>
                  <a:p>
                    <a:pPr defTabSz="912546"/>
                    <a:endParaRPr>
                      <a:solidFill>
                        <a:srgbClr val="000000"/>
                      </a:solidFill>
                    </a:endParaRPr>
                  </a:p>
                </p:txBody>
              </p:sp>
              <p:sp>
                <p:nvSpPr>
                  <p:cNvPr id="441579" name="Freeform 856"/>
                  <p:cNvSpPr>
                    <a:spLocks/>
                  </p:cNvSpPr>
                  <p:nvPr/>
                </p:nvSpPr>
                <p:spPr bwMode="gray">
                  <a:xfrm flipH="1">
                    <a:off x="1496" y="3268"/>
                    <a:ext cx="33" cy="108"/>
                  </a:xfrm>
                  <a:custGeom>
                    <a:avLst/>
                    <a:gdLst>
                      <a:gd name="T0" fmla="*/ 3 w 39"/>
                      <a:gd name="T1" fmla="*/ 2 h 133"/>
                      <a:gd name="T2" fmla="*/ 3 w 39"/>
                      <a:gd name="T3" fmla="*/ 4 h 133"/>
                      <a:gd name="T4" fmla="*/ 2 w 39"/>
                      <a:gd name="T5" fmla="*/ 6 h 133"/>
                      <a:gd name="T6" fmla="*/ 0 w 39"/>
                      <a:gd name="T7" fmla="*/ 6 h 133"/>
                      <a:gd name="T8" fmla="*/ 3 w 39"/>
                      <a:gd name="T9" fmla="*/ 9 h 133"/>
                      <a:gd name="T10" fmla="*/ 3 w 39"/>
                      <a:gd name="T11" fmla="*/ 4 h 133"/>
                      <a:gd name="T12" fmla="*/ 3 w 39"/>
                      <a:gd name="T13" fmla="*/ 3 h 133"/>
                      <a:gd name="T14" fmla="*/ 3 w 39"/>
                      <a:gd name="T15" fmla="*/ 2 h 133"/>
                      <a:gd name="T16" fmla="*/ 3 w 39"/>
                      <a:gd name="T17" fmla="*/ 2 h 1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33"/>
                      <a:gd name="T29" fmla="*/ 39 w 39"/>
                      <a:gd name="T30" fmla="*/ 133 h 1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33">
                        <a:moveTo>
                          <a:pt x="30" y="9"/>
                        </a:moveTo>
                        <a:cubicBezTo>
                          <a:pt x="12" y="33"/>
                          <a:pt x="16" y="29"/>
                          <a:pt x="6" y="69"/>
                        </a:cubicBezTo>
                        <a:cubicBezTo>
                          <a:pt x="0" y="79"/>
                          <a:pt x="7" y="77"/>
                          <a:pt x="2" y="91"/>
                        </a:cubicBezTo>
                        <a:cubicBezTo>
                          <a:pt x="1" y="93"/>
                          <a:pt x="0" y="97"/>
                          <a:pt x="0" y="97"/>
                        </a:cubicBezTo>
                        <a:cubicBezTo>
                          <a:pt x="2" y="109"/>
                          <a:pt x="6" y="121"/>
                          <a:pt x="8" y="133"/>
                        </a:cubicBezTo>
                        <a:cubicBezTo>
                          <a:pt x="9" y="111"/>
                          <a:pt x="11" y="90"/>
                          <a:pt x="16" y="69"/>
                        </a:cubicBezTo>
                        <a:cubicBezTo>
                          <a:pt x="18" y="60"/>
                          <a:pt x="19" y="59"/>
                          <a:pt x="22" y="49"/>
                        </a:cubicBezTo>
                        <a:cubicBezTo>
                          <a:pt x="23" y="47"/>
                          <a:pt x="24" y="43"/>
                          <a:pt x="24" y="43"/>
                        </a:cubicBezTo>
                        <a:cubicBezTo>
                          <a:pt x="25" y="38"/>
                          <a:pt x="39" y="0"/>
                          <a:pt x="30" y="9"/>
                        </a:cubicBezTo>
                        <a:close/>
                      </a:path>
                    </a:pathLst>
                  </a:custGeom>
                  <a:solidFill>
                    <a:srgbClr val="3E3224"/>
                  </a:solidFill>
                  <a:ln w="9525">
                    <a:noFill/>
                    <a:round/>
                    <a:headEnd/>
                    <a:tailEnd/>
                  </a:ln>
                </p:spPr>
                <p:txBody>
                  <a:bodyPr/>
                  <a:lstStyle/>
                  <a:p>
                    <a:pPr defTabSz="912546"/>
                    <a:endParaRPr>
                      <a:solidFill>
                        <a:srgbClr val="000000"/>
                      </a:solidFill>
                    </a:endParaRPr>
                  </a:p>
                </p:txBody>
              </p:sp>
              <p:sp>
                <p:nvSpPr>
                  <p:cNvPr id="441580" name="Freeform 857"/>
                  <p:cNvSpPr>
                    <a:spLocks/>
                  </p:cNvSpPr>
                  <p:nvPr/>
                </p:nvSpPr>
                <p:spPr bwMode="gray">
                  <a:xfrm flipH="1">
                    <a:off x="1458" y="3170"/>
                    <a:ext cx="54" cy="29"/>
                  </a:xfrm>
                  <a:custGeom>
                    <a:avLst/>
                    <a:gdLst>
                      <a:gd name="T0" fmla="*/ 8 w 63"/>
                      <a:gd name="T1" fmla="*/ 2 h 36"/>
                      <a:gd name="T2" fmla="*/ 0 w 63"/>
                      <a:gd name="T3" fmla="*/ 2 h 36"/>
                      <a:gd name="T4" fmla="*/ 6 w 63"/>
                      <a:gd name="T5" fmla="*/ 2 h 36"/>
                      <a:gd name="T6" fmla="*/ 8 w 63"/>
                      <a:gd name="T7" fmla="*/ 2 h 36"/>
                      <a:gd name="T8" fmla="*/ 8 w 63"/>
                      <a:gd name="T9" fmla="*/ 2 h 36"/>
                      <a:gd name="T10" fmla="*/ 8 w 63"/>
                      <a:gd name="T11" fmla="*/ 2 h 36"/>
                      <a:gd name="T12" fmla="*/ 7 w 63"/>
                      <a:gd name="T13" fmla="*/ 2 h 36"/>
                      <a:gd name="T14" fmla="*/ 8 w 63"/>
                      <a:gd name="T15" fmla="*/ 2 h 36"/>
                      <a:gd name="T16" fmla="*/ 0 60000 65536"/>
                      <a:gd name="T17" fmla="*/ 0 60000 65536"/>
                      <a:gd name="T18" fmla="*/ 0 60000 65536"/>
                      <a:gd name="T19" fmla="*/ 0 60000 65536"/>
                      <a:gd name="T20" fmla="*/ 0 60000 65536"/>
                      <a:gd name="T21" fmla="*/ 0 60000 65536"/>
                      <a:gd name="T22" fmla="*/ 0 60000 65536"/>
                      <a:gd name="T23" fmla="*/ 0 60000 65536"/>
                      <a:gd name="T24" fmla="*/ 0 w 63"/>
                      <a:gd name="T25" fmla="*/ 0 h 36"/>
                      <a:gd name="T26" fmla="*/ 63 w 63"/>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 h="36">
                        <a:moveTo>
                          <a:pt x="56" y="2"/>
                        </a:moveTo>
                        <a:cubicBezTo>
                          <a:pt x="37" y="8"/>
                          <a:pt x="18" y="10"/>
                          <a:pt x="0" y="16"/>
                        </a:cubicBezTo>
                        <a:cubicBezTo>
                          <a:pt x="15" y="20"/>
                          <a:pt x="31" y="16"/>
                          <a:pt x="46" y="12"/>
                        </a:cubicBezTo>
                        <a:cubicBezTo>
                          <a:pt x="56" y="19"/>
                          <a:pt x="58" y="22"/>
                          <a:pt x="62" y="34"/>
                        </a:cubicBezTo>
                        <a:cubicBezTo>
                          <a:pt x="63" y="36"/>
                          <a:pt x="60" y="28"/>
                          <a:pt x="60" y="28"/>
                        </a:cubicBezTo>
                        <a:cubicBezTo>
                          <a:pt x="59" y="19"/>
                          <a:pt x="61" y="9"/>
                          <a:pt x="56" y="2"/>
                        </a:cubicBezTo>
                        <a:cubicBezTo>
                          <a:pt x="55" y="0"/>
                          <a:pt x="50" y="4"/>
                          <a:pt x="50" y="4"/>
                        </a:cubicBezTo>
                        <a:cubicBezTo>
                          <a:pt x="50" y="4"/>
                          <a:pt x="54" y="3"/>
                          <a:pt x="56" y="2"/>
                        </a:cubicBezTo>
                        <a:close/>
                      </a:path>
                    </a:pathLst>
                  </a:custGeom>
                  <a:solidFill>
                    <a:srgbClr val="3E3224"/>
                  </a:solidFill>
                  <a:ln w="9525">
                    <a:noFill/>
                    <a:round/>
                    <a:headEnd/>
                    <a:tailEnd/>
                  </a:ln>
                </p:spPr>
                <p:txBody>
                  <a:bodyPr/>
                  <a:lstStyle/>
                  <a:p>
                    <a:pPr defTabSz="912546"/>
                    <a:endParaRPr>
                      <a:solidFill>
                        <a:srgbClr val="000000"/>
                      </a:solidFill>
                    </a:endParaRPr>
                  </a:p>
                </p:txBody>
              </p:sp>
              <p:sp>
                <p:nvSpPr>
                  <p:cNvPr id="441581" name="Freeform 858"/>
                  <p:cNvSpPr>
                    <a:spLocks/>
                  </p:cNvSpPr>
                  <p:nvPr/>
                </p:nvSpPr>
                <p:spPr bwMode="gray">
                  <a:xfrm flipH="1">
                    <a:off x="1486" y="3001"/>
                    <a:ext cx="30" cy="34"/>
                  </a:xfrm>
                  <a:custGeom>
                    <a:avLst/>
                    <a:gdLst>
                      <a:gd name="T0" fmla="*/ 2 w 38"/>
                      <a:gd name="T1" fmla="*/ 2 h 44"/>
                      <a:gd name="T2" fmla="*/ 2 w 38"/>
                      <a:gd name="T3" fmla="*/ 2 h 44"/>
                      <a:gd name="T4" fmla="*/ 2 w 38"/>
                      <a:gd name="T5" fmla="*/ 2 h 44"/>
                      <a:gd name="T6" fmla="*/ 2 w 38"/>
                      <a:gd name="T7" fmla="*/ 2 h 44"/>
                      <a:gd name="T8" fmla="*/ 2 w 38"/>
                      <a:gd name="T9" fmla="*/ 2 h 44"/>
                      <a:gd name="T10" fmla="*/ 2 w 38"/>
                      <a:gd name="T11" fmla="*/ 2 h 44"/>
                      <a:gd name="T12" fmla="*/ 2 w 38"/>
                      <a:gd name="T13" fmla="*/ 2 h 44"/>
                      <a:gd name="T14" fmla="*/ 2 w 38"/>
                      <a:gd name="T15" fmla="*/ 2 h 44"/>
                      <a:gd name="T16" fmla="*/ 2 w 38"/>
                      <a:gd name="T17" fmla="*/ 2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44"/>
                      <a:gd name="T29" fmla="*/ 38 w 38"/>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44">
                        <a:moveTo>
                          <a:pt x="32" y="12"/>
                        </a:moveTo>
                        <a:cubicBezTo>
                          <a:pt x="28" y="0"/>
                          <a:pt x="19" y="11"/>
                          <a:pt x="10" y="14"/>
                        </a:cubicBezTo>
                        <a:cubicBezTo>
                          <a:pt x="8" y="21"/>
                          <a:pt x="0" y="28"/>
                          <a:pt x="6" y="36"/>
                        </a:cubicBezTo>
                        <a:cubicBezTo>
                          <a:pt x="9" y="40"/>
                          <a:pt x="18" y="44"/>
                          <a:pt x="18" y="44"/>
                        </a:cubicBezTo>
                        <a:cubicBezTo>
                          <a:pt x="22" y="43"/>
                          <a:pt x="27" y="44"/>
                          <a:pt x="30" y="42"/>
                        </a:cubicBezTo>
                        <a:cubicBezTo>
                          <a:pt x="34" y="39"/>
                          <a:pt x="38" y="30"/>
                          <a:pt x="38" y="30"/>
                        </a:cubicBezTo>
                        <a:cubicBezTo>
                          <a:pt x="34" y="18"/>
                          <a:pt x="26" y="27"/>
                          <a:pt x="16" y="24"/>
                        </a:cubicBezTo>
                        <a:cubicBezTo>
                          <a:pt x="24" y="19"/>
                          <a:pt x="26" y="16"/>
                          <a:pt x="34" y="22"/>
                        </a:cubicBezTo>
                        <a:cubicBezTo>
                          <a:pt x="37" y="14"/>
                          <a:pt x="37" y="17"/>
                          <a:pt x="32" y="12"/>
                        </a:cubicBezTo>
                        <a:close/>
                      </a:path>
                    </a:pathLst>
                  </a:custGeom>
                  <a:solidFill>
                    <a:srgbClr val="7C6150"/>
                  </a:solidFill>
                  <a:ln w="9525">
                    <a:noFill/>
                    <a:round/>
                    <a:headEnd/>
                    <a:tailEnd/>
                  </a:ln>
                </p:spPr>
                <p:txBody>
                  <a:bodyPr/>
                  <a:lstStyle/>
                  <a:p>
                    <a:pPr defTabSz="912546"/>
                    <a:endParaRPr>
                      <a:solidFill>
                        <a:srgbClr val="000000"/>
                      </a:solidFill>
                    </a:endParaRPr>
                  </a:p>
                </p:txBody>
              </p:sp>
              <p:sp>
                <p:nvSpPr>
                  <p:cNvPr id="441582" name="Freeform 859"/>
                  <p:cNvSpPr>
                    <a:spLocks/>
                  </p:cNvSpPr>
                  <p:nvPr/>
                </p:nvSpPr>
                <p:spPr bwMode="gray">
                  <a:xfrm flipH="1">
                    <a:off x="1459" y="3039"/>
                    <a:ext cx="54" cy="119"/>
                  </a:xfrm>
                  <a:custGeom>
                    <a:avLst/>
                    <a:gdLst>
                      <a:gd name="T0" fmla="*/ 400 w 40"/>
                      <a:gd name="T1" fmla="*/ 174 h 93"/>
                      <a:gd name="T2" fmla="*/ 296 w 40"/>
                      <a:gd name="T3" fmla="*/ 1 h 93"/>
                      <a:gd name="T4" fmla="*/ 0 w 40"/>
                      <a:gd name="T5" fmla="*/ 75 h 93"/>
                      <a:gd name="T6" fmla="*/ 514 w 40"/>
                      <a:gd name="T7" fmla="*/ 537 h 93"/>
                      <a:gd name="T8" fmla="*/ 514 w 40"/>
                      <a:gd name="T9" fmla="*/ 2008 h 93"/>
                      <a:gd name="T10" fmla="*/ 1161 w 40"/>
                      <a:gd name="T11" fmla="*/ 2280 h 93"/>
                      <a:gd name="T12" fmla="*/ 809 w 40"/>
                      <a:gd name="T13" fmla="*/ 537 h 93"/>
                      <a:gd name="T14" fmla="*/ 400 w 40"/>
                      <a:gd name="T15" fmla="*/ 1 h 93"/>
                      <a:gd name="T16" fmla="*/ 400 w 40"/>
                      <a:gd name="T17" fmla="*/ 174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93"/>
                      <a:gd name="T29" fmla="*/ 40 w 40"/>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93">
                        <a:moveTo>
                          <a:pt x="8" y="7"/>
                        </a:moveTo>
                        <a:cubicBezTo>
                          <a:pt x="7" y="5"/>
                          <a:pt x="8" y="2"/>
                          <a:pt x="6" y="1"/>
                        </a:cubicBezTo>
                        <a:cubicBezTo>
                          <a:pt x="4" y="0"/>
                          <a:pt x="0" y="1"/>
                          <a:pt x="0" y="3"/>
                        </a:cubicBezTo>
                        <a:cubicBezTo>
                          <a:pt x="1" y="10"/>
                          <a:pt x="8" y="14"/>
                          <a:pt x="10" y="21"/>
                        </a:cubicBezTo>
                        <a:cubicBezTo>
                          <a:pt x="13" y="41"/>
                          <a:pt x="17" y="61"/>
                          <a:pt x="10" y="81"/>
                        </a:cubicBezTo>
                        <a:cubicBezTo>
                          <a:pt x="13" y="89"/>
                          <a:pt x="16" y="90"/>
                          <a:pt x="24" y="93"/>
                        </a:cubicBezTo>
                        <a:cubicBezTo>
                          <a:pt x="40" y="82"/>
                          <a:pt x="20" y="38"/>
                          <a:pt x="16" y="21"/>
                        </a:cubicBezTo>
                        <a:cubicBezTo>
                          <a:pt x="16" y="20"/>
                          <a:pt x="9" y="1"/>
                          <a:pt x="8" y="1"/>
                        </a:cubicBezTo>
                        <a:cubicBezTo>
                          <a:pt x="6" y="1"/>
                          <a:pt x="8" y="5"/>
                          <a:pt x="8" y="7"/>
                        </a:cubicBezTo>
                        <a:close/>
                      </a:path>
                    </a:pathLst>
                  </a:custGeom>
                  <a:solidFill>
                    <a:srgbClr val="A93B3B"/>
                  </a:solidFill>
                  <a:ln w="12700">
                    <a:noFill/>
                    <a:round/>
                    <a:headEnd/>
                    <a:tailEnd/>
                  </a:ln>
                </p:spPr>
                <p:txBody>
                  <a:bodyPr lIns="90000" tIns="46800" rIns="90000" bIns="46800" anchor="ctr"/>
                  <a:lstStyle/>
                  <a:p>
                    <a:pPr defTabSz="912546"/>
                    <a:endParaRPr>
                      <a:solidFill>
                        <a:srgbClr val="000000"/>
                      </a:solidFill>
                    </a:endParaRPr>
                  </a:p>
                </p:txBody>
              </p:sp>
            </p:grpSp>
            <p:grpSp>
              <p:nvGrpSpPr>
                <p:cNvPr id="265154" name="Group 860"/>
                <p:cNvGrpSpPr>
                  <a:grpSpLocks/>
                </p:cNvGrpSpPr>
                <p:nvPr/>
              </p:nvGrpSpPr>
              <p:grpSpPr bwMode="gray">
                <a:xfrm flipH="1">
                  <a:off x="2944" y="2938"/>
                  <a:ext cx="201" cy="453"/>
                  <a:chOff x="4582" y="2352"/>
                  <a:chExt cx="206" cy="460"/>
                </a:xfrm>
              </p:grpSpPr>
              <p:sp>
                <p:nvSpPr>
                  <p:cNvPr id="441544" name="Freeform 861"/>
                  <p:cNvSpPr>
                    <a:spLocks/>
                  </p:cNvSpPr>
                  <p:nvPr/>
                </p:nvSpPr>
                <p:spPr bwMode="gray">
                  <a:xfrm>
                    <a:off x="4583" y="2720"/>
                    <a:ext cx="205" cy="88"/>
                  </a:xfrm>
                  <a:custGeom>
                    <a:avLst/>
                    <a:gdLst>
                      <a:gd name="T0" fmla="*/ 0 w 205"/>
                      <a:gd name="T1" fmla="*/ 76 h 88"/>
                      <a:gd name="T2" fmla="*/ 52 w 205"/>
                      <a:gd name="T3" fmla="*/ 59 h 88"/>
                      <a:gd name="T4" fmla="*/ 79 w 205"/>
                      <a:gd name="T5" fmla="*/ 50 h 88"/>
                      <a:gd name="T6" fmla="*/ 105 w 205"/>
                      <a:gd name="T7" fmla="*/ 59 h 88"/>
                      <a:gd name="T8" fmla="*/ 114 w 205"/>
                      <a:gd name="T9" fmla="*/ 85 h 88"/>
                      <a:gd name="T10" fmla="*/ 166 w 205"/>
                      <a:gd name="T11" fmla="*/ 68 h 88"/>
                      <a:gd name="T12" fmla="*/ 205 w 205"/>
                      <a:gd name="T13" fmla="*/ 36 h 88"/>
                      <a:gd name="T14" fmla="*/ 51 w 205"/>
                      <a:gd name="T15" fmla="*/ 16 h 88"/>
                      <a:gd name="T16" fmla="*/ 0 w 205"/>
                      <a:gd name="T17" fmla="*/ 76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5"/>
                      <a:gd name="T28" fmla="*/ 0 h 88"/>
                      <a:gd name="T29" fmla="*/ 205 w 20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5" h="88">
                        <a:moveTo>
                          <a:pt x="0" y="76"/>
                        </a:moveTo>
                        <a:cubicBezTo>
                          <a:pt x="17" y="70"/>
                          <a:pt x="35" y="65"/>
                          <a:pt x="52" y="59"/>
                        </a:cubicBezTo>
                        <a:cubicBezTo>
                          <a:pt x="61" y="56"/>
                          <a:pt x="79" y="50"/>
                          <a:pt x="79" y="50"/>
                        </a:cubicBezTo>
                        <a:cubicBezTo>
                          <a:pt x="87" y="53"/>
                          <a:pt x="99" y="53"/>
                          <a:pt x="105" y="59"/>
                        </a:cubicBezTo>
                        <a:cubicBezTo>
                          <a:pt x="111" y="65"/>
                          <a:pt x="105" y="84"/>
                          <a:pt x="114" y="85"/>
                        </a:cubicBezTo>
                        <a:cubicBezTo>
                          <a:pt x="133" y="88"/>
                          <a:pt x="166" y="68"/>
                          <a:pt x="166" y="68"/>
                        </a:cubicBezTo>
                        <a:cubicBezTo>
                          <a:pt x="179" y="46"/>
                          <a:pt x="177" y="78"/>
                          <a:pt x="205" y="36"/>
                        </a:cubicBezTo>
                        <a:cubicBezTo>
                          <a:pt x="181" y="2"/>
                          <a:pt x="101" y="0"/>
                          <a:pt x="51" y="16"/>
                        </a:cubicBezTo>
                        <a:cubicBezTo>
                          <a:pt x="19" y="62"/>
                          <a:pt x="50" y="6"/>
                          <a:pt x="0" y="76"/>
                        </a:cubicBezTo>
                        <a:close/>
                      </a:path>
                    </a:pathLst>
                  </a:custGeom>
                  <a:noFill/>
                  <a:ln w="12700">
                    <a:noFill/>
                    <a:round/>
                    <a:headEnd/>
                    <a:tailEnd/>
                  </a:ln>
                </p:spPr>
                <p:txBody>
                  <a:bodyPr lIns="45720" tIns="46800" rIns="45720" bIns="46800" anchor="ctr"/>
                  <a:lstStyle/>
                  <a:p>
                    <a:pPr defTabSz="912546"/>
                    <a:endParaRPr>
                      <a:solidFill>
                        <a:srgbClr val="000000"/>
                      </a:solidFill>
                    </a:endParaRPr>
                  </a:p>
                </p:txBody>
              </p:sp>
              <p:grpSp>
                <p:nvGrpSpPr>
                  <p:cNvPr id="265155" name="Group 862"/>
                  <p:cNvGrpSpPr>
                    <a:grpSpLocks/>
                  </p:cNvGrpSpPr>
                  <p:nvPr/>
                </p:nvGrpSpPr>
                <p:grpSpPr bwMode="gray">
                  <a:xfrm>
                    <a:off x="4582" y="2352"/>
                    <a:ext cx="163" cy="460"/>
                    <a:chOff x="4228" y="613"/>
                    <a:chExt cx="150" cy="428"/>
                  </a:xfrm>
                </p:grpSpPr>
                <p:sp>
                  <p:nvSpPr>
                    <p:cNvPr id="441547" name="Freeform 863"/>
                    <p:cNvSpPr>
                      <a:spLocks/>
                    </p:cNvSpPr>
                    <p:nvPr/>
                  </p:nvSpPr>
                  <p:spPr bwMode="gray">
                    <a:xfrm>
                      <a:off x="4243" y="789"/>
                      <a:ext cx="117" cy="232"/>
                    </a:xfrm>
                    <a:custGeom>
                      <a:avLst/>
                      <a:gdLst>
                        <a:gd name="T0" fmla="*/ 52 w 102"/>
                        <a:gd name="T1" fmla="*/ 0 h 218"/>
                        <a:gd name="T2" fmla="*/ 34 w 102"/>
                        <a:gd name="T3" fmla="*/ 61 h 218"/>
                        <a:gd name="T4" fmla="*/ 60 w 102"/>
                        <a:gd name="T5" fmla="*/ 314 h 218"/>
                        <a:gd name="T6" fmla="*/ 26 w 102"/>
                        <a:gd name="T7" fmla="*/ 428 h 218"/>
                        <a:gd name="T8" fmla="*/ 26 w 102"/>
                        <a:gd name="T9" fmla="*/ 461 h 218"/>
                        <a:gd name="T10" fmla="*/ 213 w 102"/>
                        <a:gd name="T11" fmla="*/ 459 h 218"/>
                        <a:gd name="T12" fmla="*/ 270 w 102"/>
                        <a:gd name="T13" fmla="*/ 256 h 218"/>
                        <a:gd name="T14" fmla="*/ 321 w 102"/>
                        <a:gd name="T15" fmla="*/ 256 h 218"/>
                        <a:gd name="T16" fmla="*/ 356 w 102"/>
                        <a:gd name="T17" fmla="*/ 299 h 218"/>
                        <a:gd name="T18" fmla="*/ 401 w 102"/>
                        <a:gd name="T19" fmla="*/ 401 h 218"/>
                        <a:gd name="T20" fmla="*/ 392 w 102"/>
                        <a:gd name="T21" fmla="*/ 483 h 218"/>
                        <a:gd name="T22" fmla="*/ 591 w 102"/>
                        <a:gd name="T23" fmla="*/ 454 h 218"/>
                        <a:gd name="T24" fmla="*/ 555 w 102"/>
                        <a:gd name="T25" fmla="*/ 346 h 218"/>
                        <a:gd name="T26" fmla="*/ 528 w 102"/>
                        <a:gd name="T27" fmla="*/ 120 h 218"/>
                        <a:gd name="T28" fmla="*/ 450 w 102"/>
                        <a:gd name="T29" fmla="*/ 1 h 218"/>
                        <a:gd name="T30" fmla="*/ 279 w 102"/>
                        <a:gd name="T31" fmla="*/ 26 h 218"/>
                        <a:gd name="T32" fmla="*/ 95 w 102"/>
                        <a:gd name="T33" fmla="*/ 22 h 218"/>
                        <a:gd name="T34" fmla="*/ 52 w 102"/>
                        <a:gd name="T35" fmla="*/ 0 h 2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2"/>
                        <a:gd name="T55" fmla="*/ 0 h 218"/>
                        <a:gd name="T56" fmla="*/ 102 w 102"/>
                        <a:gd name="T57" fmla="*/ 218 h 2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2" h="218">
                          <a:moveTo>
                            <a:pt x="9" y="0"/>
                          </a:moveTo>
                          <a:cubicBezTo>
                            <a:pt x="11" y="8"/>
                            <a:pt x="4" y="19"/>
                            <a:pt x="6" y="27"/>
                          </a:cubicBezTo>
                          <a:cubicBezTo>
                            <a:pt x="7" y="67"/>
                            <a:pt x="8" y="101"/>
                            <a:pt x="10" y="139"/>
                          </a:cubicBezTo>
                          <a:cubicBezTo>
                            <a:pt x="10" y="154"/>
                            <a:pt x="11" y="175"/>
                            <a:pt x="4" y="190"/>
                          </a:cubicBezTo>
                          <a:cubicBezTo>
                            <a:pt x="3" y="197"/>
                            <a:pt x="0" y="199"/>
                            <a:pt x="4" y="205"/>
                          </a:cubicBezTo>
                          <a:cubicBezTo>
                            <a:pt x="15" y="204"/>
                            <a:pt x="25" y="205"/>
                            <a:pt x="36" y="204"/>
                          </a:cubicBezTo>
                          <a:cubicBezTo>
                            <a:pt x="39" y="174"/>
                            <a:pt x="38" y="144"/>
                            <a:pt x="45" y="114"/>
                          </a:cubicBezTo>
                          <a:cubicBezTo>
                            <a:pt x="47" y="91"/>
                            <a:pt x="50" y="103"/>
                            <a:pt x="54" y="114"/>
                          </a:cubicBezTo>
                          <a:cubicBezTo>
                            <a:pt x="55" y="120"/>
                            <a:pt x="57" y="127"/>
                            <a:pt x="60" y="133"/>
                          </a:cubicBezTo>
                          <a:cubicBezTo>
                            <a:pt x="63" y="148"/>
                            <a:pt x="66" y="162"/>
                            <a:pt x="67" y="178"/>
                          </a:cubicBezTo>
                          <a:cubicBezTo>
                            <a:pt x="66" y="189"/>
                            <a:pt x="63" y="203"/>
                            <a:pt x="66" y="214"/>
                          </a:cubicBezTo>
                          <a:cubicBezTo>
                            <a:pt x="88" y="213"/>
                            <a:pt x="91" y="218"/>
                            <a:pt x="99" y="201"/>
                          </a:cubicBezTo>
                          <a:cubicBezTo>
                            <a:pt x="102" y="184"/>
                            <a:pt x="96" y="170"/>
                            <a:pt x="93" y="154"/>
                          </a:cubicBezTo>
                          <a:cubicBezTo>
                            <a:pt x="94" y="123"/>
                            <a:pt x="93" y="84"/>
                            <a:pt x="88" y="54"/>
                          </a:cubicBezTo>
                          <a:cubicBezTo>
                            <a:pt x="86" y="41"/>
                            <a:pt x="86" y="3"/>
                            <a:pt x="76" y="1"/>
                          </a:cubicBezTo>
                          <a:cubicBezTo>
                            <a:pt x="68" y="9"/>
                            <a:pt x="46" y="12"/>
                            <a:pt x="46" y="12"/>
                          </a:cubicBezTo>
                          <a:cubicBezTo>
                            <a:pt x="33" y="11"/>
                            <a:pt x="27" y="14"/>
                            <a:pt x="16" y="9"/>
                          </a:cubicBezTo>
                          <a:cubicBezTo>
                            <a:pt x="9" y="7"/>
                            <a:pt x="4" y="15"/>
                            <a:pt x="9" y="0"/>
                          </a:cubicBezTo>
                          <a:close/>
                        </a:path>
                      </a:pathLst>
                    </a:custGeom>
                    <a:solidFill>
                      <a:srgbClr val="114461"/>
                    </a:solidFill>
                    <a:ln w="12700">
                      <a:noFill/>
                      <a:round/>
                      <a:headEnd/>
                      <a:tailEnd/>
                    </a:ln>
                  </p:spPr>
                  <p:txBody>
                    <a:bodyPr lIns="90000" tIns="46800" rIns="90000" bIns="46800" anchor="ctr"/>
                    <a:lstStyle/>
                    <a:p>
                      <a:pPr defTabSz="912546"/>
                      <a:endParaRPr>
                        <a:solidFill>
                          <a:srgbClr val="000000"/>
                        </a:solidFill>
                      </a:endParaRPr>
                    </a:p>
                  </p:txBody>
                </p:sp>
                <p:sp>
                  <p:nvSpPr>
                    <p:cNvPr id="441548" name="Freeform 864"/>
                    <p:cNvSpPr>
                      <a:spLocks/>
                    </p:cNvSpPr>
                    <p:nvPr/>
                  </p:nvSpPr>
                  <p:spPr bwMode="gray">
                    <a:xfrm>
                      <a:off x="4237" y="662"/>
                      <a:ext cx="141" cy="160"/>
                    </a:xfrm>
                    <a:custGeom>
                      <a:avLst/>
                      <a:gdLst>
                        <a:gd name="T0" fmla="*/ 402 w 123"/>
                        <a:gd name="T1" fmla="*/ 21 h 150"/>
                        <a:gd name="T2" fmla="*/ 298 w 123"/>
                        <a:gd name="T3" fmla="*/ 3 h 150"/>
                        <a:gd name="T4" fmla="*/ 179 w 123"/>
                        <a:gd name="T5" fmla="*/ 37 h 150"/>
                        <a:gd name="T6" fmla="*/ 72 w 123"/>
                        <a:gd name="T7" fmla="*/ 61 h 150"/>
                        <a:gd name="T8" fmla="*/ 65 w 123"/>
                        <a:gd name="T9" fmla="*/ 132 h 150"/>
                        <a:gd name="T10" fmla="*/ 65 w 123"/>
                        <a:gd name="T11" fmla="*/ 199 h 150"/>
                        <a:gd name="T12" fmla="*/ 33 w 123"/>
                        <a:gd name="T13" fmla="*/ 231 h 150"/>
                        <a:gd name="T14" fmla="*/ 0 w 123"/>
                        <a:gd name="T15" fmla="*/ 270 h 150"/>
                        <a:gd name="T16" fmla="*/ 65 w 123"/>
                        <a:gd name="T17" fmla="*/ 305 h 150"/>
                        <a:gd name="T18" fmla="*/ 156 w 123"/>
                        <a:gd name="T19" fmla="*/ 298 h 150"/>
                        <a:gd name="T20" fmla="*/ 339 w 123"/>
                        <a:gd name="T21" fmla="*/ 305 h 150"/>
                        <a:gd name="T22" fmla="*/ 493 w 123"/>
                        <a:gd name="T23" fmla="*/ 298 h 150"/>
                        <a:gd name="T24" fmla="*/ 539 w 123"/>
                        <a:gd name="T25" fmla="*/ 332 h 150"/>
                        <a:gd name="T26" fmla="*/ 637 w 123"/>
                        <a:gd name="T27" fmla="*/ 295 h 150"/>
                        <a:gd name="T28" fmla="*/ 708 w 123"/>
                        <a:gd name="T29" fmla="*/ 212 h 150"/>
                        <a:gd name="T30" fmla="*/ 618 w 123"/>
                        <a:gd name="T31" fmla="*/ 109 h 150"/>
                        <a:gd name="T32" fmla="*/ 484 w 123"/>
                        <a:gd name="T33" fmla="*/ 48 h 150"/>
                        <a:gd name="T34" fmla="*/ 402 w 123"/>
                        <a:gd name="T35" fmla="*/ 21 h 1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3"/>
                        <a:gd name="T55" fmla="*/ 0 h 150"/>
                        <a:gd name="T56" fmla="*/ 123 w 123"/>
                        <a:gd name="T57" fmla="*/ 150 h 1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3" h="150">
                          <a:moveTo>
                            <a:pt x="68" y="8"/>
                          </a:moveTo>
                          <a:cubicBezTo>
                            <a:pt x="65" y="0"/>
                            <a:pt x="59" y="2"/>
                            <a:pt x="51" y="3"/>
                          </a:cubicBezTo>
                          <a:cubicBezTo>
                            <a:pt x="39" y="9"/>
                            <a:pt x="50" y="8"/>
                            <a:pt x="30" y="17"/>
                          </a:cubicBezTo>
                          <a:cubicBezTo>
                            <a:pt x="24" y="19"/>
                            <a:pt x="16" y="20"/>
                            <a:pt x="12" y="26"/>
                          </a:cubicBezTo>
                          <a:cubicBezTo>
                            <a:pt x="9" y="35"/>
                            <a:pt x="11" y="46"/>
                            <a:pt x="11" y="57"/>
                          </a:cubicBezTo>
                          <a:cubicBezTo>
                            <a:pt x="13" y="65"/>
                            <a:pt x="9" y="77"/>
                            <a:pt x="11" y="86"/>
                          </a:cubicBezTo>
                          <a:cubicBezTo>
                            <a:pt x="9" y="90"/>
                            <a:pt x="8" y="95"/>
                            <a:pt x="6" y="99"/>
                          </a:cubicBezTo>
                          <a:cubicBezTo>
                            <a:pt x="5" y="105"/>
                            <a:pt x="3" y="111"/>
                            <a:pt x="0" y="117"/>
                          </a:cubicBezTo>
                          <a:cubicBezTo>
                            <a:pt x="1" y="122"/>
                            <a:pt x="7" y="129"/>
                            <a:pt x="11" y="131"/>
                          </a:cubicBezTo>
                          <a:cubicBezTo>
                            <a:pt x="13" y="118"/>
                            <a:pt x="16" y="127"/>
                            <a:pt x="26" y="129"/>
                          </a:cubicBezTo>
                          <a:cubicBezTo>
                            <a:pt x="37" y="134"/>
                            <a:pt x="44" y="132"/>
                            <a:pt x="57" y="131"/>
                          </a:cubicBezTo>
                          <a:cubicBezTo>
                            <a:pt x="66" y="127"/>
                            <a:pt x="75" y="127"/>
                            <a:pt x="84" y="129"/>
                          </a:cubicBezTo>
                          <a:cubicBezTo>
                            <a:pt x="88" y="140"/>
                            <a:pt x="79" y="142"/>
                            <a:pt x="92" y="144"/>
                          </a:cubicBezTo>
                          <a:cubicBezTo>
                            <a:pt x="103" y="150"/>
                            <a:pt x="102" y="136"/>
                            <a:pt x="108" y="128"/>
                          </a:cubicBezTo>
                          <a:cubicBezTo>
                            <a:pt x="110" y="117"/>
                            <a:pt x="117" y="103"/>
                            <a:pt x="120" y="92"/>
                          </a:cubicBezTo>
                          <a:cubicBezTo>
                            <a:pt x="123" y="74"/>
                            <a:pt x="119" y="62"/>
                            <a:pt x="105" y="47"/>
                          </a:cubicBezTo>
                          <a:cubicBezTo>
                            <a:pt x="98" y="29"/>
                            <a:pt x="95" y="26"/>
                            <a:pt x="81" y="21"/>
                          </a:cubicBezTo>
                          <a:cubicBezTo>
                            <a:pt x="76" y="17"/>
                            <a:pt x="74" y="10"/>
                            <a:pt x="68" y="8"/>
                          </a:cubicBezTo>
                          <a:close/>
                        </a:path>
                      </a:pathLst>
                    </a:custGeom>
                    <a:solidFill>
                      <a:srgbClr val="A6CCE6"/>
                    </a:solidFill>
                    <a:ln w="12700">
                      <a:noFill/>
                      <a:round/>
                      <a:headEnd/>
                      <a:tailEnd/>
                    </a:ln>
                  </p:spPr>
                  <p:txBody>
                    <a:bodyPr lIns="90000" tIns="46800" rIns="90000" bIns="46800" anchor="ctr"/>
                    <a:lstStyle/>
                    <a:p>
                      <a:pPr defTabSz="912546"/>
                      <a:endParaRPr>
                        <a:solidFill>
                          <a:srgbClr val="000000"/>
                        </a:solidFill>
                      </a:endParaRPr>
                    </a:p>
                  </p:txBody>
                </p:sp>
                <p:sp>
                  <p:nvSpPr>
                    <p:cNvPr id="441549" name="Freeform 865"/>
                    <p:cNvSpPr>
                      <a:spLocks/>
                    </p:cNvSpPr>
                    <p:nvPr/>
                  </p:nvSpPr>
                  <p:spPr bwMode="gray">
                    <a:xfrm>
                      <a:off x="4275" y="613"/>
                      <a:ext cx="56" cy="84"/>
                    </a:xfrm>
                    <a:custGeom>
                      <a:avLst/>
                      <a:gdLst>
                        <a:gd name="T0" fmla="*/ 43 w 49"/>
                        <a:gd name="T1" fmla="*/ 40 h 79"/>
                        <a:gd name="T2" fmla="*/ 83 w 49"/>
                        <a:gd name="T3" fmla="*/ 128 h 79"/>
                        <a:gd name="T4" fmla="*/ 95 w 49"/>
                        <a:gd name="T5" fmla="*/ 155 h 79"/>
                        <a:gd name="T6" fmla="*/ 182 w 49"/>
                        <a:gd name="T7" fmla="*/ 136 h 79"/>
                        <a:gd name="T8" fmla="*/ 202 w 49"/>
                        <a:gd name="T9" fmla="*/ 101 h 79"/>
                        <a:gd name="T10" fmla="*/ 248 w 49"/>
                        <a:gd name="T11" fmla="*/ 72 h 79"/>
                        <a:gd name="T12" fmla="*/ 249 w 49"/>
                        <a:gd name="T13" fmla="*/ 32 h 79"/>
                        <a:gd name="T14" fmla="*/ 155 w 49"/>
                        <a:gd name="T15" fmla="*/ 0 h 79"/>
                        <a:gd name="T16" fmla="*/ 70 w 49"/>
                        <a:gd name="T17" fmla="*/ 4 h 79"/>
                        <a:gd name="T18" fmla="*/ 43 w 49"/>
                        <a:gd name="T19" fmla="*/ 40 h 7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79"/>
                        <a:gd name="T32" fmla="*/ 49 w 49"/>
                        <a:gd name="T33" fmla="*/ 79 h 7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79">
                          <a:moveTo>
                            <a:pt x="8" y="19"/>
                          </a:moveTo>
                          <a:cubicBezTo>
                            <a:pt x="3" y="34"/>
                            <a:pt x="0" y="50"/>
                            <a:pt x="15" y="57"/>
                          </a:cubicBezTo>
                          <a:cubicBezTo>
                            <a:pt x="16" y="61"/>
                            <a:pt x="16" y="66"/>
                            <a:pt x="17" y="70"/>
                          </a:cubicBezTo>
                          <a:cubicBezTo>
                            <a:pt x="18" y="79"/>
                            <a:pt x="21" y="65"/>
                            <a:pt x="32" y="61"/>
                          </a:cubicBezTo>
                          <a:cubicBezTo>
                            <a:pt x="36" y="55"/>
                            <a:pt x="36" y="53"/>
                            <a:pt x="35" y="46"/>
                          </a:cubicBezTo>
                          <a:cubicBezTo>
                            <a:pt x="39" y="42"/>
                            <a:pt x="41" y="38"/>
                            <a:pt x="44" y="33"/>
                          </a:cubicBezTo>
                          <a:cubicBezTo>
                            <a:pt x="47" y="18"/>
                            <a:pt x="49" y="23"/>
                            <a:pt x="45" y="15"/>
                          </a:cubicBezTo>
                          <a:cubicBezTo>
                            <a:pt x="43" y="5"/>
                            <a:pt x="37" y="2"/>
                            <a:pt x="27" y="0"/>
                          </a:cubicBezTo>
                          <a:cubicBezTo>
                            <a:pt x="22" y="1"/>
                            <a:pt x="17" y="3"/>
                            <a:pt x="12" y="4"/>
                          </a:cubicBezTo>
                          <a:cubicBezTo>
                            <a:pt x="3" y="11"/>
                            <a:pt x="8" y="32"/>
                            <a:pt x="8" y="19"/>
                          </a:cubicBezTo>
                          <a:close/>
                        </a:path>
                      </a:pathLst>
                    </a:custGeom>
                    <a:solidFill>
                      <a:srgbClr val="ECC392"/>
                    </a:solidFill>
                    <a:ln w="12700">
                      <a:noFill/>
                      <a:round/>
                      <a:headEnd/>
                      <a:tailEnd/>
                    </a:ln>
                  </p:spPr>
                  <p:txBody>
                    <a:bodyPr lIns="90000" tIns="46800" rIns="90000" bIns="46800" anchor="ctr"/>
                    <a:lstStyle/>
                    <a:p>
                      <a:pPr defTabSz="912546"/>
                      <a:endParaRPr>
                        <a:solidFill>
                          <a:srgbClr val="000000"/>
                        </a:solidFill>
                      </a:endParaRPr>
                    </a:p>
                  </p:txBody>
                </p:sp>
                <p:sp>
                  <p:nvSpPr>
                    <p:cNvPr id="441550" name="Freeform 866"/>
                    <p:cNvSpPr>
                      <a:spLocks/>
                    </p:cNvSpPr>
                    <p:nvPr/>
                  </p:nvSpPr>
                  <p:spPr bwMode="gray">
                    <a:xfrm>
                      <a:off x="4228" y="997"/>
                      <a:ext cx="53" cy="29"/>
                    </a:xfrm>
                    <a:custGeom>
                      <a:avLst/>
                      <a:gdLst>
                        <a:gd name="T0" fmla="*/ 426 w 43"/>
                        <a:gd name="T1" fmla="*/ 70 h 24"/>
                        <a:gd name="T2" fmla="*/ 202 w 43"/>
                        <a:gd name="T3" fmla="*/ 58 h 24"/>
                        <a:gd name="T4" fmla="*/ 1 w 43"/>
                        <a:gd name="T5" fmla="*/ 163 h 24"/>
                        <a:gd name="T6" fmla="*/ 137 w 43"/>
                        <a:gd name="T7" fmla="*/ 285 h 24"/>
                        <a:gd name="T8" fmla="*/ 426 w 43"/>
                        <a:gd name="T9" fmla="*/ 181 h 24"/>
                        <a:gd name="T10" fmla="*/ 597 w 43"/>
                        <a:gd name="T11" fmla="*/ 181 h 24"/>
                        <a:gd name="T12" fmla="*/ 636 w 43"/>
                        <a:gd name="T13" fmla="*/ 0 h 24"/>
                        <a:gd name="T14" fmla="*/ 426 w 43"/>
                        <a:gd name="T15" fmla="*/ 70 h 24"/>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24"/>
                        <a:gd name="T26" fmla="*/ 43 w 43"/>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24">
                          <a:moveTo>
                            <a:pt x="28" y="6"/>
                          </a:moveTo>
                          <a:cubicBezTo>
                            <a:pt x="21" y="5"/>
                            <a:pt x="19" y="2"/>
                            <a:pt x="13" y="5"/>
                          </a:cubicBezTo>
                          <a:cubicBezTo>
                            <a:pt x="9" y="10"/>
                            <a:pt x="6" y="11"/>
                            <a:pt x="1" y="14"/>
                          </a:cubicBezTo>
                          <a:cubicBezTo>
                            <a:pt x="0" y="22"/>
                            <a:pt x="1" y="22"/>
                            <a:pt x="9" y="24"/>
                          </a:cubicBezTo>
                          <a:cubicBezTo>
                            <a:pt x="16" y="23"/>
                            <a:pt x="22" y="19"/>
                            <a:pt x="28" y="15"/>
                          </a:cubicBezTo>
                          <a:cubicBezTo>
                            <a:pt x="32" y="22"/>
                            <a:pt x="34" y="19"/>
                            <a:pt x="40" y="15"/>
                          </a:cubicBezTo>
                          <a:cubicBezTo>
                            <a:pt x="43" y="9"/>
                            <a:pt x="43" y="6"/>
                            <a:pt x="42" y="0"/>
                          </a:cubicBezTo>
                          <a:cubicBezTo>
                            <a:pt x="37" y="2"/>
                            <a:pt x="28" y="6"/>
                            <a:pt x="28" y="6"/>
                          </a:cubicBezTo>
                          <a:close/>
                        </a:path>
                      </a:pathLst>
                    </a:custGeom>
                    <a:solidFill>
                      <a:srgbClr val="6B4E27"/>
                    </a:solidFill>
                    <a:ln w="12700">
                      <a:noFill/>
                      <a:round/>
                      <a:headEnd/>
                      <a:tailEnd/>
                    </a:ln>
                  </p:spPr>
                  <p:txBody>
                    <a:bodyPr lIns="90000" tIns="46800" rIns="90000" bIns="46800" anchor="ctr"/>
                    <a:lstStyle/>
                    <a:p>
                      <a:pPr defTabSz="912546"/>
                      <a:endParaRPr>
                        <a:solidFill>
                          <a:srgbClr val="000000"/>
                        </a:solidFill>
                      </a:endParaRPr>
                    </a:p>
                  </p:txBody>
                </p:sp>
                <p:sp>
                  <p:nvSpPr>
                    <p:cNvPr id="441551" name="Freeform 867"/>
                    <p:cNvSpPr>
                      <a:spLocks/>
                    </p:cNvSpPr>
                    <p:nvPr/>
                  </p:nvSpPr>
                  <p:spPr bwMode="gray">
                    <a:xfrm>
                      <a:off x="4320" y="989"/>
                      <a:ext cx="33" cy="52"/>
                    </a:xfrm>
                    <a:custGeom>
                      <a:avLst/>
                      <a:gdLst>
                        <a:gd name="T0" fmla="*/ 2 w 29"/>
                        <a:gd name="T1" fmla="*/ 59 h 49"/>
                        <a:gd name="T2" fmla="*/ 112 w 29"/>
                        <a:gd name="T3" fmla="*/ 96 h 49"/>
                        <a:gd name="T4" fmla="*/ 158 w 29"/>
                        <a:gd name="T5" fmla="*/ 68 h 49"/>
                        <a:gd name="T6" fmla="*/ 127 w 29"/>
                        <a:gd name="T7" fmla="*/ 41 h 49"/>
                        <a:gd name="T8" fmla="*/ 47 w 29"/>
                        <a:gd name="T9" fmla="*/ 37 h 49"/>
                        <a:gd name="T10" fmla="*/ 0 w 29"/>
                        <a:gd name="T11" fmla="*/ 57 h 49"/>
                        <a:gd name="T12" fmla="*/ 2 w 29"/>
                        <a:gd name="T13" fmla="*/ 59 h 49"/>
                        <a:gd name="T14" fmla="*/ 0 60000 65536"/>
                        <a:gd name="T15" fmla="*/ 0 60000 65536"/>
                        <a:gd name="T16" fmla="*/ 0 60000 65536"/>
                        <a:gd name="T17" fmla="*/ 0 60000 65536"/>
                        <a:gd name="T18" fmla="*/ 0 60000 65536"/>
                        <a:gd name="T19" fmla="*/ 0 60000 65536"/>
                        <a:gd name="T20" fmla="*/ 0 60000 65536"/>
                        <a:gd name="T21" fmla="*/ 0 w 29"/>
                        <a:gd name="T22" fmla="*/ 0 h 49"/>
                        <a:gd name="T23" fmla="*/ 29 w 29"/>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49">
                          <a:moveTo>
                            <a:pt x="2" y="27"/>
                          </a:moveTo>
                          <a:cubicBezTo>
                            <a:pt x="3" y="49"/>
                            <a:pt x="1" y="46"/>
                            <a:pt x="21" y="44"/>
                          </a:cubicBezTo>
                          <a:cubicBezTo>
                            <a:pt x="27" y="40"/>
                            <a:pt x="26" y="38"/>
                            <a:pt x="29" y="32"/>
                          </a:cubicBezTo>
                          <a:cubicBezTo>
                            <a:pt x="28" y="28"/>
                            <a:pt x="29" y="0"/>
                            <a:pt x="24" y="20"/>
                          </a:cubicBezTo>
                          <a:cubicBezTo>
                            <a:pt x="18" y="17"/>
                            <a:pt x="15" y="17"/>
                            <a:pt x="9" y="18"/>
                          </a:cubicBezTo>
                          <a:cubicBezTo>
                            <a:pt x="3" y="28"/>
                            <a:pt x="4" y="16"/>
                            <a:pt x="0" y="26"/>
                          </a:cubicBezTo>
                          <a:cubicBezTo>
                            <a:pt x="2" y="31"/>
                            <a:pt x="2" y="31"/>
                            <a:pt x="2" y="27"/>
                          </a:cubicBezTo>
                          <a:close/>
                        </a:path>
                      </a:pathLst>
                    </a:custGeom>
                    <a:solidFill>
                      <a:srgbClr val="6B4E27"/>
                    </a:solidFill>
                    <a:ln w="12700">
                      <a:noFill/>
                      <a:round/>
                      <a:headEnd/>
                      <a:tailEnd/>
                    </a:ln>
                  </p:spPr>
                  <p:txBody>
                    <a:bodyPr lIns="90000" tIns="46800" rIns="90000" bIns="46800" anchor="ctr"/>
                    <a:lstStyle/>
                    <a:p>
                      <a:pPr defTabSz="912546"/>
                      <a:endParaRPr>
                        <a:solidFill>
                          <a:srgbClr val="000000"/>
                        </a:solidFill>
                      </a:endParaRPr>
                    </a:p>
                  </p:txBody>
                </p:sp>
                <p:sp>
                  <p:nvSpPr>
                    <p:cNvPr id="441552" name="Freeform 868"/>
                    <p:cNvSpPr>
                      <a:spLocks/>
                    </p:cNvSpPr>
                    <p:nvPr/>
                  </p:nvSpPr>
                  <p:spPr bwMode="gray">
                    <a:xfrm>
                      <a:off x="4276" y="613"/>
                      <a:ext cx="53" cy="41"/>
                    </a:xfrm>
                    <a:custGeom>
                      <a:avLst/>
                      <a:gdLst>
                        <a:gd name="T0" fmla="*/ 111 w 43"/>
                        <a:gd name="T1" fmla="*/ 2 h 37"/>
                        <a:gd name="T2" fmla="*/ 118 w 43"/>
                        <a:gd name="T3" fmla="*/ 75 h 37"/>
                        <a:gd name="T4" fmla="*/ 426 w 43"/>
                        <a:gd name="T5" fmla="*/ 102 h 37"/>
                        <a:gd name="T6" fmla="*/ 466 w 43"/>
                        <a:gd name="T7" fmla="*/ 135 h 37"/>
                        <a:gd name="T8" fmla="*/ 597 w 43"/>
                        <a:gd name="T9" fmla="*/ 125 h 37"/>
                        <a:gd name="T10" fmla="*/ 389 w 43"/>
                        <a:gd name="T11" fmla="*/ 0 h 37"/>
                        <a:gd name="T12" fmla="*/ 111 w 43"/>
                        <a:gd name="T13" fmla="*/ 2 h 37"/>
                        <a:gd name="T14" fmla="*/ 0 60000 65536"/>
                        <a:gd name="T15" fmla="*/ 0 60000 65536"/>
                        <a:gd name="T16" fmla="*/ 0 60000 65536"/>
                        <a:gd name="T17" fmla="*/ 0 60000 65536"/>
                        <a:gd name="T18" fmla="*/ 0 60000 65536"/>
                        <a:gd name="T19" fmla="*/ 0 60000 65536"/>
                        <a:gd name="T20" fmla="*/ 0 60000 65536"/>
                        <a:gd name="T21" fmla="*/ 0 w 43"/>
                        <a:gd name="T22" fmla="*/ 0 h 37"/>
                        <a:gd name="T23" fmla="*/ 43 w 43"/>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7">
                          <a:moveTo>
                            <a:pt x="7" y="2"/>
                          </a:moveTo>
                          <a:cubicBezTo>
                            <a:pt x="3" y="10"/>
                            <a:pt x="0" y="14"/>
                            <a:pt x="8" y="20"/>
                          </a:cubicBezTo>
                          <a:cubicBezTo>
                            <a:pt x="14" y="5"/>
                            <a:pt x="19" y="22"/>
                            <a:pt x="28" y="27"/>
                          </a:cubicBezTo>
                          <a:cubicBezTo>
                            <a:pt x="29" y="34"/>
                            <a:pt x="22" y="37"/>
                            <a:pt x="31" y="35"/>
                          </a:cubicBezTo>
                          <a:cubicBezTo>
                            <a:pt x="32" y="28"/>
                            <a:pt x="36" y="27"/>
                            <a:pt x="40" y="33"/>
                          </a:cubicBezTo>
                          <a:cubicBezTo>
                            <a:pt x="43" y="15"/>
                            <a:pt x="42" y="9"/>
                            <a:pt x="26" y="0"/>
                          </a:cubicBezTo>
                          <a:cubicBezTo>
                            <a:pt x="21" y="3"/>
                            <a:pt x="12" y="7"/>
                            <a:pt x="7" y="2"/>
                          </a:cubicBezTo>
                          <a:close/>
                        </a:path>
                      </a:pathLst>
                    </a:custGeom>
                    <a:solidFill>
                      <a:srgbClr val="CFB25F"/>
                    </a:solidFill>
                    <a:ln w="12700">
                      <a:noFill/>
                      <a:round/>
                      <a:headEnd/>
                      <a:tailEnd/>
                    </a:ln>
                  </p:spPr>
                  <p:txBody>
                    <a:bodyPr lIns="90000" tIns="46800" rIns="90000" bIns="46800" anchor="ctr"/>
                    <a:lstStyle/>
                    <a:p>
                      <a:pPr defTabSz="912546"/>
                      <a:endParaRPr>
                        <a:solidFill>
                          <a:srgbClr val="000000"/>
                        </a:solidFill>
                      </a:endParaRPr>
                    </a:p>
                  </p:txBody>
                </p:sp>
                <p:sp>
                  <p:nvSpPr>
                    <p:cNvPr id="441553" name="Freeform 869"/>
                    <p:cNvSpPr>
                      <a:spLocks/>
                    </p:cNvSpPr>
                    <p:nvPr/>
                  </p:nvSpPr>
                  <p:spPr bwMode="gray">
                    <a:xfrm>
                      <a:off x="4307" y="696"/>
                      <a:ext cx="49" cy="104"/>
                    </a:xfrm>
                    <a:custGeom>
                      <a:avLst/>
                      <a:gdLst>
                        <a:gd name="T0" fmla="*/ 137 w 43"/>
                        <a:gd name="T1" fmla="*/ 0 h 98"/>
                        <a:gd name="T2" fmla="*/ 92 w 43"/>
                        <a:gd name="T3" fmla="*/ 27 h 98"/>
                        <a:gd name="T4" fmla="*/ 156 w 43"/>
                        <a:gd name="T5" fmla="*/ 91 h 98"/>
                        <a:gd name="T6" fmla="*/ 207 w 43"/>
                        <a:gd name="T7" fmla="*/ 106 h 98"/>
                        <a:gd name="T8" fmla="*/ 178 w 43"/>
                        <a:gd name="T9" fmla="*/ 126 h 98"/>
                        <a:gd name="T10" fmla="*/ 141 w 43"/>
                        <a:gd name="T11" fmla="*/ 184 h 98"/>
                        <a:gd name="T12" fmla="*/ 236 w 43"/>
                        <a:gd name="T13" fmla="*/ 207 h 98"/>
                        <a:gd name="T14" fmla="*/ 124 w 43"/>
                        <a:gd name="T15" fmla="*/ 202 h 98"/>
                        <a:gd name="T16" fmla="*/ 120 w 43"/>
                        <a:gd name="T17" fmla="*/ 189 h 98"/>
                        <a:gd name="T18" fmla="*/ 141 w 43"/>
                        <a:gd name="T19" fmla="*/ 158 h 98"/>
                        <a:gd name="T20" fmla="*/ 137 w 43"/>
                        <a:gd name="T21" fmla="*/ 103 h 98"/>
                        <a:gd name="T22" fmla="*/ 92 w 43"/>
                        <a:gd name="T23" fmla="*/ 123 h 98"/>
                        <a:gd name="T24" fmla="*/ 124 w 43"/>
                        <a:gd name="T25" fmla="*/ 94 h 98"/>
                        <a:gd name="T26" fmla="*/ 62 w 43"/>
                        <a:gd name="T27" fmla="*/ 59 h 98"/>
                        <a:gd name="T28" fmla="*/ 76 w 43"/>
                        <a:gd name="T29" fmla="*/ 23 h 98"/>
                        <a:gd name="T30" fmla="*/ 137 w 43"/>
                        <a:gd name="T31" fmla="*/ 0 h 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
                        <a:gd name="T49" fmla="*/ 0 h 98"/>
                        <a:gd name="T50" fmla="*/ 43 w 43"/>
                        <a:gd name="T51" fmla="*/ 98 h 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 h="98">
                          <a:moveTo>
                            <a:pt x="25" y="0"/>
                          </a:moveTo>
                          <a:cubicBezTo>
                            <a:pt x="22" y="4"/>
                            <a:pt x="20" y="9"/>
                            <a:pt x="17" y="13"/>
                          </a:cubicBezTo>
                          <a:cubicBezTo>
                            <a:pt x="15" y="25"/>
                            <a:pt x="16" y="40"/>
                            <a:pt x="28" y="42"/>
                          </a:cubicBezTo>
                          <a:cubicBezTo>
                            <a:pt x="30" y="50"/>
                            <a:pt x="30" y="50"/>
                            <a:pt x="38" y="49"/>
                          </a:cubicBezTo>
                          <a:cubicBezTo>
                            <a:pt x="35" y="55"/>
                            <a:pt x="34" y="51"/>
                            <a:pt x="32" y="58"/>
                          </a:cubicBezTo>
                          <a:cubicBezTo>
                            <a:pt x="31" y="67"/>
                            <a:pt x="26" y="85"/>
                            <a:pt x="26" y="85"/>
                          </a:cubicBezTo>
                          <a:cubicBezTo>
                            <a:pt x="30" y="91"/>
                            <a:pt x="36" y="93"/>
                            <a:pt x="43" y="96"/>
                          </a:cubicBezTo>
                          <a:cubicBezTo>
                            <a:pt x="35" y="98"/>
                            <a:pt x="30" y="94"/>
                            <a:pt x="23" y="93"/>
                          </a:cubicBezTo>
                          <a:cubicBezTo>
                            <a:pt x="0" y="97"/>
                            <a:pt x="8" y="95"/>
                            <a:pt x="22" y="87"/>
                          </a:cubicBezTo>
                          <a:cubicBezTo>
                            <a:pt x="23" y="82"/>
                            <a:pt x="25" y="78"/>
                            <a:pt x="26" y="73"/>
                          </a:cubicBezTo>
                          <a:cubicBezTo>
                            <a:pt x="26" y="65"/>
                            <a:pt x="27" y="56"/>
                            <a:pt x="25" y="48"/>
                          </a:cubicBezTo>
                          <a:cubicBezTo>
                            <a:pt x="24" y="44"/>
                            <a:pt x="17" y="57"/>
                            <a:pt x="17" y="57"/>
                          </a:cubicBezTo>
                          <a:cubicBezTo>
                            <a:pt x="20" y="52"/>
                            <a:pt x="22" y="49"/>
                            <a:pt x="23" y="43"/>
                          </a:cubicBezTo>
                          <a:cubicBezTo>
                            <a:pt x="19" y="37"/>
                            <a:pt x="14" y="34"/>
                            <a:pt x="11" y="27"/>
                          </a:cubicBezTo>
                          <a:cubicBezTo>
                            <a:pt x="12" y="21"/>
                            <a:pt x="13" y="16"/>
                            <a:pt x="14" y="10"/>
                          </a:cubicBezTo>
                          <a:cubicBezTo>
                            <a:pt x="15" y="7"/>
                            <a:pt x="35" y="0"/>
                            <a:pt x="25" y="0"/>
                          </a:cubicBezTo>
                          <a:close/>
                        </a:path>
                      </a:pathLst>
                    </a:custGeom>
                    <a:solidFill>
                      <a:srgbClr val="8CB6D6"/>
                    </a:solidFill>
                    <a:ln w="12700">
                      <a:noFill/>
                      <a:round/>
                      <a:headEnd/>
                      <a:tailEnd/>
                    </a:ln>
                  </p:spPr>
                  <p:txBody>
                    <a:bodyPr lIns="90000" tIns="46800" rIns="90000" bIns="46800" anchor="ctr"/>
                    <a:lstStyle/>
                    <a:p>
                      <a:pPr defTabSz="912546"/>
                      <a:endParaRPr>
                        <a:solidFill>
                          <a:srgbClr val="000000"/>
                        </a:solidFill>
                      </a:endParaRPr>
                    </a:p>
                  </p:txBody>
                </p:sp>
                <p:sp>
                  <p:nvSpPr>
                    <p:cNvPr id="441554" name="Freeform 870"/>
                    <p:cNvSpPr>
                      <a:spLocks/>
                    </p:cNvSpPr>
                    <p:nvPr/>
                  </p:nvSpPr>
                  <p:spPr bwMode="gray">
                    <a:xfrm>
                      <a:off x="4275" y="673"/>
                      <a:ext cx="49" cy="36"/>
                    </a:xfrm>
                    <a:custGeom>
                      <a:avLst/>
                      <a:gdLst>
                        <a:gd name="T0" fmla="*/ 209 w 43"/>
                        <a:gd name="T1" fmla="*/ 1 h 34"/>
                        <a:gd name="T2" fmla="*/ 203 w 43"/>
                        <a:gd name="T3" fmla="*/ 56 h 34"/>
                        <a:gd name="T4" fmla="*/ 113 w 43"/>
                        <a:gd name="T5" fmla="*/ 56 h 34"/>
                        <a:gd name="T6" fmla="*/ 76 w 43"/>
                        <a:gd name="T7" fmla="*/ 70 h 34"/>
                        <a:gd name="T8" fmla="*/ 67 w 43"/>
                        <a:gd name="T9" fmla="*/ 38 h 34"/>
                        <a:gd name="T10" fmla="*/ 0 w 43"/>
                        <a:gd name="T11" fmla="*/ 34 h 34"/>
                        <a:gd name="T12" fmla="*/ 28 w 43"/>
                        <a:gd name="T13" fmla="*/ 38 h 34"/>
                        <a:gd name="T14" fmla="*/ 92 w 43"/>
                        <a:gd name="T15" fmla="*/ 44 h 34"/>
                        <a:gd name="T16" fmla="*/ 160 w 43"/>
                        <a:gd name="T17" fmla="*/ 38 h 34"/>
                        <a:gd name="T18" fmla="*/ 207 w 43"/>
                        <a:gd name="T19" fmla="*/ 26 h 34"/>
                        <a:gd name="T20" fmla="*/ 209 w 43"/>
                        <a:gd name="T21" fmla="*/ 1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34"/>
                        <a:gd name="T35" fmla="*/ 43 w 43"/>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34">
                          <a:moveTo>
                            <a:pt x="39" y="1"/>
                          </a:moveTo>
                          <a:cubicBezTo>
                            <a:pt x="43" y="9"/>
                            <a:pt x="40" y="18"/>
                            <a:pt x="36" y="26"/>
                          </a:cubicBezTo>
                          <a:cubicBezTo>
                            <a:pt x="30" y="22"/>
                            <a:pt x="28" y="25"/>
                            <a:pt x="21" y="26"/>
                          </a:cubicBezTo>
                          <a:cubicBezTo>
                            <a:pt x="18" y="28"/>
                            <a:pt x="14" y="34"/>
                            <a:pt x="14" y="34"/>
                          </a:cubicBezTo>
                          <a:cubicBezTo>
                            <a:pt x="15" y="28"/>
                            <a:pt x="15" y="24"/>
                            <a:pt x="12" y="19"/>
                          </a:cubicBezTo>
                          <a:cubicBezTo>
                            <a:pt x="4" y="25"/>
                            <a:pt x="4" y="28"/>
                            <a:pt x="0" y="17"/>
                          </a:cubicBezTo>
                          <a:cubicBezTo>
                            <a:pt x="4" y="10"/>
                            <a:pt x="2" y="0"/>
                            <a:pt x="5" y="19"/>
                          </a:cubicBezTo>
                          <a:cubicBezTo>
                            <a:pt x="11" y="14"/>
                            <a:pt x="13" y="16"/>
                            <a:pt x="17" y="22"/>
                          </a:cubicBezTo>
                          <a:cubicBezTo>
                            <a:pt x="19" y="32"/>
                            <a:pt x="20" y="21"/>
                            <a:pt x="29" y="19"/>
                          </a:cubicBezTo>
                          <a:cubicBezTo>
                            <a:pt x="36" y="24"/>
                            <a:pt x="35" y="19"/>
                            <a:pt x="38" y="13"/>
                          </a:cubicBezTo>
                          <a:cubicBezTo>
                            <a:pt x="39" y="6"/>
                            <a:pt x="39" y="10"/>
                            <a:pt x="39" y="1"/>
                          </a:cubicBezTo>
                          <a:close/>
                        </a:path>
                      </a:pathLst>
                    </a:custGeom>
                    <a:solidFill>
                      <a:srgbClr val="8CB6D6"/>
                    </a:solidFill>
                    <a:ln w="12700">
                      <a:noFill/>
                      <a:round/>
                      <a:headEnd/>
                      <a:tailEnd/>
                    </a:ln>
                  </p:spPr>
                  <p:txBody>
                    <a:bodyPr lIns="90000" tIns="46800" rIns="90000" bIns="46800" anchor="ctr"/>
                    <a:lstStyle/>
                    <a:p>
                      <a:pPr defTabSz="912546"/>
                      <a:endParaRPr>
                        <a:solidFill>
                          <a:srgbClr val="000000"/>
                        </a:solidFill>
                      </a:endParaRPr>
                    </a:p>
                  </p:txBody>
                </p:sp>
                <p:sp>
                  <p:nvSpPr>
                    <p:cNvPr id="441555" name="Freeform 871"/>
                    <p:cNvSpPr>
                      <a:spLocks/>
                    </p:cNvSpPr>
                    <p:nvPr/>
                  </p:nvSpPr>
                  <p:spPr bwMode="gray">
                    <a:xfrm>
                      <a:off x="4279" y="693"/>
                      <a:ext cx="18" cy="62"/>
                    </a:xfrm>
                    <a:custGeom>
                      <a:avLst/>
                      <a:gdLst>
                        <a:gd name="T0" fmla="*/ 69 w 16"/>
                        <a:gd name="T1" fmla="*/ 3 h 58"/>
                        <a:gd name="T2" fmla="*/ 38 w 16"/>
                        <a:gd name="T3" fmla="*/ 53 h 58"/>
                        <a:gd name="T4" fmla="*/ 3 w 16"/>
                        <a:gd name="T5" fmla="*/ 107 h 58"/>
                        <a:gd name="T6" fmla="*/ 0 w 16"/>
                        <a:gd name="T7" fmla="*/ 100 h 58"/>
                        <a:gd name="T8" fmla="*/ 24 w 16"/>
                        <a:gd name="T9" fmla="*/ 64 h 58"/>
                        <a:gd name="T10" fmla="*/ 48 w 16"/>
                        <a:gd name="T11" fmla="*/ 6 h 58"/>
                        <a:gd name="T12" fmla="*/ 54 w 16"/>
                        <a:gd name="T13" fmla="*/ 1 h 58"/>
                        <a:gd name="T14" fmla="*/ 69 w 16"/>
                        <a:gd name="T15" fmla="*/ 3 h 58"/>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8"/>
                        <a:gd name="T26" fmla="*/ 16 w 1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8">
                          <a:moveTo>
                            <a:pt x="15" y="3"/>
                          </a:moveTo>
                          <a:cubicBezTo>
                            <a:pt x="14" y="9"/>
                            <a:pt x="12" y="16"/>
                            <a:pt x="9" y="22"/>
                          </a:cubicBezTo>
                          <a:cubicBezTo>
                            <a:pt x="7" y="30"/>
                            <a:pt x="3" y="45"/>
                            <a:pt x="3" y="45"/>
                          </a:cubicBezTo>
                          <a:cubicBezTo>
                            <a:pt x="7" y="58"/>
                            <a:pt x="3" y="46"/>
                            <a:pt x="0" y="42"/>
                          </a:cubicBezTo>
                          <a:cubicBezTo>
                            <a:pt x="2" y="37"/>
                            <a:pt x="3" y="32"/>
                            <a:pt x="5" y="27"/>
                          </a:cubicBezTo>
                          <a:cubicBezTo>
                            <a:pt x="6" y="20"/>
                            <a:pt x="8" y="12"/>
                            <a:pt x="11" y="6"/>
                          </a:cubicBezTo>
                          <a:cubicBezTo>
                            <a:pt x="11" y="4"/>
                            <a:pt x="10" y="2"/>
                            <a:pt x="12" y="1"/>
                          </a:cubicBezTo>
                          <a:cubicBezTo>
                            <a:pt x="13" y="0"/>
                            <a:pt x="16" y="3"/>
                            <a:pt x="15" y="3"/>
                          </a:cubicBezTo>
                          <a:close/>
                        </a:path>
                      </a:pathLst>
                    </a:custGeom>
                    <a:solidFill>
                      <a:srgbClr val="8CB6D6"/>
                    </a:solidFill>
                    <a:ln w="12700">
                      <a:noFill/>
                      <a:round/>
                      <a:headEnd/>
                      <a:tailEnd/>
                    </a:ln>
                  </p:spPr>
                  <p:txBody>
                    <a:bodyPr lIns="90000" tIns="46800" rIns="90000" bIns="46800" anchor="ctr"/>
                    <a:lstStyle/>
                    <a:p>
                      <a:pPr defTabSz="912546"/>
                      <a:endParaRPr>
                        <a:solidFill>
                          <a:srgbClr val="000000"/>
                        </a:solidFill>
                      </a:endParaRPr>
                    </a:p>
                  </p:txBody>
                </p:sp>
                <p:sp>
                  <p:nvSpPr>
                    <p:cNvPr id="441556" name="Freeform 872"/>
                    <p:cNvSpPr>
                      <a:spLocks/>
                    </p:cNvSpPr>
                    <p:nvPr/>
                  </p:nvSpPr>
                  <p:spPr bwMode="gray">
                    <a:xfrm>
                      <a:off x="4245" y="693"/>
                      <a:ext cx="46" cy="111"/>
                    </a:xfrm>
                    <a:custGeom>
                      <a:avLst/>
                      <a:gdLst>
                        <a:gd name="T0" fmla="*/ 105 w 40"/>
                        <a:gd name="T1" fmla="*/ 0 h 104"/>
                        <a:gd name="T2" fmla="*/ 69 w 40"/>
                        <a:gd name="T3" fmla="*/ 29 h 104"/>
                        <a:gd name="T4" fmla="*/ 64 w 40"/>
                        <a:gd name="T5" fmla="*/ 95 h 104"/>
                        <a:gd name="T6" fmla="*/ 156 w 40"/>
                        <a:gd name="T7" fmla="*/ 149 h 104"/>
                        <a:gd name="T8" fmla="*/ 69 w 40"/>
                        <a:gd name="T9" fmla="*/ 148 h 104"/>
                        <a:gd name="T10" fmla="*/ 118 w 40"/>
                        <a:gd name="T11" fmla="*/ 219 h 104"/>
                        <a:gd name="T12" fmla="*/ 160 w 40"/>
                        <a:gd name="T13" fmla="*/ 237 h 104"/>
                        <a:gd name="T14" fmla="*/ 69 w 40"/>
                        <a:gd name="T15" fmla="*/ 222 h 104"/>
                        <a:gd name="T16" fmla="*/ 49 w 40"/>
                        <a:gd name="T17" fmla="*/ 141 h 104"/>
                        <a:gd name="T18" fmla="*/ 105 w 40"/>
                        <a:gd name="T19" fmla="*/ 0 h 1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04"/>
                        <a:gd name="T32" fmla="*/ 40 w 40"/>
                        <a:gd name="T33" fmla="*/ 104 h 1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04">
                          <a:moveTo>
                            <a:pt x="17" y="0"/>
                          </a:moveTo>
                          <a:cubicBezTo>
                            <a:pt x="14" y="4"/>
                            <a:pt x="13" y="8"/>
                            <a:pt x="11" y="13"/>
                          </a:cubicBezTo>
                          <a:cubicBezTo>
                            <a:pt x="9" y="22"/>
                            <a:pt x="12" y="31"/>
                            <a:pt x="10" y="40"/>
                          </a:cubicBezTo>
                          <a:cubicBezTo>
                            <a:pt x="11" y="55"/>
                            <a:pt x="10" y="61"/>
                            <a:pt x="25" y="64"/>
                          </a:cubicBezTo>
                          <a:cubicBezTo>
                            <a:pt x="35" y="71"/>
                            <a:pt x="14" y="63"/>
                            <a:pt x="11" y="63"/>
                          </a:cubicBezTo>
                          <a:cubicBezTo>
                            <a:pt x="9" y="73"/>
                            <a:pt x="5" y="91"/>
                            <a:pt x="19" y="94"/>
                          </a:cubicBezTo>
                          <a:cubicBezTo>
                            <a:pt x="23" y="97"/>
                            <a:pt x="40" y="104"/>
                            <a:pt x="26" y="102"/>
                          </a:cubicBezTo>
                          <a:cubicBezTo>
                            <a:pt x="21" y="98"/>
                            <a:pt x="17" y="97"/>
                            <a:pt x="11" y="96"/>
                          </a:cubicBezTo>
                          <a:cubicBezTo>
                            <a:pt x="0" y="88"/>
                            <a:pt x="5" y="74"/>
                            <a:pt x="8" y="61"/>
                          </a:cubicBezTo>
                          <a:cubicBezTo>
                            <a:pt x="6" y="46"/>
                            <a:pt x="1" y="12"/>
                            <a:pt x="17" y="0"/>
                          </a:cubicBezTo>
                          <a:close/>
                        </a:path>
                      </a:pathLst>
                    </a:custGeom>
                    <a:solidFill>
                      <a:srgbClr val="8CB6D6"/>
                    </a:solidFill>
                    <a:ln w="12700">
                      <a:noFill/>
                      <a:round/>
                      <a:headEnd/>
                      <a:tailEnd/>
                    </a:ln>
                  </p:spPr>
                  <p:txBody>
                    <a:bodyPr lIns="90000" tIns="46800" rIns="90000" bIns="46800" anchor="ctr"/>
                    <a:lstStyle/>
                    <a:p>
                      <a:pPr defTabSz="912546"/>
                      <a:endParaRPr>
                        <a:solidFill>
                          <a:srgbClr val="000000"/>
                        </a:solidFill>
                      </a:endParaRPr>
                    </a:p>
                  </p:txBody>
                </p:sp>
                <p:sp>
                  <p:nvSpPr>
                    <p:cNvPr id="441557" name="Freeform 873"/>
                    <p:cNvSpPr>
                      <a:spLocks/>
                    </p:cNvSpPr>
                    <p:nvPr/>
                  </p:nvSpPr>
                  <p:spPr bwMode="gray">
                    <a:xfrm>
                      <a:off x="4292" y="738"/>
                      <a:ext cx="50" cy="59"/>
                    </a:xfrm>
                    <a:custGeom>
                      <a:avLst/>
                      <a:gdLst>
                        <a:gd name="T0" fmla="*/ 231 w 43"/>
                        <a:gd name="T1" fmla="*/ 0 h 56"/>
                        <a:gd name="T2" fmla="*/ 142 w 43"/>
                        <a:gd name="T3" fmla="*/ 42 h 56"/>
                        <a:gd name="T4" fmla="*/ 0 w 43"/>
                        <a:gd name="T5" fmla="*/ 82 h 56"/>
                        <a:gd name="T6" fmla="*/ 213 w 43"/>
                        <a:gd name="T7" fmla="*/ 42 h 56"/>
                        <a:gd name="T8" fmla="*/ 192 w 43"/>
                        <a:gd name="T9" fmla="*/ 76 h 56"/>
                        <a:gd name="T10" fmla="*/ 186 w 43"/>
                        <a:gd name="T11" fmla="*/ 102 h 56"/>
                        <a:gd name="T12" fmla="*/ 251 w 43"/>
                        <a:gd name="T13" fmla="*/ 76 h 56"/>
                        <a:gd name="T14" fmla="*/ 292 w 43"/>
                        <a:gd name="T15" fmla="*/ 34 h 56"/>
                        <a:gd name="T16" fmla="*/ 231 w 43"/>
                        <a:gd name="T17" fmla="*/ 0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56"/>
                        <a:gd name="T29" fmla="*/ 43 w 43"/>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56">
                          <a:moveTo>
                            <a:pt x="33" y="0"/>
                          </a:moveTo>
                          <a:cubicBezTo>
                            <a:pt x="32" y="8"/>
                            <a:pt x="26" y="17"/>
                            <a:pt x="20" y="22"/>
                          </a:cubicBezTo>
                          <a:cubicBezTo>
                            <a:pt x="15" y="31"/>
                            <a:pt x="9" y="37"/>
                            <a:pt x="0" y="42"/>
                          </a:cubicBezTo>
                          <a:cubicBezTo>
                            <a:pt x="14" y="45"/>
                            <a:pt x="19" y="28"/>
                            <a:pt x="29" y="22"/>
                          </a:cubicBezTo>
                          <a:cubicBezTo>
                            <a:pt x="30" y="28"/>
                            <a:pt x="29" y="33"/>
                            <a:pt x="27" y="39"/>
                          </a:cubicBezTo>
                          <a:cubicBezTo>
                            <a:pt x="26" y="46"/>
                            <a:pt x="17" y="56"/>
                            <a:pt x="26" y="52"/>
                          </a:cubicBezTo>
                          <a:cubicBezTo>
                            <a:pt x="30" y="48"/>
                            <a:pt x="32" y="44"/>
                            <a:pt x="35" y="39"/>
                          </a:cubicBezTo>
                          <a:cubicBezTo>
                            <a:pt x="36" y="32"/>
                            <a:pt x="38" y="24"/>
                            <a:pt x="41" y="18"/>
                          </a:cubicBezTo>
                          <a:cubicBezTo>
                            <a:pt x="43" y="7"/>
                            <a:pt x="39" y="7"/>
                            <a:pt x="33" y="0"/>
                          </a:cubicBezTo>
                          <a:close/>
                        </a:path>
                      </a:pathLst>
                    </a:custGeom>
                    <a:solidFill>
                      <a:srgbClr val="8CB6D6"/>
                    </a:solidFill>
                    <a:ln w="12700">
                      <a:noFill/>
                      <a:round/>
                      <a:headEnd/>
                      <a:tailEnd/>
                    </a:ln>
                  </p:spPr>
                  <p:txBody>
                    <a:bodyPr lIns="90000" tIns="46800" rIns="90000" bIns="46800" anchor="ctr"/>
                    <a:lstStyle/>
                    <a:p>
                      <a:pPr defTabSz="912546"/>
                      <a:endParaRPr>
                        <a:solidFill>
                          <a:srgbClr val="000000"/>
                        </a:solidFill>
                      </a:endParaRPr>
                    </a:p>
                  </p:txBody>
                </p:sp>
                <p:sp>
                  <p:nvSpPr>
                    <p:cNvPr id="441558" name="Freeform 874"/>
                    <p:cNvSpPr>
                      <a:spLocks/>
                    </p:cNvSpPr>
                    <p:nvPr/>
                  </p:nvSpPr>
                  <p:spPr bwMode="gray">
                    <a:xfrm>
                      <a:off x="4331" y="812"/>
                      <a:ext cx="21" cy="25"/>
                    </a:xfrm>
                    <a:custGeom>
                      <a:avLst/>
                      <a:gdLst>
                        <a:gd name="T0" fmla="*/ 2 w 18"/>
                        <a:gd name="T1" fmla="*/ 0 h 23"/>
                        <a:gd name="T2" fmla="*/ 76 w 18"/>
                        <a:gd name="T3" fmla="*/ 50 h 23"/>
                        <a:gd name="T4" fmla="*/ 2 w 18"/>
                        <a:gd name="T5" fmla="*/ 0 h 23"/>
                        <a:gd name="T6" fmla="*/ 0 60000 65536"/>
                        <a:gd name="T7" fmla="*/ 0 60000 65536"/>
                        <a:gd name="T8" fmla="*/ 0 60000 65536"/>
                        <a:gd name="T9" fmla="*/ 0 w 18"/>
                        <a:gd name="T10" fmla="*/ 0 h 23"/>
                        <a:gd name="T11" fmla="*/ 18 w 18"/>
                        <a:gd name="T12" fmla="*/ 23 h 23"/>
                      </a:gdLst>
                      <a:ahLst/>
                      <a:cxnLst>
                        <a:cxn ang="T6">
                          <a:pos x="T0" y="T1"/>
                        </a:cxn>
                        <a:cxn ang="T7">
                          <a:pos x="T2" y="T3"/>
                        </a:cxn>
                        <a:cxn ang="T8">
                          <a:pos x="T4" y="T5"/>
                        </a:cxn>
                      </a:cxnLst>
                      <a:rect l="T9" t="T10" r="T11" b="T12"/>
                      <a:pathLst>
                        <a:path w="18" h="23">
                          <a:moveTo>
                            <a:pt x="2" y="0"/>
                          </a:moveTo>
                          <a:cubicBezTo>
                            <a:pt x="3" y="9"/>
                            <a:pt x="0" y="23"/>
                            <a:pt x="10" y="17"/>
                          </a:cubicBezTo>
                          <a:cubicBezTo>
                            <a:pt x="18" y="4"/>
                            <a:pt x="11" y="6"/>
                            <a:pt x="2" y="0"/>
                          </a:cubicBezTo>
                          <a:close/>
                        </a:path>
                      </a:pathLst>
                    </a:custGeom>
                    <a:solidFill>
                      <a:srgbClr val="ECC392"/>
                    </a:solidFill>
                    <a:ln w="12700">
                      <a:noFill/>
                      <a:round/>
                      <a:headEnd/>
                      <a:tailEnd/>
                    </a:ln>
                  </p:spPr>
                  <p:txBody>
                    <a:bodyPr lIns="90000" tIns="46800" rIns="90000" bIns="46800" anchor="ctr"/>
                    <a:lstStyle/>
                    <a:p>
                      <a:pPr defTabSz="912546"/>
                      <a:endParaRPr>
                        <a:solidFill>
                          <a:srgbClr val="000000"/>
                        </a:solidFill>
                      </a:endParaRPr>
                    </a:p>
                  </p:txBody>
                </p:sp>
                <p:sp>
                  <p:nvSpPr>
                    <p:cNvPr id="441559" name="Freeform 875"/>
                    <p:cNvSpPr>
                      <a:spLocks/>
                    </p:cNvSpPr>
                    <p:nvPr/>
                  </p:nvSpPr>
                  <p:spPr bwMode="gray">
                    <a:xfrm>
                      <a:off x="4241" y="790"/>
                      <a:ext cx="15" cy="25"/>
                    </a:xfrm>
                    <a:custGeom>
                      <a:avLst/>
                      <a:gdLst>
                        <a:gd name="T0" fmla="*/ 0 w 13"/>
                        <a:gd name="T1" fmla="*/ 3 h 24"/>
                        <a:gd name="T2" fmla="*/ 50 w 13"/>
                        <a:gd name="T3" fmla="*/ 38 h 24"/>
                        <a:gd name="T4" fmla="*/ 58 w 13"/>
                        <a:gd name="T5" fmla="*/ 8 h 24"/>
                        <a:gd name="T6" fmla="*/ 0 w 13"/>
                        <a:gd name="T7" fmla="*/ 3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3"/>
                          </a:moveTo>
                          <a:cubicBezTo>
                            <a:pt x="2" y="13"/>
                            <a:pt x="2" y="16"/>
                            <a:pt x="8" y="24"/>
                          </a:cubicBezTo>
                          <a:cubicBezTo>
                            <a:pt x="9" y="18"/>
                            <a:pt x="13" y="14"/>
                            <a:pt x="9" y="8"/>
                          </a:cubicBezTo>
                          <a:cubicBezTo>
                            <a:pt x="9" y="7"/>
                            <a:pt x="0" y="0"/>
                            <a:pt x="0" y="3"/>
                          </a:cubicBezTo>
                          <a:close/>
                        </a:path>
                      </a:pathLst>
                    </a:custGeom>
                    <a:solidFill>
                      <a:srgbClr val="ECC392"/>
                    </a:solidFill>
                    <a:ln w="12700">
                      <a:noFill/>
                      <a:round/>
                      <a:headEnd/>
                      <a:tailEnd/>
                    </a:ln>
                  </p:spPr>
                  <p:txBody>
                    <a:bodyPr lIns="90000" tIns="46800" rIns="90000" bIns="46800" anchor="ctr"/>
                    <a:lstStyle/>
                    <a:p>
                      <a:pPr defTabSz="912546"/>
                      <a:endParaRPr>
                        <a:solidFill>
                          <a:srgbClr val="000000"/>
                        </a:solidFill>
                      </a:endParaRPr>
                    </a:p>
                  </p:txBody>
                </p:sp>
                <p:sp>
                  <p:nvSpPr>
                    <p:cNvPr id="441560" name="Freeform 876"/>
                    <p:cNvSpPr>
                      <a:spLocks/>
                    </p:cNvSpPr>
                    <p:nvPr/>
                  </p:nvSpPr>
                  <p:spPr bwMode="gray">
                    <a:xfrm>
                      <a:off x="4290" y="661"/>
                      <a:ext cx="23" cy="27"/>
                    </a:xfrm>
                    <a:custGeom>
                      <a:avLst/>
                      <a:gdLst>
                        <a:gd name="T0" fmla="*/ 121 w 20"/>
                        <a:gd name="T1" fmla="*/ 0 h 25"/>
                        <a:gd name="T2" fmla="*/ 49 w 20"/>
                        <a:gd name="T3" fmla="*/ 27 h 25"/>
                        <a:gd name="T4" fmla="*/ 28 w 20"/>
                        <a:gd name="T5" fmla="*/ 67 h 25"/>
                        <a:gd name="T6" fmla="*/ 64 w 20"/>
                        <a:gd name="T7" fmla="*/ 57 h 25"/>
                        <a:gd name="T8" fmla="*/ 98 w 20"/>
                        <a:gd name="T9" fmla="*/ 27 h 25"/>
                        <a:gd name="T10" fmla="*/ 121 w 20"/>
                        <a:gd name="T11" fmla="*/ 0 h 25"/>
                        <a:gd name="T12" fmla="*/ 0 60000 65536"/>
                        <a:gd name="T13" fmla="*/ 0 60000 65536"/>
                        <a:gd name="T14" fmla="*/ 0 60000 65536"/>
                        <a:gd name="T15" fmla="*/ 0 60000 65536"/>
                        <a:gd name="T16" fmla="*/ 0 60000 65536"/>
                        <a:gd name="T17" fmla="*/ 0 60000 65536"/>
                        <a:gd name="T18" fmla="*/ 0 w 20"/>
                        <a:gd name="T19" fmla="*/ 0 h 25"/>
                        <a:gd name="T20" fmla="*/ 20 w 20"/>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0" h="25">
                          <a:moveTo>
                            <a:pt x="20" y="0"/>
                          </a:moveTo>
                          <a:cubicBezTo>
                            <a:pt x="19" y="8"/>
                            <a:pt x="16" y="9"/>
                            <a:pt x="8" y="10"/>
                          </a:cubicBezTo>
                          <a:cubicBezTo>
                            <a:pt x="0" y="14"/>
                            <a:pt x="2" y="16"/>
                            <a:pt x="4" y="25"/>
                          </a:cubicBezTo>
                          <a:cubicBezTo>
                            <a:pt x="7" y="24"/>
                            <a:pt x="20" y="16"/>
                            <a:pt x="10" y="21"/>
                          </a:cubicBezTo>
                          <a:cubicBezTo>
                            <a:pt x="6" y="14"/>
                            <a:pt x="9" y="13"/>
                            <a:pt x="16" y="10"/>
                          </a:cubicBezTo>
                          <a:cubicBezTo>
                            <a:pt x="19" y="6"/>
                            <a:pt x="20" y="5"/>
                            <a:pt x="20" y="0"/>
                          </a:cubicBezTo>
                          <a:close/>
                        </a:path>
                      </a:pathLst>
                    </a:custGeom>
                    <a:solidFill>
                      <a:srgbClr val="E0AD7A"/>
                    </a:solidFill>
                    <a:ln w="12700">
                      <a:noFill/>
                      <a:round/>
                      <a:headEnd/>
                      <a:tailEnd/>
                    </a:ln>
                  </p:spPr>
                  <p:txBody>
                    <a:bodyPr lIns="90000" tIns="46800" rIns="90000" bIns="46800" anchor="ctr"/>
                    <a:lstStyle/>
                    <a:p>
                      <a:pPr defTabSz="912546"/>
                      <a:endParaRPr>
                        <a:solidFill>
                          <a:srgbClr val="000000"/>
                        </a:solidFill>
                      </a:endParaRPr>
                    </a:p>
                  </p:txBody>
                </p:sp>
                <p:sp>
                  <p:nvSpPr>
                    <p:cNvPr id="441561" name="Freeform 877"/>
                    <p:cNvSpPr>
                      <a:spLocks/>
                    </p:cNvSpPr>
                    <p:nvPr/>
                  </p:nvSpPr>
                  <p:spPr bwMode="gray">
                    <a:xfrm>
                      <a:off x="4274" y="642"/>
                      <a:ext cx="39" cy="13"/>
                    </a:xfrm>
                    <a:custGeom>
                      <a:avLst/>
                      <a:gdLst>
                        <a:gd name="T0" fmla="*/ 52 w 34"/>
                        <a:gd name="T1" fmla="*/ 0 h 12"/>
                        <a:gd name="T2" fmla="*/ 131 w 34"/>
                        <a:gd name="T3" fmla="*/ 1 h 12"/>
                        <a:gd name="T4" fmla="*/ 150 w 34"/>
                        <a:gd name="T5" fmla="*/ 28 h 12"/>
                        <a:gd name="T6" fmla="*/ 95 w 34"/>
                        <a:gd name="T7" fmla="*/ 4 h 12"/>
                        <a:gd name="T8" fmla="*/ 52 w 34"/>
                        <a:gd name="T9" fmla="*/ 0 h 12"/>
                        <a:gd name="T10" fmla="*/ 0 60000 65536"/>
                        <a:gd name="T11" fmla="*/ 0 60000 65536"/>
                        <a:gd name="T12" fmla="*/ 0 60000 65536"/>
                        <a:gd name="T13" fmla="*/ 0 60000 65536"/>
                        <a:gd name="T14" fmla="*/ 0 60000 65536"/>
                        <a:gd name="T15" fmla="*/ 0 w 34"/>
                        <a:gd name="T16" fmla="*/ 0 h 12"/>
                        <a:gd name="T17" fmla="*/ 34 w 34"/>
                        <a:gd name="T18" fmla="*/ 12 h 12"/>
                      </a:gdLst>
                      <a:ahLst/>
                      <a:cxnLst>
                        <a:cxn ang="T10">
                          <a:pos x="T0" y="T1"/>
                        </a:cxn>
                        <a:cxn ang="T11">
                          <a:pos x="T2" y="T3"/>
                        </a:cxn>
                        <a:cxn ang="T12">
                          <a:pos x="T4" y="T5"/>
                        </a:cxn>
                        <a:cxn ang="T13">
                          <a:pos x="T6" y="T7"/>
                        </a:cxn>
                        <a:cxn ang="T14">
                          <a:pos x="T8" y="T9"/>
                        </a:cxn>
                      </a:cxnLst>
                      <a:rect l="T15" t="T16" r="T17" b="T18"/>
                      <a:pathLst>
                        <a:path w="34" h="12">
                          <a:moveTo>
                            <a:pt x="9" y="0"/>
                          </a:moveTo>
                          <a:cubicBezTo>
                            <a:pt x="13" y="6"/>
                            <a:pt x="16" y="4"/>
                            <a:pt x="22" y="1"/>
                          </a:cubicBezTo>
                          <a:cubicBezTo>
                            <a:pt x="23" y="2"/>
                            <a:pt x="34" y="6"/>
                            <a:pt x="25" y="10"/>
                          </a:cubicBezTo>
                          <a:cubicBezTo>
                            <a:pt x="22" y="12"/>
                            <a:pt x="19" y="6"/>
                            <a:pt x="16" y="4"/>
                          </a:cubicBezTo>
                          <a:cubicBezTo>
                            <a:pt x="12" y="5"/>
                            <a:pt x="0" y="4"/>
                            <a:pt x="9" y="0"/>
                          </a:cubicBezTo>
                          <a:close/>
                        </a:path>
                      </a:pathLst>
                    </a:custGeom>
                    <a:solidFill>
                      <a:srgbClr val="E0AD7A"/>
                    </a:solidFill>
                    <a:ln w="12700">
                      <a:noFill/>
                      <a:round/>
                      <a:headEnd/>
                      <a:tailEnd/>
                    </a:ln>
                  </p:spPr>
                  <p:txBody>
                    <a:bodyPr lIns="90000" tIns="46800" rIns="90000" bIns="46800" anchor="ctr"/>
                    <a:lstStyle/>
                    <a:p>
                      <a:pPr defTabSz="912546"/>
                      <a:endParaRPr>
                        <a:solidFill>
                          <a:srgbClr val="000000"/>
                        </a:solidFill>
                      </a:endParaRPr>
                    </a:p>
                  </p:txBody>
                </p:sp>
                <p:sp>
                  <p:nvSpPr>
                    <p:cNvPr id="441562" name="Freeform 878"/>
                    <p:cNvSpPr>
                      <a:spLocks/>
                    </p:cNvSpPr>
                    <p:nvPr/>
                  </p:nvSpPr>
                  <p:spPr bwMode="gray">
                    <a:xfrm>
                      <a:off x="4247" y="796"/>
                      <a:ext cx="85" cy="123"/>
                    </a:xfrm>
                    <a:custGeom>
                      <a:avLst/>
                      <a:gdLst>
                        <a:gd name="T0" fmla="*/ 383 w 75"/>
                        <a:gd name="T1" fmla="*/ 3 h 115"/>
                        <a:gd name="T2" fmla="*/ 292 w 75"/>
                        <a:gd name="T3" fmla="*/ 22 h 115"/>
                        <a:gd name="T4" fmla="*/ 160 w 75"/>
                        <a:gd name="T5" fmla="*/ 39 h 115"/>
                        <a:gd name="T6" fmla="*/ 201 w 75"/>
                        <a:gd name="T7" fmla="*/ 143 h 115"/>
                        <a:gd name="T8" fmla="*/ 201 w 75"/>
                        <a:gd name="T9" fmla="*/ 236 h 115"/>
                        <a:gd name="T10" fmla="*/ 182 w 75"/>
                        <a:gd name="T11" fmla="*/ 263 h 115"/>
                        <a:gd name="T12" fmla="*/ 177 w 75"/>
                        <a:gd name="T13" fmla="*/ 275 h 115"/>
                        <a:gd name="T14" fmla="*/ 182 w 75"/>
                        <a:gd name="T15" fmla="*/ 261 h 115"/>
                        <a:gd name="T16" fmla="*/ 160 w 75"/>
                        <a:gd name="T17" fmla="*/ 143 h 115"/>
                        <a:gd name="T18" fmla="*/ 110 w 75"/>
                        <a:gd name="T19" fmla="*/ 108 h 115"/>
                        <a:gd name="T20" fmla="*/ 61 w 75"/>
                        <a:gd name="T21" fmla="*/ 21 h 115"/>
                        <a:gd name="T22" fmla="*/ 42 w 75"/>
                        <a:gd name="T23" fmla="*/ 0 h 115"/>
                        <a:gd name="T24" fmla="*/ 141 w 75"/>
                        <a:gd name="T25" fmla="*/ 22 h 115"/>
                        <a:gd name="T26" fmla="*/ 329 w 75"/>
                        <a:gd name="T27" fmla="*/ 3 h 115"/>
                        <a:gd name="T28" fmla="*/ 383 w 75"/>
                        <a:gd name="T29" fmla="*/ 3 h 1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115"/>
                        <a:gd name="T47" fmla="*/ 75 w 75"/>
                        <a:gd name="T48" fmla="*/ 115 h 1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115">
                          <a:moveTo>
                            <a:pt x="75" y="3"/>
                          </a:moveTo>
                          <a:cubicBezTo>
                            <a:pt x="68" y="7"/>
                            <a:pt x="66" y="8"/>
                            <a:pt x="57" y="9"/>
                          </a:cubicBezTo>
                          <a:cubicBezTo>
                            <a:pt x="47" y="12"/>
                            <a:pt x="35" y="6"/>
                            <a:pt x="31" y="17"/>
                          </a:cubicBezTo>
                          <a:cubicBezTo>
                            <a:pt x="30" y="30"/>
                            <a:pt x="29" y="47"/>
                            <a:pt x="39" y="60"/>
                          </a:cubicBezTo>
                          <a:cubicBezTo>
                            <a:pt x="40" y="74"/>
                            <a:pt x="48" y="86"/>
                            <a:pt x="39" y="99"/>
                          </a:cubicBezTo>
                          <a:cubicBezTo>
                            <a:pt x="38" y="103"/>
                            <a:pt x="37" y="106"/>
                            <a:pt x="36" y="110"/>
                          </a:cubicBezTo>
                          <a:cubicBezTo>
                            <a:pt x="36" y="111"/>
                            <a:pt x="34" y="115"/>
                            <a:pt x="34" y="114"/>
                          </a:cubicBezTo>
                          <a:cubicBezTo>
                            <a:pt x="34" y="112"/>
                            <a:pt x="35" y="110"/>
                            <a:pt x="36" y="108"/>
                          </a:cubicBezTo>
                          <a:cubicBezTo>
                            <a:pt x="37" y="91"/>
                            <a:pt x="40" y="75"/>
                            <a:pt x="31" y="60"/>
                          </a:cubicBezTo>
                          <a:cubicBezTo>
                            <a:pt x="30" y="52"/>
                            <a:pt x="28" y="51"/>
                            <a:pt x="22" y="45"/>
                          </a:cubicBezTo>
                          <a:cubicBezTo>
                            <a:pt x="31" y="23"/>
                            <a:pt x="35" y="10"/>
                            <a:pt x="12" y="8"/>
                          </a:cubicBezTo>
                          <a:cubicBezTo>
                            <a:pt x="6" y="6"/>
                            <a:pt x="0" y="3"/>
                            <a:pt x="9" y="0"/>
                          </a:cubicBezTo>
                          <a:cubicBezTo>
                            <a:pt x="14" y="6"/>
                            <a:pt x="20" y="8"/>
                            <a:pt x="27" y="9"/>
                          </a:cubicBezTo>
                          <a:cubicBezTo>
                            <a:pt x="41" y="8"/>
                            <a:pt x="51" y="7"/>
                            <a:pt x="64" y="3"/>
                          </a:cubicBezTo>
                          <a:cubicBezTo>
                            <a:pt x="72" y="6"/>
                            <a:pt x="68" y="6"/>
                            <a:pt x="75" y="3"/>
                          </a:cubicBezTo>
                          <a:close/>
                        </a:path>
                      </a:pathLst>
                    </a:custGeom>
                    <a:solidFill>
                      <a:srgbClr val="0D3449"/>
                    </a:solidFill>
                    <a:ln w="12700">
                      <a:noFill/>
                      <a:round/>
                      <a:headEnd/>
                      <a:tailEnd/>
                    </a:ln>
                  </p:spPr>
                  <p:txBody>
                    <a:bodyPr lIns="90000" tIns="46800" rIns="90000" bIns="46800" anchor="ctr"/>
                    <a:lstStyle/>
                    <a:p>
                      <a:pPr defTabSz="912546"/>
                      <a:endParaRPr>
                        <a:solidFill>
                          <a:srgbClr val="000000"/>
                        </a:solidFill>
                      </a:endParaRPr>
                    </a:p>
                  </p:txBody>
                </p:sp>
                <p:sp>
                  <p:nvSpPr>
                    <p:cNvPr id="441563" name="Freeform 879"/>
                    <p:cNvSpPr>
                      <a:spLocks/>
                    </p:cNvSpPr>
                    <p:nvPr/>
                  </p:nvSpPr>
                  <p:spPr bwMode="gray">
                    <a:xfrm>
                      <a:off x="4335" y="860"/>
                      <a:ext cx="15" cy="99"/>
                    </a:xfrm>
                    <a:custGeom>
                      <a:avLst/>
                      <a:gdLst>
                        <a:gd name="T0" fmla="*/ 67 w 13"/>
                        <a:gd name="T1" fmla="*/ 0 h 93"/>
                        <a:gd name="T2" fmla="*/ 50 w 13"/>
                        <a:gd name="T3" fmla="*/ 73 h 93"/>
                        <a:gd name="T4" fmla="*/ 2 w 13"/>
                        <a:gd name="T5" fmla="*/ 162 h 93"/>
                        <a:gd name="T6" fmla="*/ 43 w 13"/>
                        <a:gd name="T7" fmla="*/ 78 h 93"/>
                        <a:gd name="T8" fmla="*/ 67 w 13"/>
                        <a:gd name="T9" fmla="*/ 0 h 93"/>
                        <a:gd name="T10" fmla="*/ 0 60000 65536"/>
                        <a:gd name="T11" fmla="*/ 0 60000 65536"/>
                        <a:gd name="T12" fmla="*/ 0 60000 65536"/>
                        <a:gd name="T13" fmla="*/ 0 60000 65536"/>
                        <a:gd name="T14" fmla="*/ 0 60000 65536"/>
                        <a:gd name="T15" fmla="*/ 0 w 13"/>
                        <a:gd name="T16" fmla="*/ 0 h 93"/>
                        <a:gd name="T17" fmla="*/ 13 w 13"/>
                        <a:gd name="T18" fmla="*/ 93 h 93"/>
                      </a:gdLst>
                      <a:ahLst/>
                      <a:cxnLst>
                        <a:cxn ang="T10">
                          <a:pos x="T0" y="T1"/>
                        </a:cxn>
                        <a:cxn ang="T11">
                          <a:pos x="T2" y="T3"/>
                        </a:cxn>
                        <a:cxn ang="T12">
                          <a:pos x="T4" y="T5"/>
                        </a:cxn>
                        <a:cxn ang="T13">
                          <a:pos x="T6" y="T7"/>
                        </a:cxn>
                        <a:cxn ang="T14">
                          <a:pos x="T8" y="T9"/>
                        </a:cxn>
                      </a:cxnLst>
                      <a:rect l="T15" t="T16" r="T17" b="T18"/>
                      <a:pathLst>
                        <a:path w="13" h="93">
                          <a:moveTo>
                            <a:pt x="10" y="0"/>
                          </a:moveTo>
                          <a:cubicBezTo>
                            <a:pt x="12" y="11"/>
                            <a:pt x="8" y="33"/>
                            <a:pt x="8" y="33"/>
                          </a:cubicBezTo>
                          <a:cubicBezTo>
                            <a:pt x="8" y="48"/>
                            <a:pt x="13" y="93"/>
                            <a:pt x="2" y="71"/>
                          </a:cubicBezTo>
                          <a:cubicBezTo>
                            <a:pt x="0" y="61"/>
                            <a:pt x="5" y="46"/>
                            <a:pt x="7" y="35"/>
                          </a:cubicBezTo>
                          <a:cubicBezTo>
                            <a:pt x="8" y="23"/>
                            <a:pt x="10" y="0"/>
                            <a:pt x="10" y="0"/>
                          </a:cubicBezTo>
                          <a:close/>
                        </a:path>
                      </a:pathLst>
                    </a:custGeom>
                    <a:solidFill>
                      <a:srgbClr val="0D3449"/>
                    </a:solidFill>
                    <a:ln w="12700">
                      <a:noFill/>
                      <a:round/>
                      <a:headEnd/>
                      <a:tailEnd/>
                    </a:ln>
                  </p:spPr>
                  <p:txBody>
                    <a:bodyPr lIns="90000" tIns="46800" rIns="90000" bIns="46800" anchor="ctr"/>
                    <a:lstStyle/>
                    <a:p>
                      <a:pPr defTabSz="912546"/>
                      <a:endParaRPr>
                        <a:solidFill>
                          <a:srgbClr val="000000"/>
                        </a:solidFill>
                      </a:endParaRPr>
                    </a:p>
                  </p:txBody>
                </p:sp>
              </p:grpSp>
              <p:sp>
                <p:nvSpPr>
                  <p:cNvPr id="441546" name="Freeform 880" descr="Dark upward diagonal"/>
                  <p:cNvSpPr>
                    <a:spLocks/>
                  </p:cNvSpPr>
                  <p:nvPr/>
                </p:nvSpPr>
                <p:spPr bwMode="gray">
                  <a:xfrm>
                    <a:off x="4624" y="2423"/>
                    <a:ext cx="43" cy="127"/>
                  </a:xfrm>
                  <a:custGeom>
                    <a:avLst/>
                    <a:gdLst>
                      <a:gd name="T0" fmla="*/ 36 w 43"/>
                      <a:gd name="T1" fmla="*/ 11 h 127"/>
                      <a:gd name="T2" fmla="*/ 22 w 43"/>
                      <a:gd name="T3" fmla="*/ 11 h 127"/>
                      <a:gd name="T4" fmla="*/ 20 w 43"/>
                      <a:gd name="T5" fmla="*/ 23 h 127"/>
                      <a:gd name="T6" fmla="*/ 0 w 43"/>
                      <a:gd name="T7" fmla="*/ 109 h 127"/>
                      <a:gd name="T8" fmla="*/ 12 w 43"/>
                      <a:gd name="T9" fmla="*/ 127 h 127"/>
                      <a:gd name="T10" fmla="*/ 26 w 43"/>
                      <a:gd name="T11" fmla="*/ 111 h 127"/>
                      <a:gd name="T12" fmla="*/ 30 w 43"/>
                      <a:gd name="T13" fmla="*/ 19 h 127"/>
                      <a:gd name="T14" fmla="*/ 36 w 43"/>
                      <a:gd name="T15" fmla="*/ 11 h 127"/>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127"/>
                      <a:gd name="T26" fmla="*/ 43 w 43"/>
                      <a:gd name="T27" fmla="*/ 127 h 1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127">
                        <a:moveTo>
                          <a:pt x="36" y="11"/>
                        </a:moveTo>
                        <a:cubicBezTo>
                          <a:pt x="31" y="9"/>
                          <a:pt x="27" y="7"/>
                          <a:pt x="22" y="11"/>
                        </a:cubicBezTo>
                        <a:cubicBezTo>
                          <a:pt x="20" y="13"/>
                          <a:pt x="24" y="7"/>
                          <a:pt x="20" y="23"/>
                        </a:cubicBezTo>
                        <a:lnTo>
                          <a:pt x="0" y="109"/>
                        </a:lnTo>
                        <a:lnTo>
                          <a:pt x="12" y="127"/>
                        </a:lnTo>
                        <a:lnTo>
                          <a:pt x="26" y="111"/>
                        </a:lnTo>
                        <a:cubicBezTo>
                          <a:pt x="27" y="80"/>
                          <a:pt x="26" y="49"/>
                          <a:pt x="30" y="19"/>
                        </a:cubicBezTo>
                        <a:cubicBezTo>
                          <a:pt x="32" y="0"/>
                          <a:pt x="43" y="25"/>
                          <a:pt x="36" y="11"/>
                        </a:cubicBezTo>
                        <a:close/>
                      </a:path>
                    </a:pathLst>
                  </a:custGeom>
                  <a:pattFill prst="dkUpDiag">
                    <a:fgClr>
                      <a:srgbClr val="15426B"/>
                    </a:fgClr>
                    <a:bgClr>
                      <a:srgbClr val="FFDA7D"/>
                    </a:bgClr>
                  </a:pattFill>
                  <a:ln w="9525">
                    <a:noFill/>
                    <a:round/>
                    <a:headEnd/>
                    <a:tailEnd/>
                  </a:ln>
                </p:spPr>
                <p:txBody>
                  <a:bodyPr wrap="none" lIns="18000" tIns="46800" rIns="18000" bIns="46800" anchor="ctr"/>
                  <a:lstStyle/>
                  <a:p>
                    <a:pPr defTabSz="912546"/>
                    <a:endParaRPr>
                      <a:solidFill>
                        <a:srgbClr val="000000"/>
                      </a:solidFill>
                    </a:endParaRPr>
                  </a:p>
                </p:txBody>
              </p:sp>
            </p:grpSp>
          </p:grpSp>
        </p:grpSp>
      </p:grpSp>
      <p:sp>
        <p:nvSpPr>
          <p:cNvPr id="441374" name="Text Box 881"/>
          <p:cNvSpPr txBox="1">
            <a:spLocks noChangeArrowheads="1"/>
          </p:cNvSpPr>
          <p:nvPr/>
        </p:nvSpPr>
        <p:spPr bwMode="gray">
          <a:xfrm>
            <a:off x="4248150" y="4995470"/>
            <a:ext cx="838200" cy="212047"/>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Distribution</a:t>
            </a:r>
          </a:p>
        </p:txBody>
      </p:sp>
      <p:sp>
        <p:nvSpPr>
          <p:cNvPr id="441375" name="Text Box 882"/>
          <p:cNvSpPr txBox="1">
            <a:spLocks noChangeArrowheads="1"/>
          </p:cNvSpPr>
          <p:nvPr/>
        </p:nvSpPr>
        <p:spPr bwMode="gray">
          <a:xfrm>
            <a:off x="5981700" y="4184259"/>
            <a:ext cx="685800" cy="447496"/>
          </a:xfrm>
          <a:prstGeom prst="rect">
            <a:avLst/>
          </a:prstGeom>
          <a:noFill/>
          <a:ln w="9525" algn="ctr">
            <a:noFill/>
            <a:miter lim="800000"/>
            <a:headEnd/>
            <a:tailEnd type="none" w="sm" len="lg"/>
          </a:ln>
        </p:spPr>
        <p:txBody>
          <a:bodyPr lIns="89813" tIns="46705" rIns="89813" bIns="46705">
            <a:spAutoFit/>
          </a:bodyPr>
          <a:lstStyle/>
          <a:p>
            <a:pPr algn="ctr" defTabSz="912546">
              <a:lnSpc>
                <a:spcPct val="85000"/>
              </a:lnSpc>
              <a:buClr>
                <a:srgbClr val="F0AB00"/>
              </a:buClr>
              <a:buSzPct val="80000"/>
            </a:pPr>
            <a:r>
              <a:rPr lang="en-US" sz="900" b="1" dirty="0">
                <a:solidFill>
                  <a:srgbClr val="000000"/>
                </a:solidFill>
              </a:rPr>
              <a:t>Direct &amp; Channel Sales</a:t>
            </a:r>
          </a:p>
        </p:txBody>
      </p:sp>
      <p:grpSp>
        <p:nvGrpSpPr>
          <p:cNvPr id="265156" name="Group 883"/>
          <p:cNvGrpSpPr>
            <a:grpSpLocks/>
          </p:cNvGrpSpPr>
          <p:nvPr/>
        </p:nvGrpSpPr>
        <p:grpSpPr bwMode="gray">
          <a:xfrm>
            <a:off x="6629400" y="4395402"/>
            <a:ext cx="1600200" cy="1195388"/>
            <a:chOff x="4074" y="2583"/>
            <a:chExt cx="1008" cy="753"/>
          </a:xfrm>
        </p:grpSpPr>
        <p:grpSp>
          <p:nvGrpSpPr>
            <p:cNvPr id="265157" name="Group 884"/>
            <p:cNvGrpSpPr>
              <a:grpSpLocks/>
            </p:cNvGrpSpPr>
            <p:nvPr/>
          </p:nvGrpSpPr>
          <p:grpSpPr bwMode="gray">
            <a:xfrm>
              <a:off x="4074" y="2851"/>
              <a:ext cx="1008" cy="485"/>
              <a:chOff x="2688" y="3120"/>
              <a:chExt cx="962" cy="415"/>
            </a:xfrm>
          </p:grpSpPr>
          <p:grpSp>
            <p:nvGrpSpPr>
              <p:cNvPr id="265158" name="Group 885"/>
              <p:cNvGrpSpPr>
                <a:grpSpLocks/>
              </p:cNvGrpSpPr>
              <p:nvPr/>
            </p:nvGrpSpPr>
            <p:grpSpPr bwMode="gray">
              <a:xfrm>
                <a:off x="2688" y="3120"/>
                <a:ext cx="962" cy="415"/>
                <a:chOff x="2107" y="2248"/>
                <a:chExt cx="1020" cy="473"/>
              </a:xfrm>
            </p:grpSpPr>
            <p:sp>
              <p:nvSpPr>
                <p:cNvPr id="441534" name="Oval 886"/>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535" name="Oval 887"/>
                <p:cNvSpPr>
                  <a:spLocks noChangeArrowheads="1"/>
                </p:cNvSpPr>
                <p:nvPr/>
              </p:nvSpPr>
              <p:spPr bwMode="gray">
                <a:xfrm>
                  <a:off x="2206" y="2276"/>
                  <a:ext cx="794" cy="331"/>
                </a:xfrm>
                <a:prstGeom prst="ellipse">
                  <a:avLst/>
                </a:prstGeom>
                <a:gradFill rotWithShape="1">
                  <a:gsLst>
                    <a:gs pos="0">
                      <a:srgbClr val="5D797A"/>
                    </a:gs>
                    <a:gs pos="50000">
                      <a:srgbClr val="7FA6A7"/>
                    </a:gs>
                    <a:gs pos="100000">
                      <a:srgbClr val="5D797A"/>
                    </a:gs>
                  </a:gsLst>
                  <a:lin ang="0" scaled="1"/>
                </a:gradFill>
                <a:ln w="9525">
                  <a:noFill/>
                  <a:round/>
                  <a:headEnd/>
                  <a:tailEnd/>
                </a:ln>
              </p:spPr>
              <p:txBody>
                <a:bodyPr wrap="none" anchor="ctr"/>
                <a:lstStyle/>
                <a:p>
                  <a:pPr algn="ctr" defTabSz="912546"/>
                  <a:endParaRPr>
                    <a:solidFill>
                      <a:srgbClr val="000000"/>
                    </a:solidFill>
                  </a:endParaRPr>
                </a:p>
              </p:txBody>
            </p:sp>
            <p:sp>
              <p:nvSpPr>
                <p:cNvPr id="441536" name="Oval 888"/>
                <p:cNvSpPr>
                  <a:spLocks noChangeArrowheads="1"/>
                </p:cNvSpPr>
                <p:nvPr/>
              </p:nvSpPr>
              <p:spPr bwMode="gray">
                <a:xfrm>
                  <a:off x="2206" y="2248"/>
                  <a:ext cx="794" cy="331"/>
                </a:xfrm>
                <a:prstGeom prst="ellipse">
                  <a:avLst/>
                </a:prstGeom>
                <a:gradFill rotWithShape="1">
                  <a:gsLst>
                    <a:gs pos="0">
                      <a:srgbClr val="629293"/>
                    </a:gs>
                    <a:gs pos="50000">
                      <a:srgbClr val="AFC7C8"/>
                    </a:gs>
                    <a:gs pos="100000">
                      <a:srgbClr val="629293"/>
                    </a:gs>
                  </a:gsLst>
                  <a:lin ang="18900000" scaled="1"/>
                </a:gradFill>
                <a:ln w="9525">
                  <a:noFill/>
                  <a:round/>
                  <a:headEnd/>
                  <a:tailEnd/>
                </a:ln>
              </p:spPr>
              <p:txBody>
                <a:bodyPr wrap="none" anchor="ctr"/>
                <a:lstStyle/>
                <a:p>
                  <a:pPr algn="ctr" defTabSz="912546"/>
                  <a:endParaRPr>
                    <a:solidFill>
                      <a:srgbClr val="000000"/>
                    </a:solidFill>
                  </a:endParaRPr>
                </a:p>
              </p:txBody>
            </p:sp>
          </p:grpSp>
          <p:sp>
            <p:nvSpPr>
              <p:cNvPr id="441533" name="Text Box 889"/>
              <p:cNvSpPr txBox="1">
                <a:spLocks noChangeArrowheads="1"/>
              </p:cNvSpPr>
              <p:nvPr/>
            </p:nvSpPr>
            <p:spPr bwMode="gray">
              <a:xfrm>
                <a:off x="2916" y="3294"/>
                <a:ext cx="468" cy="114"/>
              </a:xfrm>
              <a:prstGeom prst="rect">
                <a:avLst/>
              </a:prstGeom>
              <a:noFill/>
              <a:ln w="9525" algn="ctr">
                <a:noFill/>
                <a:miter lim="800000"/>
                <a:headEnd/>
                <a:tailEnd type="none" w="sm" len="lg"/>
              </a:ln>
            </p:spPr>
            <p:txBody>
              <a:bodyPr lIns="90000" tIns="46800" rIns="90000" bIns="46800">
                <a:spAutoFit/>
              </a:bodyPr>
              <a:lstStyle/>
              <a:p>
                <a:pPr marL="243971" indent="-243971" algn="ctr" defTabSz="912546">
                  <a:lnSpc>
                    <a:spcPct val="85000"/>
                  </a:lnSpc>
                  <a:buClr>
                    <a:srgbClr val="F0AB00"/>
                  </a:buClr>
                  <a:buSzPct val="80000"/>
                </a:pPr>
                <a:r>
                  <a:rPr lang="en-US" sz="900" b="1" dirty="0">
                    <a:solidFill>
                      <a:srgbClr val="000000"/>
                    </a:solidFill>
                  </a:rPr>
                  <a:t>Customers</a:t>
                </a:r>
              </a:p>
            </p:txBody>
          </p:sp>
        </p:grpSp>
        <p:grpSp>
          <p:nvGrpSpPr>
            <p:cNvPr id="265159" name="Group 890"/>
            <p:cNvGrpSpPr>
              <a:grpSpLocks/>
            </p:cNvGrpSpPr>
            <p:nvPr/>
          </p:nvGrpSpPr>
          <p:grpSpPr bwMode="gray">
            <a:xfrm>
              <a:off x="4633" y="2590"/>
              <a:ext cx="137" cy="453"/>
              <a:chOff x="3480" y="978"/>
              <a:chExt cx="349" cy="1285"/>
            </a:xfrm>
          </p:grpSpPr>
          <p:sp>
            <p:nvSpPr>
              <p:cNvPr id="441516" name="Freeform 891"/>
              <p:cNvSpPr>
                <a:spLocks/>
              </p:cNvSpPr>
              <p:nvPr/>
            </p:nvSpPr>
            <p:spPr bwMode="gray">
              <a:xfrm>
                <a:off x="3480" y="2075"/>
                <a:ext cx="169" cy="109"/>
              </a:xfrm>
              <a:custGeom>
                <a:avLst/>
                <a:gdLst>
                  <a:gd name="T0" fmla="*/ 76 w 169"/>
                  <a:gd name="T1" fmla="*/ 39 h 109"/>
                  <a:gd name="T2" fmla="*/ 50 w 169"/>
                  <a:gd name="T3" fmla="*/ 61 h 109"/>
                  <a:gd name="T4" fmla="*/ 12 w 169"/>
                  <a:gd name="T5" fmla="*/ 100 h 109"/>
                  <a:gd name="T6" fmla="*/ 36 w 169"/>
                  <a:gd name="T7" fmla="*/ 109 h 109"/>
                  <a:gd name="T8" fmla="*/ 84 w 169"/>
                  <a:gd name="T9" fmla="*/ 103 h 109"/>
                  <a:gd name="T10" fmla="*/ 126 w 169"/>
                  <a:gd name="T11" fmla="*/ 79 h 109"/>
                  <a:gd name="T12" fmla="*/ 165 w 169"/>
                  <a:gd name="T13" fmla="*/ 67 h 109"/>
                  <a:gd name="T14" fmla="*/ 140 w 169"/>
                  <a:gd name="T15" fmla="*/ 55 h 109"/>
                  <a:gd name="T16" fmla="*/ 76 w 169"/>
                  <a:gd name="T17" fmla="*/ 39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9"/>
                  <a:gd name="T28" fmla="*/ 0 h 109"/>
                  <a:gd name="T29" fmla="*/ 169 w 1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9" h="109">
                    <a:moveTo>
                      <a:pt x="76" y="39"/>
                    </a:moveTo>
                    <a:cubicBezTo>
                      <a:pt x="66" y="46"/>
                      <a:pt x="60" y="56"/>
                      <a:pt x="50" y="61"/>
                    </a:cubicBezTo>
                    <a:cubicBezTo>
                      <a:pt x="12" y="70"/>
                      <a:pt x="0" y="88"/>
                      <a:pt x="12" y="100"/>
                    </a:cubicBezTo>
                    <a:cubicBezTo>
                      <a:pt x="20" y="108"/>
                      <a:pt x="25" y="105"/>
                      <a:pt x="36" y="109"/>
                    </a:cubicBezTo>
                    <a:cubicBezTo>
                      <a:pt x="58" y="107"/>
                      <a:pt x="65" y="108"/>
                      <a:pt x="84" y="103"/>
                    </a:cubicBezTo>
                    <a:cubicBezTo>
                      <a:pt x="97" y="94"/>
                      <a:pt x="111" y="83"/>
                      <a:pt x="126" y="79"/>
                    </a:cubicBezTo>
                    <a:cubicBezTo>
                      <a:pt x="139" y="82"/>
                      <a:pt x="150" y="76"/>
                      <a:pt x="165" y="67"/>
                    </a:cubicBezTo>
                    <a:cubicBezTo>
                      <a:pt x="169" y="0"/>
                      <a:pt x="158" y="56"/>
                      <a:pt x="140" y="55"/>
                    </a:cubicBezTo>
                    <a:cubicBezTo>
                      <a:pt x="118" y="51"/>
                      <a:pt x="98" y="43"/>
                      <a:pt x="76" y="39"/>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1517" name="Freeform 892"/>
              <p:cNvSpPr>
                <a:spLocks/>
              </p:cNvSpPr>
              <p:nvPr/>
            </p:nvSpPr>
            <p:spPr bwMode="gray">
              <a:xfrm>
                <a:off x="3642" y="2171"/>
                <a:ext cx="157" cy="92"/>
              </a:xfrm>
              <a:custGeom>
                <a:avLst/>
                <a:gdLst>
                  <a:gd name="T0" fmla="*/ 51 w 157"/>
                  <a:gd name="T1" fmla="*/ 4 h 92"/>
                  <a:gd name="T2" fmla="*/ 0 w 157"/>
                  <a:gd name="T3" fmla="*/ 66 h 92"/>
                  <a:gd name="T4" fmla="*/ 87 w 157"/>
                  <a:gd name="T5" fmla="*/ 64 h 92"/>
                  <a:gd name="T6" fmla="*/ 117 w 157"/>
                  <a:gd name="T7" fmla="*/ 34 h 92"/>
                  <a:gd name="T8" fmla="*/ 144 w 157"/>
                  <a:gd name="T9" fmla="*/ 22 h 92"/>
                  <a:gd name="T10" fmla="*/ 141 w 157"/>
                  <a:gd name="T11" fmla="*/ 0 h 92"/>
                  <a:gd name="T12" fmla="*/ 51 w 157"/>
                  <a:gd name="T13" fmla="*/ 4 h 92"/>
                  <a:gd name="T14" fmla="*/ 0 60000 65536"/>
                  <a:gd name="T15" fmla="*/ 0 60000 65536"/>
                  <a:gd name="T16" fmla="*/ 0 60000 65536"/>
                  <a:gd name="T17" fmla="*/ 0 60000 65536"/>
                  <a:gd name="T18" fmla="*/ 0 60000 65536"/>
                  <a:gd name="T19" fmla="*/ 0 60000 65536"/>
                  <a:gd name="T20" fmla="*/ 0 60000 65536"/>
                  <a:gd name="T21" fmla="*/ 0 w 157"/>
                  <a:gd name="T22" fmla="*/ 0 h 92"/>
                  <a:gd name="T23" fmla="*/ 157 w 157"/>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7" h="92">
                    <a:moveTo>
                      <a:pt x="51" y="4"/>
                    </a:moveTo>
                    <a:cubicBezTo>
                      <a:pt x="27" y="37"/>
                      <a:pt x="0" y="37"/>
                      <a:pt x="0" y="66"/>
                    </a:cubicBezTo>
                    <a:cubicBezTo>
                      <a:pt x="3" y="76"/>
                      <a:pt x="27" y="92"/>
                      <a:pt x="87" y="64"/>
                    </a:cubicBezTo>
                    <a:cubicBezTo>
                      <a:pt x="102" y="49"/>
                      <a:pt x="103" y="37"/>
                      <a:pt x="117" y="34"/>
                    </a:cubicBezTo>
                    <a:cubicBezTo>
                      <a:pt x="124" y="28"/>
                      <a:pt x="136" y="26"/>
                      <a:pt x="144" y="22"/>
                    </a:cubicBezTo>
                    <a:cubicBezTo>
                      <a:pt x="148" y="16"/>
                      <a:pt x="157" y="4"/>
                      <a:pt x="141" y="0"/>
                    </a:cubicBezTo>
                    <a:cubicBezTo>
                      <a:pt x="111" y="2"/>
                      <a:pt x="81" y="1"/>
                      <a:pt x="51" y="4"/>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1518" name="Freeform 893"/>
              <p:cNvSpPr>
                <a:spLocks/>
              </p:cNvSpPr>
              <p:nvPr/>
            </p:nvSpPr>
            <p:spPr bwMode="gray">
              <a:xfrm>
                <a:off x="3506" y="1148"/>
                <a:ext cx="323" cy="1043"/>
              </a:xfrm>
              <a:custGeom>
                <a:avLst/>
                <a:gdLst>
                  <a:gd name="T0" fmla="*/ 144 w 323"/>
                  <a:gd name="T1" fmla="*/ 760 h 1043"/>
                  <a:gd name="T2" fmla="*/ 148 w 323"/>
                  <a:gd name="T3" fmla="*/ 928 h 1043"/>
                  <a:gd name="T4" fmla="*/ 142 w 323"/>
                  <a:gd name="T5" fmla="*/ 985 h 1043"/>
                  <a:gd name="T6" fmla="*/ 106 w 323"/>
                  <a:gd name="T7" fmla="*/ 986 h 1043"/>
                  <a:gd name="T8" fmla="*/ 49 w 323"/>
                  <a:gd name="T9" fmla="*/ 970 h 1043"/>
                  <a:gd name="T10" fmla="*/ 42 w 323"/>
                  <a:gd name="T11" fmla="*/ 858 h 1043"/>
                  <a:gd name="T12" fmla="*/ 22 w 323"/>
                  <a:gd name="T13" fmla="*/ 568 h 1043"/>
                  <a:gd name="T14" fmla="*/ 28 w 323"/>
                  <a:gd name="T15" fmla="*/ 445 h 1043"/>
                  <a:gd name="T16" fmla="*/ 19 w 323"/>
                  <a:gd name="T17" fmla="*/ 415 h 1043"/>
                  <a:gd name="T18" fmla="*/ 31 w 323"/>
                  <a:gd name="T19" fmla="*/ 391 h 1043"/>
                  <a:gd name="T20" fmla="*/ 37 w 323"/>
                  <a:gd name="T21" fmla="*/ 367 h 1043"/>
                  <a:gd name="T22" fmla="*/ 46 w 323"/>
                  <a:gd name="T23" fmla="*/ 290 h 1043"/>
                  <a:gd name="T24" fmla="*/ 43 w 323"/>
                  <a:gd name="T25" fmla="*/ 211 h 1043"/>
                  <a:gd name="T26" fmla="*/ 48 w 323"/>
                  <a:gd name="T27" fmla="*/ 166 h 1043"/>
                  <a:gd name="T28" fmla="*/ 52 w 323"/>
                  <a:gd name="T29" fmla="*/ 115 h 1043"/>
                  <a:gd name="T30" fmla="*/ 91 w 323"/>
                  <a:gd name="T31" fmla="*/ 79 h 1043"/>
                  <a:gd name="T32" fmla="*/ 136 w 323"/>
                  <a:gd name="T33" fmla="*/ 43 h 1043"/>
                  <a:gd name="T34" fmla="*/ 205 w 323"/>
                  <a:gd name="T35" fmla="*/ 4 h 1043"/>
                  <a:gd name="T36" fmla="*/ 217 w 323"/>
                  <a:gd name="T37" fmla="*/ 19 h 1043"/>
                  <a:gd name="T38" fmla="*/ 235 w 323"/>
                  <a:gd name="T39" fmla="*/ 25 h 1043"/>
                  <a:gd name="T40" fmla="*/ 304 w 323"/>
                  <a:gd name="T41" fmla="*/ 46 h 1043"/>
                  <a:gd name="T42" fmla="*/ 316 w 323"/>
                  <a:gd name="T43" fmla="*/ 103 h 1043"/>
                  <a:gd name="T44" fmla="*/ 316 w 323"/>
                  <a:gd name="T45" fmla="*/ 172 h 1043"/>
                  <a:gd name="T46" fmla="*/ 304 w 323"/>
                  <a:gd name="T47" fmla="*/ 218 h 1043"/>
                  <a:gd name="T48" fmla="*/ 304 w 323"/>
                  <a:gd name="T49" fmla="*/ 286 h 1043"/>
                  <a:gd name="T50" fmla="*/ 278 w 323"/>
                  <a:gd name="T51" fmla="*/ 378 h 1043"/>
                  <a:gd name="T52" fmla="*/ 314 w 323"/>
                  <a:gd name="T53" fmla="*/ 518 h 1043"/>
                  <a:gd name="T54" fmla="*/ 256 w 323"/>
                  <a:gd name="T55" fmla="*/ 542 h 1043"/>
                  <a:gd name="T56" fmla="*/ 256 w 323"/>
                  <a:gd name="T57" fmla="*/ 676 h 1043"/>
                  <a:gd name="T58" fmla="*/ 290 w 323"/>
                  <a:gd name="T59" fmla="*/ 1028 h 1043"/>
                  <a:gd name="T60" fmla="*/ 240 w 323"/>
                  <a:gd name="T61" fmla="*/ 1038 h 1043"/>
                  <a:gd name="T62" fmla="*/ 180 w 323"/>
                  <a:gd name="T63" fmla="*/ 1018 h 1043"/>
                  <a:gd name="T64" fmla="*/ 200 w 323"/>
                  <a:gd name="T65" fmla="*/ 968 h 1043"/>
                  <a:gd name="T66" fmla="*/ 172 w 323"/>
                  <a:gd name="T67" fmla="*/ 888 h 1043"/>
                  <a:gd name="T68" fmla="*/ 162 w 323"/>
                  <a:gd name="T69" fmla="*/ 828 h 1043"/>
                  <a:gd name="T70" fmla="*/ 144 w 323"/>
                  <a:gd name="T71" fmla="*/ 760 h 104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3"/>
                  <a:gd name="T109" fmla="*/ 0 h 1043"/>
                  <a:gd name="T110" fmla="*/ 323 w 323"/>
                  <a:gd name="T111" fmla="*/ 1043 h 104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3" h="1043">
                    <a:moveTo>
                      <a:pt x="144" y="760"/>
                    </a:moveTo>
                    <a:cubicBezTo>
                      <a:pt x="143" y="773"/>
                      <a:pt x="140" y="902"/>
                      <a:pt x="148" y="928"/>
                    </a:cubicBezTo>
                    <a:cubicBezTo>
                      <a:pt x="147" y="952"/>
                      <a:pt x="138" y="956"/>
                      <a:pt x="142" y="985"/>
                    </a:cubicBezTo>
                    <a:cubicBezTo>
                      <a:pt x="137" y="985"/>
                      <a:pt x="121" y="988"/>
                      <a:pt x="106" y="986"/>
                    </a:cubicBezTo>
                    <a:cubicBezTo>
                      <a:pt x="54" y="977"/>
                      <a:pt x="104" y="975"/>
                      <a:pt x="49" y="970"/>
                    </a:cubicBezTo>
                    <a:cubicBezTo>
                      <a:pt x="60" y="928"/>
                      <a:pt x="52" y="894"/>
                      <a:pt x="42" y="858"/>
                    </a:cubicBezTo>
                    <a:cubicBezTo>
                      <a:pt x="48" y="832"/>
                      <a:pt x="40" y="650"/>
                      <a:pt x="22" y="568"/>
                    </a:cubicBezTo>
                    <a:cubicBezTo>
                      <a:pt x="30" y="528"/>
                      <a:pt x="0" y="494"/>
                      <a:pt x="28" y="445"/>
                    </a:cubicBezTo>
                    <a:cubicBezTo>
                      <a:pt x="16" y="429"/>
                      <a:pt x="24" y="431"/>
                      <a:pt x="19" y="415"/>
                    </a:cubicBezTo>
                    <a:cubicBezTo>
                      <a:pt x="23" y="407"/>
                      <a:pt x="29" y="400"/>
                      <a:pt x="31" y="391"/>
                    </a:cubicBezTo>
                    <a:cubicBezTo>
                      <a:pt x="33" y="383"/>
                      <a:pt x="37" y="367"/>
                      <a:pt x="37" y="367"/>
                    </a:cubicBezTo>
                    <a:cubicBezTo>
                      <a:pt x="39" y="341"/>
                      <a:pt x="35" y="312"/>
                      <a:pt x="46" y="290"/>
                    </a:cubicBezTo>
                    <a:cubicBezTo>
                      <a:pt x="44" y="266"/>
                      <a:pt x="42" y="231"/>
                      <a:pt x="43" y="211"/>
                    </a:cubicBezTo>
                    <a:cubicBezTo>
                      <a:pt x="43" y="200"/>
                      <a:pt x="45" y="177"/>
                      <a:pt x="48" y="166"/>
                    </a:cubicBezTo>
                    <a:cubicBezTo>
                      <a:pt x="50" y="150"/>
                      <a:pt x="46" y="131"/>
                      <a:pt x="52" y="115"/>
                    </a:cubicBezTo>
                    <a:cubicBezTo>
                      <a:pt x="52" y="93"/>
                      <a:pt x="78" y="89"/>
                      <a:pt x="91" y="79"/>
                    </a:cubicBezTo>
                    <a:cubicBezTo>
                      <a:pt x="106" y="67"/>
                      <a:pt x="117" y="49"/>
                      <a:pt x="136" y="43"/>
                    </a:cubicBezTo>
                    <a:cubicBezTo>
                      <a:pt x="155" y="30"/>
                      <a:pt x="192" y="9"/>
                      <a:pt x="205" y="4"/>
                    </a:cubicBezTo>
                    <a:cubicBezTo>
                      <a:pt x="218" y="0"/>
                      <a:pt x="212" y="16"/>
                      <a:pt x="217" y="19"/>
                    </a:cubicBezTo>
                    <a:cubicBezTo>
                      <a:pt x="222" y="23"/>
                      <a:pt x="235" y="25"/>
                      <a:pt x="235" y="25"/>
                    </a:cubicBezTo>
                    <a:cubicBezTo>
                      <a:pt x="262" y="30"/>
                      <a:pt x="288" y="30"/>
                      <a:pt x="304" y="46"/>
                    </a:cubicBezTo>
                    <a:cubicBezTo>
                      <a:pt x="308" y="70"/>
                      <a:pt x="310" y="84"/>
                      <a:pt x="316" y="103"/>
                    </a:cubicBezTo>
                    <a:cubicBezTo>
                      <a:pt x="319" y="126"/>
                      <a:pt x="323" y="149"/>
                      <a:pt x="316" y="172"/>
                    </a:cubicBezTo>
                    <a:cubicBezTo>
                      <a:pt x="313" y="184"/>
                      <a:pt x="304" y="218"/>
                      <a:pt x="304" y="218"/>
                    </a:cubicBezTo>
                    <a:cubicBezTo>
                      <a:pt x="307" y="241"/>
                      <a:pt x="299" y="265"/>
                      <a:pt x="304" y="286"/>
                    </a:cubicBezTo>
                    <a:cubicBezTo>
                      <a:pt x="295" y="322"/>
                      <a:pt x="287" y="343"/>
                      <a:pt x="278" y="378"/>
                    </a:cubicBezTo>
                    <a:cubicBezTo>
                      <a:pt x="280" y="405"/>
                      <a:pt x="312" y="495"/>
                      <a:pt x="314" y="518"/>
                    </a:cubicBezTo>
                    <a:cubicBezTo>
                      <a:pt x="282" y="520"/>
                      <a:pt x="266" y="544"/>
                      <a:pt x="256" y="542"/>
                    </a:cubicBezTo>
                    <a:cubicBezTo>
                      <a:pt x="244" y="584"/>
                      <a:pt x="253" y="638"/>
                      <a:pt x="256" y="676"/>
                    </a:cubicBezTo>
                    <a:cubicBezTo>
                      <a:pt x="262" y="757"/>
                      <a:pt x="308" y="928"/>
                      <a:pt x="290" y="1028"/>
                    </a:cubicBezTo>
                    <a:cubicBezTo>
                      <a:pt x="278" y="1022"/>
                      <a:pt x="261" y="1033"/>
                      <a:pt x="240" y="1038"/>
                    </a:cubicBezTo>
                    <a:cubicBezTo>
                      <a:pt x="219" y="1043"/>
                      <a:pt x="190" y="1040"/>
                      <a:pt x="180" y="1018"/>
                    </a:cubicBezTo>
                    <a:cubicBezTo>
                      <a:pt x="184" y="985"/>
                      <a:pt x="190" y="980"/>
                      <a:pt x="200" y="968"/>
                    </a:cubicBezTo>
                    <a:cubicBezTo>
                      <a:pt x="200" y="949"/>
                      <a:pt x="196" y="934"/>
                      <a:pt x="172" y="888"/>
                    </a:cubicBezTo>
                    <a:cubicBezTo>
                      <a:pt x="162" y="868"/>
                      <a:pt x="168" y="868"/>
                      <a:pt x="162" y="828"/>
                    </a:cubicBezTo>
                    <a:cubicBezTo>
                      <a:pt x="157" y="803"/>
                      <a:pt x="147" y="754"/>
                      <a:pt x="144" y="760"/>
                    </a:cubicBezTo>
                    <a:close/>
                  </a:path>
                </a:pathLst>
              </a:custGeom>
              <a:solidFill>
                <a:srgbClr val="858585"/>
              </a:solidFill>
              <a:ln w="6350">
                <a:noFill/>
                <a:round/>
                <a:headEnd/>
                <a:tailEnd/>
              </a:ln>
            </p:spPr>
            <p:txBody>
              <a:bodyPr lIns="45720" tIns="46800" rIns="45720" bIns="46800" anchor="ctr"/>
              <a:lstStyle/>
              <a:p>
                <a:pPr defTabSz="912546"/>
                <a:endParaRPr>
                  <a:solidFill>
                    <a:srgbClr val="000000"/>
                  </a:solidFill>
                </a:endParaRPr>
              </a:p>
            </p:txBody>
          </p:sp>
          <p:sp>
            <p:nvSpPr>
              <p:cNvPr id="441519" name="Freeform 894"/>
              <p:cNvSpPr>
                <a:spLocks/>
              </p:cNvSpPr>
              <p:nvPr/>
            </p:nvSpPr>
            <p:spPr bwMode="gray">
              <a:xfrm>
                <a:off x="3610" y="1172"/>
                <a:ext cx="118" cy="212"/>
              </a:xfrm>
              <a:custGeom>
                <a:avLst/>
                <a:gdLst>
                  <a:gd name="T0" fmla="*/ 118 w 118"/>
                  <a:gd name="T1" fmla="*/ 0 h 212"/>
                  <a:gd name="T2" fmla="*/ 98 w 118"/>
                  <a:gd name="T3" fmla="*/ 18 h 212"/>
                  <a:gd name="T4" fmla="*/ 90 w 118"/>
                  <a:gd name="T5" fmla="*/ 34 h 212"/>
                  <a:gd name="T6" fmla="*/ 36 w 118"/>
                  <a:gd name="T7" fmla="*/ 106 h 212"/>
                  <a:gd name="T8" fmla="*/ 18 w 118"/>
                  <a:gd name="T9" fmla="*/ 126 h 212"/>
                  <a:gd name="T10" fmla="*/ 6 w 118"/>
                  <a:gd name="T11" fmla="*/ 144 h 212"/>
                  <a:gd name="T12" fmla="*/ 2 w 118"/>
                  <a:gd name="T13" fmla="*/ 160 h 212"/>
                  <a:gd name="T14" fmla="*/ 0 w 118"/>
                  <a:gd name="T15" fmla="*/ 168 h 212"/>
                  <a:gd name="T16" fmla="*/ 4 w 118"/>
                  <a:gd name="T17" fmla="*/ 208 h 212"/>
                  <a:gd name="T18" fmla="*/ 6 w 118"/>
                  <a:gd name="T19" fmla="*/ 196 h 212"/>
                  <a:gd name="T20" fmla="*/ 18 w 118"/>
                  <a:gd name="T21" fmla="*/ 146 h 212"/>
                  <a:gd name="T22" fmla="*/ 24 w 118"/>
                  <a:gd name="T23" fmla="*/ 138 h 212"/>
                  <a:gd name="T24" fmla="*/ 30 w 118"/>
                  <a:gd name="T25" fmla="*/ 132 h 212"/>
                  <a:gd name="T26" fmla="*/ 48 w 118"/>
                  <a:gd name="T27" fmla="*/ 102 h 212"/>
                  <a:gd name="T28" fmla="*/ 84 w 118"/>
                  <a:gd name="T29" fmla="*/ 48 h 212"/>
                  <a:gd name="T30" fmla="*/ 96 w 118"/>
                  <a:gd name="T31" fmla="*/ 36 h 212"/>
                  <a:gd name="T32" fmla="*/ 104 w 118"/>
                  <a:gd name="T33" fmla="*/ 20 h 212"/>
                  <a:gd name="T34" fmla="*/ 116 w 118"/>
                  <a:gd name="T35" fmla="*/ 16 h 212"/>
                  <a:gd name="T36" fmla="*/ 118 w 118"/>
                  <a:gd name="T37" fmla="*/ 0 h 2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8"/>
                  <a:gd name="T58" fmla="*/ 0 h 212"/>
                  <a:gd name="T59" fmla="*/ 118 w 118"/>
                  <a:gd name="T60" fmla="*/ 212 h 2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8" h="212">
                    <a:moveTo>
                      <a:pt x="118" y="0"/>
                    </a:moveTo>
                    <a:cubicBezTo>
                      <a:pt x="114" y="13"/>
                      <a:pt x="111" y="15"/>
                      <a:pt x="98" y="18"/>
                    </a:cubicBezTo>
                    <a:cubicBezTo>
                      <a:pt x="92" y="27"/>
                      <a:pt x="100" y="31"/>
                      <a:pt x="90" y="34"/>
                    </a:cubicBezTo>
                    <a:cubicBezTo>
                      <a:pt x="68" y="56"/>
                      <a:pt x="55" y="83"/>
                      <a:pt x="36" y="106"/>
                    </a:cubicBezTo>
                    <a:cubicBezTo>
                      <a:pt x="30" y="113"/>
                      <a:pt x="23" y="118"/>
                      <a:pt x="18" y="126"/>
                    </a:cubicBezTo>
                    <a:cubicBezTo>
                      <a:pt x="14" y="132"/>
                      <a:pt x="6" y="144"/>
                      <a:pt x="6" y="144"/>
                    </a:cubicBezTo>
                    <a:cubicBezTo>
                      <a:pt x="5" y="149"/>
                      <a:pt x="3" y="155"/>
                      <a:pt x="2" y="160"/>
                    </a:cubicBezTo>
                    <a:cubicBezTo>
                      <a:pt x="1" y="163"/>
                      <a:pt x="0" y="168"/>
                      <a:pt x="0" y="168"/>
                    </a:cubicBezTo>
                    <a:cubicBezTo>
                      <a:pt x="1" y="181"/>
                      <a:pt x="1" y="195"/>
                      <a:pt x="4" y="208"/>
                    </a:cubicBezTo>
                    <a:cubicBezTo>
                      <a:pt x="5" y="212"/>
                      <a:pt x="7" y="200"/>
                      <a:pt x="6" y="196"/>
                    </a:cubicBezTo>
                    <a:cubicBezTo>
                      <a:pt x="9" y="183"/>
                      <a:pt x="12" y="157"/>
                      <a:pt x="18" y="146"/>
                    </a:cubicBezTo>
                    <a:cubicBezTo>
                      <a:pt x="20" y="143"/>
                      <a:pt x="22" y="141"/>
                      <a:pt x="24" y="138"/>
                    </a:cubicBezTo>
                    <a:cubicBezTo>
                      <a:pt x="26" y="136"/>
                      <a:pt x="28" y="134"/>
                      <a:pt x="30" y="132"/>
                    </a:cubicBezTo>
                    <a:cubicBezTo>
                      <a:pt x="38" y="119"/>
                      <a:pt x="37" y="113"/>
                      <a:pt x="48" y="102"/>
                    </a:cubicBezTo>
                    <a:cubicBezTo>
                      <a:pt x="52" y="84"/>
                      <a:pt x="72" y="62"/>
                      <a:pt x="84" y="48"/>
                    </a:cubicBezTo>
                    <a:cubicBezTo>
                      <a:pt x="88" y="44"/>
                      <a:pt x="93" y="41"/>
                      <a:pt x="96" y="36"/>
                    </a:cubicBezTo>
                    <a:cubicBezTo>
                      <a:pt x="99" y="31"/>
                      <a:pt x="101" y="25"/>
                      <a:pt x="104" y="20"/>
                    </a:cubicBezTo>
                    <a:cubicBezTo>
                      <a:pt x="106" y="16"/>
                      <a:pt x="116" y="16"/>
                      <a:pt x="116" y="16"/>
                    </a:cubicBezTo>
                    <a:cubicBezTo>
                      <a:pt x="118" y="10"/>
                      <a:pt x="114" y="4"/>
                      <a:pt x="118" y="0"/>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520" name="Freeform 895"/>
              <p:cNvSpPr>
                <a:spLocks/>
              </p:cNvSpPr>
              <p:nvPr/>
            </p:nvSpPr>
            <p:spPr bwMode="gray">
              <a:xfrm>
                <a:off x="3676" y="1201"/>
                <a:ext cx="107" cy="485"/>
              </a:xfrm>
              <a:custGeom>
                <a:avLst/>
                <a:gdLst>
                  <a:gd name="T0" fmla="*/ 78 w 107"/>
                  <a:gd name="T1" fmla="*/ 9 h 485"/>
                  <a:gd name="T2" fmla="*/ 60 w 107"/>
                  <a:gd name="T3" fmla="*/ 55 h 485"/>
                  <a:gd name="T4" fmla="*/ 48 w 107"/>
                  <a:gd name="T5" fmla="*/ 105 h 485"/>
                  <a:gd name="T6" fmla="*/ 50 w 107"/>
                  <a:gd name="T7" fmla="*/ 145 h 485"/>
                  <a:gd name="T8" fmla="*/ 30 w 107"/>
                  <a:gd name="T9" fmla="*/ 259 h 485"/>
                  <a:gd name="T10" fmla="*/ 12 w 107"/>
                  <a:gd name="T11" fmla="*/ 291 h 485"/>
                  <a:gd name="T12" fmla="*/ 16 w 107"/>
                  <a:gd name="T13" fmla="*/ 319 h 485"/>
                  <a:gd name="T14" fmla="*/ 0 w 107"/>
                  <a:gd name="T15" fmla="*/ 301 h 485"/>
                  <a:gd name="T16" fmla="*/ 10 w 107"/>
                  <a:gd name="T17" fmla="*/ 325 h 485"/>
                  <a:gd name="T18" fmla="*/ 42 w 107"/>
                  <a:gd name="T19" fmla="*/ 433 h 485"/>
                  <a:gd name="T20" fmla="*/ 64 w 107"/>
                  <a:gd name="T21" fmla="*/ 459 h 485"/>
                  <a:gd name="T22" fmla="*/ 74 w 107"/>
                  <a:gd name="T23" fmla="*/ 477 h 485"/>
                  <a:gd name="T24" fmla="*/ 86 w 107"/>
                  <a:gd name="T25" fmla="*/ 485 h 485"/>
                  <a:gd name="T26" fmla="*/ 96 w 107"/>
                  <a:gd name="T27" fmla="*/ 473 h 485"/>
                  <a:gd name="T28" fmla="*/ 88 w 107"/>
                  <a:gd name="T29" fmla="*/ 425 h 485"/>
                  <a:gd name="T30" fmla="*/ 84 w 107"/>
                  <a:gd name="T31" fmla="*/ 419 h 485"/>
                  <a:gd name="T32" fmla="*/ 94 w 107"/>
                  <a:gd name="T33" fmla="*/ 457 h 485"/>
                  <a:gd name="T34" fmla="*/ 68 w 107"/>
                  <a:gd name="T35" fmla="*/ 445 h 485"/>
                  <a:gd name="T36" fmla="*/ 82 w 107"/>
                  <a:gd name="T37" fmla="*/ 399 h 485"/>
                  <a:gd name="T38" fmla="*/ 92 w 107"/>
                  <a:gd name="T39" fmla="*/ 383 h 485"/>
                  <a:gd name="T40" fmla="*/ 106 w 107"/>
                  <a:gd name="T41" fmla="*/ 337 h 485"/>
                  <a:gd name="T42" fmla="*/ 104 w 107"/>
                  <a:gd name="T43" fmla="*/ 329 h 485"/>
                  <a:gd name="T44" fmla="*/ 102 w 107"/>
                  <a:gd name="T45" fmla="*/ 335 h 485"/>
                  <a:gd name="T46" fmla="*/ 94 w 107"/>
                  <a:gd name="T47" fmla="*/ 355 h 485"/>
                  <a:gd name="T48" fmla="*/ 72 w 107"/>
                  <a:gd name="T49" fmla="*/ 409 h 485"/>
                  <a:gd name="T50" fmla="*/ 60 w 107"/>
                  <a:gd name="T51" fmla="*/ 435 h 485"/>
                  <a:gd name="T52" fmla="*/ 34 w 107"/>
                  <a:gd name="T53" fmla="*/ 419 h 485"/>
                  <a:gd name="T54" fmla="*/ 30 w 107"/>
                  <a:gd name="T55" fmla="*/ 413 h 485"/>
                  <a:gd name="T56" fmla="*/ 24 w 107"/>
                  <a:gd name="T57" fmla="*/ 411 h 485"/>
                  <a:gd name="T58" fmla="*/ 12 w 107"/>
                  <a:gd name="T59" fmla="*/ 373 h 485"/>
                  <a:gd name="T60" fmla="*/ 36 w 107"/>
                  <a:gd name="T61" fmla="*/ 289 h 485"/>
                  <a:gd name="T62" fmla="*/ 34 w 107"/>
                  <a:gd name="T63" fmla="*/ 263 h 485"/>
                  <a:gd name="T64" fmla="*/ 52 w 107"/>
                  <a:gd name="T65" fmla="*/ 229 h 485"/>
                  <a:gd name="T66" fmla="*/ 54 w 107"/>
                  <a:gd name="T67" fmla="*/ 199 h 485"/>
                  <a:gd name="T68" fmla="*/ 58 w 107"/>
                  <a:gd name="T69" fmla="*/ 179 h 485"/>
                  <a:gd name="T70" fmla="*/ 68 w 107"/>
                  <a:gd name="T71" fmla="*/ 175 h 485"/>
                  <a:gd name="T72" fmla="*/ 70 w 107"/>
                  <a:gd name="T73" fmla="*/ 169 h 485"/>
                  <a:gd name="T74" fmla="*/ 54 w 107"/>
                  <a:gd name="T75" fmla="*/ 129 h 485"/>
                  <a:gd name="T76" fmla="*/ 56 w 107"/>
                  <a:gd name="T77" fmla="*/ 103 h 485"/>
                  <a:gd name="T78" fmla="*/ 62 w 107"/>
                  <a:gd name="T79" fmla="*/ 79 h 485"/>
                  <a:gd name="T80" fmla="*/ 76 w 107"/>
                  <a:gd name="T81" fmla="*/ 23 h 485"/>
                  <a:gd name="T82" fmla="*/ 84 w 107"/>
                  <a:gd name="T83" fmla="*/ 7 h 485"/>
                  <a:gd name="T84" fmla="*/ 90 w 107"/>
                  <a:gd name="T85" fmla="*/ 1 h 485"/>
                  <a:gd name="T86" fmla="*/ 78 w 107"/>
                  <a:gd name="T87" fmla="*/ 9 h 4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7"/>
                  <a:gd name="T133" fmla="*/ 0 h 485"/>
                  <a:gd name="T134" fmla="*/ 107 w 107"/>
                  <a:gd name="T135" fmla="*/ 485 h 4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7" h="485">
                    <a:moveTo>
                      <a:pt x="78" y="9"/>
                    </a:moveTo>
                    <a:cubicBezTo>
                      <a:pt x="74" y="26"/>
                      <a:pt x="65" y="39"/>
                      <a:pt x="60" y="55"/>
                    </a:cubicBezTo>
                    <a:cubicBezTo>
                      <a:pt x="58" y="72"/>
                      <a:pt x="51" y="88"/>
                      <a:pt x="48" y="105"/>
                    </a:cubicBezTo>
                    <a:cubicBezTo>
                      <a:pt x="49" y="118"/>
                      <a:pt x="50" y="132"/>
                      <a:pt x="50" y="145"/>
                    </a:cubicBezTo>
                    <a:cubicBezTo>
                      <a:pt x="50" y="186"/>
                      <a:pt x="40" y="220"/>
                      <a:pt x="30" y="259"/>
                    </a:cubicBezTo>
                    <a:cubicBezTo>
                      <a:pt x="27" y="271"/>
                      <a:pt x="23" y="286"/>
                      <a:pt x="12" y="291"/>
                    </a:cubicBezTo>
                    <a:cubicBezTo>
                      <a:pt x="14" y="302"/>
                      <a:pt x="19" y="308"/>
                      <a:pt x="16" y="319"/>
                    </a:cubicBezTo>
                    <a:cubicBezTo>
                      <a:pt x="11" y="312"/>
                      <a:pt x="5" y="308"/>
                      <a:pt x="0" y="301"/>
                    </a:cubicBezTo>
                    <a:cubicBezTo>
                      <a:pt x="3" y="313"/>
                      <a:pt x="8" y="311"/>
                      <a:pt x="10" y="325"/>
                    </a:cubicBezTo>
                    <a:cubicBezTo>
                      <a:pt x="5" y="365"/>
                      <a:pt x="7" y="409"/>
                      <a:pt x="42" y="433"/>
                    </a:cubicBezTo>
                    <a:cubicBezTo>
                      <a:pt x="47" y="441"/>
                      <a:pt x="56" y="454"/>
                      <a:pt x="64" y="459"/>
                    </a:cubicBezTo>
                    <a:cubicBezTo>
                      <a:pt x="66" y="464"/>
                      <a:pt x="70" y="473"/>
                      <a:pt x="74" y="477"/>
                    </a:cubicBezTo>
                    <a:cubicBezTo>
                      <a:pt x="77" y="480"/>
                      <a:pt x="86" y="485"/>
                      <a:pt x="86" y="485"/>
                    </a:cubicBezTo>
                    <a:cubicBezTo>
                      <a:pt x="94" y="482"/>
                      <a:pt x="99" y="482"/>
                      <a:pt x="96" y="473"/>
                    </a:cubicBezTo>
                    <a:cubicBezTo>
                      <a:pt x="105" y="456"/>
                      <a:pt x="107" y="438"/>
                      <a:pt x="88" y="425"/>
                    </a:cubicBezTo>
                    <a:cubicBezTo>
                      <a:pt x="87" y="423"/>
                      <a:pt x="84" y="417"/>
                      <a:pt x="84" y="419"/>
                    </a:cubicBezTo>
                    <a:cubicBezTo>
                      <a:pt x="84" y="429"/>
                      <a:pt x="91" y="448"/>
                      <a:pt x="94" y="457"/>
                    </a:cubicBezTo>
                    <a:cubicBezTo>
                      <a:pt x="80" y="471"/>
                      <a:pt x="77" y="458"/>
                      <a:pt x="68" y="445"/>
                    </a:cubicBezTo>
                    <a:cubicBezTo>
                      <a:pt x="80" y="433"/>
                      <a:pt x="78" y="415"/>
                      <a:pt x="82" y="399"/>
                    </a:cubicBezTo>
                    <a:cubicBezTo>
                      <a:pt x="84" y="393"/>
                      <a:pt x="90" y="389"/>
                      <a:pt x="92" y="383"/>
                    </a:cubicBezTo>
                    <a:cubicBezTo>
                      <a:pt x="98" y="368"/>
                      <a:pt x="101" y="352"/>
                      <a:pt x="106" y="337"/>
                    </a:cubicBezTo>
                    <a:cubicBezTo>
                      <a:pt x="105" y="334"/>
                      <a:pt x="106" y="330"/>
                      <a:pt x="104" y="329"/>
                    </a:cubicBezTo>
                    <a:cubicBezTo>
                      <a:pt x="102" y="328"/>
                      <a:pt x="103" y="333"/>
                      <a:pt x="102" y="335"/>
                    </a:cubicBezTo>
                    <a:cubicBezTo>
                      <a:pt x="93" y="356"/>
                      <a:pt x="103" y="328"/>
                      <a:pt x="94" y="355"/>
                    </a:cubicBezTo>
                    <a:cubicBezTo>
                      <a:pt x="86" y="379"/>
                      <a:pt x="88" y="388"/>
                      <a:pt x="72" y="409"/>
                    </a:cubicBezTo>
                    <a:cubicBezTo>
                      <a:pt x="69" y="420"/>
                      <a:pt x="71" y="431"/>
                      <a:pt x="60" y="435"/>
                    </a:cubicBezTo>
                    <a:cubicBezTo>
                      <a:pt x="55" y="425"/>
                      <a:pt x="45" y="423"/>
                      <a:pt x="34" y="419"/>
                    </a:cubicBezTo>
                    <a:cubicBezTo>
                      <a:pt x="33" y="417"/>
                      <a:pt x="32" y="415"/>
                      <a:pt x="30" y="413"/>
                    </a:cubicBezTo>
                    <a:cubicBezTo>
                      <a:pt x="28" y="412"/>
                      <a:pt x="25" y="412"/>
                      <a:pt x="24" y="411"/>
                    </a:cubicBezTo>
                    <a:cubicBezTo>
                      <a:pt x="20" y="407"/>
                      <a:pt x="14" y="381"/>
                      <a:pt x="12" y="373"/>
                    </a:cubicBezTo>
                    <a:cubicBezTo>
                      <a:pt x="10" y="340"/>
                      <a:pt x="8" y="308"/>
                      <a:pt x="36" y="289"/>
                    </a:cubicBezTo>
                    <a:cubicBezTo>
                      <a:pt x="42" y="280"/>
                      <a:pt x="36" y="273"/>
                      <a:pt x="34" y="263"/>
                    </a:cubicBezTo>
                    <a:cubicBezTo>
                      <a:pt x="36" y="253"/>
                      <a:pt x="45" y="236"/>
                      <a:pt x="52" y="229"/>
                    </a:cubicBezTo>
                    <a:cubicBezTo>
                      <a:pt x="58" y="211"/>
                      <a:pt x="56" y="221"/>
                      <a:pt x="54" y="199"/>
                    </a:cubicBezTo>
                    <a:cubicBezTo>
                      <a:pt x="55" y="192"/>
                      <a:pt x="55" y="185"/>
                      <a:pt x="58" y="179"/>
                    </a:cubicBezTo>
                    <a:cubicBezTo>
                      <a:pt x="60" y="176"/>
                      <a:pt x="65" y="177"/>
                      <a:pt x="68" y="175"/>
                    </a:cubicBezTo>
                    <a:cubicBezTo>
                      <a:pt x="70" y="174"/>
                      <a:pt x="69" y="171"/>
                      <a:pt x="70" y="169"/>
                    </a:cubicBezTo>
                    <a:cubicBezTo>
                      <a:pt x="66" y="155"/>
                      <a:pt x="58" y="143"/>
                      <a:pt x="54" y="129"/>
                    </a:cubicBezTo>
                    <a:cubicBezTo>
                      <a:pt x="55" y="120"/>
                      <a:pt x="55" y="112"/>
                      <a:pt x="56" y="103"/>
                    </a:cubicBezTo>
                    <a:cubicBezTo>
                      <a:pt x="57" y="95"/>
                      <a:pt x="62" y="79"/>
                      <a:pt x="62" y="79"/>
                    </a:cubicBezTo>
                    <a:cubicBezTo>
                      <a:pt x="63" y="62"/>
                      <a:pt x="68" y="39"/>
                      <a:pt x="76" y="23"/>
                    </a:cubicBezTo>
                    <a:cubicBezTo>
                      <a:pt x="79" y="18"/>
                      <a:pt x="81" y="12"/>
                      <a:pt x="84" y="7"/>
                    </a:cubicBezTo>
                    <a:cubicBezTo>
                      <a:pt x="85" y="4"/>
                      <a:pt x="93" y="0"/>
                      <a:pt x="90" y="1"/>
                    </a:cubicBezTo>
                    <a:cubicBezTo>
                      <a:pt x="85" y="3"/>
                      <a:pt x="82" y="6"/>
                      <a:pt x="78" y="9"/>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521" name="Freeform 896"/>
              <p:cNvSpPr>
                <a:spLocks/>
              </p:cNvSpPr>
              <p:nvPr/>
            </p:nvSpPr>
            <p:spPr bwMode="gray">
              <a:xfrm>
                <a:off x="3529" y="1484"/>
                <a:ext cx="41" cy="110"/>
              </a:xfrm>
              <a:custGeom>
                <a:avLst/>
                <a:gdLst>
                  <a:gd name="T0" fmla="*/ 37 w 41"/>
                  <a:gd name="T1" fmla="*/ 6 h 110"/>
                  <a:gd name="T2" fmla="*/ 41 w 41"/>
                  <a:gd name="T3" fmla="*/ 58 h 110"/>
                  <a:gd name="T4" fmla="*/ 11 w 41"/>
                  <a:gd name="T5" fmla="*/ 90 h 110"/>
                  <a:gd name="T6" fmla="*/ 3 w 41"/>
                  <a:gd name="T7" fmla="*/ 110 h 110"/>
                  <a:gd name="T8" fmla="*/ 15 w 41"/>
                  <a:gd name="T9" fmla="*/ 78 h 110"/>
                  <a:gd name="T10" fmla="*/ 29 w 41"/>
                  <a:gd name="T11" fmla="*/ 58 h 110"/>
                  <a:gd name="T12" fmla="*/ 21 w 41"/>
                  <a:gd name="T13" fmla="*/ 40 h 110"/>
                  <a:gd name="T14" fmla="*/ 33 w 41"/>
                  <a:gd name="T15" fmla="*/ 30 h 110"/>
                  <a:gd name="T16" fmla="*/ 39 w 41"/>
                  <a:gd name="T17" fmla="*/ 8 h 110"/>
                  <a:gd name="T18" fmla="*/ 37 w 41"/>
                  <a:gd name="T19" fmla="*/ 6 h 1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110"/>
                  <a:gd name="T32" fmla="*/ 41 w 41"/>
                  <a:gd name="T33" fmla="*/ 110 h 1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110">
                    <a:moveTo>
                      <a:pt x="37" y="6"/>
                    </a:moveTo>
                    <a:cubicBezTo>
                      <a:pt x="34" y="24"/>
                      <a:pt x="30" y="41"/>
                      <a:pt x="41" y="58"/>
                    </a:cubicBezTo>
                    <a:cubicBezTo>
                      <a:pt x="37" y="70"/>
                      <a:pt x="23" y="86"/>
                      <a:pt x="11" y="90"/>
                    </a:cubicBezTo>
                    <a:cubicBezTo>
                      <a:pt x="6" y="105"/>
                      <a:pt x="9" y="98"/>
                      <a:pt x="3" y="110"/>
                    </a:cubicBezTo>
                    <a:cubicBezTo>
                      <a:pt x="0" y="100"/>
                      <a:pt x="9" y="87"/>
                      <a:pt x="15" y="78"/>
                    </a:cubicBezTo>
                    <a:cubicBezTo>
                      <a:pt x="17" y="70"/>
                      <a:pt x="29" y="58"/>
                      <a:pt x="29" y="58"/>
                    </a:cubicBezTo>
                    <a:cubicBezTo>
                      <a:pt x="35" y="41"/>
                      <a:pt x="34" y="48"/>
                      <a:pt x="21" y="40"/>
                    </a:cubicBezTo>
                    <a:cubicBezTo>
                      <a:pt x="14" y="30"/>
                      <a:pt x="23" y="32"/>
                      <a:pt x="33" y="30"/>
                    </a:cubicBezTo>
                    <a:cubicBezTo>
                      <a:pt x="38" y="12"/>
                      <a:pt x="35" y="19"/>
                      <a:pt x="39" y="8"/>
                    </a:cubicBezTo>
                    <a:cubicBezTo>
                      <a:pt x="34" y="1"/>
                      <a:pt x="34" y="0"/>
                      <a:pt x="37" y="6"/>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522" name="Freeform 897"/>
              <p:cNvSpPr>
                <a:spLocks/>
              </p:cNvSpPr>
              <p:nvPr/>
            </p:nvSpPr>
            <p:spPr bwMode="gray">
              <a:xfrm>
                <a:off x="3564" y="1678"/>
                <a:ext cx="89" cy="436"/>
              </a:xfrm>
              <a:custGeom>
                <a:avLst/>
                <a:gdLst>
                  <a:gd name="T0" fmla="*/ 24 w 89"/>
                  <a:gd name="T1" fmla="*/ 22 h 436"/>
                  <a:gd name="T2" fmla="*/ 38 w 89"/>
                  <a:gd name="T3" fmla="*/ 62 h 436"/>
                  <a:gd name="T4" fmla="*/ 62 w 89"/>
                  <a:gd name="T5" fmla="*/ 142 h 436"/>
                  <a:gd name="T6" fmla="*/ 66 w 89"/>
                  <a:gd name="T7" fmla="*/ 218 h 436"/>
                  <a:gd name="T8" fmla="*/ 56 w 89"/>
                  <a:gd name="T9" fmla="*/ 250 h 436"/>
                  <a:gd name="T10" fmla="*/ 76 w 89"/>
                  <a:gd name="T11" fmla="*/ 296 h 436"/>
                  <a:gd name="T12" fmla="*/ 68 w 89"/>
                  <a:gd name="T13" fmla="*/ 336 h 436"/>
                  <a:gd name="T14" fmla="*/ 56 w 89"/>
                  <a:gd name="T15" fmla="*/ 304 h 436"/>
                  <a:gd name="T16" fmla="*/ 52 w 89"/>
                  <a:gd name="T17" fmla="*/ 266 h 436"/>
                  <a:gd name="T18" fmla="*/ 48 w 89"/>
                  <a:gd name="T19" fmla="*/ 308 h 436"/>
                  <a:gd name="T20" fmla="*/ 78 w 89"/>
                  <a:gd name="T21" fmla="*/ 378 h 436"/>
                  <a:gd name="T22" fmla="*/ 82 w 89"/>
                  <a:gd name="T23" fmla="*/ 402 h 436"/>
                  <a:gd name="T24" fmla="*/ 74 w 89"/>
                  <a:gd name="T25" fmla="*/ 436 h 436"/>
                  <a:gd name="T26" fmla="*/ 60 w 89"/>
                  <a:gd name="T27" fmla="*/ 406 h 436"/>
                  <a:gd name="T28" fmla="*/ 46 w 89"/>
                  <a:gd name="T29" fmla="*/ 388 h 436"/>
                  <a:gd name="T30" fmla="*/ 34 w 89"/>
                  <a:gd name="T31" fmla="*/ 370 h 436"/>
                  <a:gd name="T32" fmla="*/ 6 w 89"/>
                  <a:gd name="T33" fmla="*/ 320 h 436"/>
                  <a:gd name="T34" fmla="*/ 12 w 89"/>
                  <a:gd name="T35" fmla="*/ 326 h 436"/>
                  <a:gd name="T36" fmla="*/ 22 w 89"/>
                  <a:gd name="T37" fmla="*/ 350 h 436"/>
                  <a:gd name="T38" fmla="*/ 44 w 89"/>
                  <a:gd name="T39" fmla="*/ 404 h 436"/>
                  <a:gd name="T40" fmla="*/ 42 w 89"/>
                  <a:gd name="T41" fmla="*/ 428 h 436"/>
                  <a:gd name="T42" fmla="*/ 26 w 89"/>
                  <a:gd name="T43" fmla="*/ 420 h 436"/>
                  <a:gd name="T44" fmla="*/ 8 w 89"/>
                  <a:gd name="T45" fmla="*/ 380 h 436"/>
                  <a:gd name="T46" fmla="*/ 2 w 89"/>
                  <a:gd name="T47" fmla="*/ 348 h 436"/>
                  <a:gd name="T48" fmla="*/ 0 w 89"/>
                  <a:gd name="T49" fmla="*/ 230 h 436"/>
                  <a:gd name="T50" fmla="*/ 4 w 89"/>
                  <a:gd name="T51" fmla="*/ 244 h 436"/>
                  <a:gd name="T52" fmla="*/ 14 w 89"/>
                  <a:gd name="T53" fmla="*/ 292 h 436"/>
                  <a:gd name="T54" fmla="*/ 26 w 89"/>
                  <a:gd name="T55" fmla="*/ 336 h 436"/>
                  <a:gd name="T56" fmla="*/ 42 w 89"/>
                  <a:gd name="T57" fmla="*/ 354 h 436"/>
                  <a:gd name="T58" fmla="*/ 48 w 89"/>
                  <a:gd name="T59" fmla="*/ 326 h 436"/>
                  <a:gd name="T60" fmla="*/ 44 w 89"/>
                  <a:gd name="T61" fmla="*/ 314 h 436"/>
                  <a:gd name="T62" fmla="*/ 34 w 89"/>
                  <a:gd name="T63" fmla="*/ 272 h 436"/>
                  <a:gd name="T64" fmla="*/ 28 w 89"/>
                  <a:gd name="T65" fmla="*/ 254 h 436"/>
                  <a:gd name="T66" fmla="*/ 30 w 89"/>
                  <a:gd name="T67" fmla="*/ 220 h 436"/>
                  <a:gd name="T68" fmla="*/ 32 w 89"/>
                  <a:gd name="T69" fmla="*/ 214 h 436"/>
                  <a:gd name="T70" fmla="*/ 38 w 89"/>
                  <a:gd name="T71" fmla="*/ 184 h 436"/>
                  <a:gd name="T72" fmla="*/ 22 w 89"/>
                  <a:gd name="T73" fmla="*/ 64 h 436"/>
                  <a:gd name="T74" fmla="*/ 26 w 89"/>
                  <a:gd name="T75" fmla="*/ 0 h 4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9"/>
                  <a:gd name="T115" fmla="*/ 0 h 436"/>
                  <a:gd name="T116" fmla="*/ 89 w 89"/>
                  <a:gd name="T117" fmla="*/ 436 h 4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9" h="436">
                    <a:moveTo>
                      <a:pt x="24" y="22"/>
                    </a:moveTo>
                    <a:cubicBezTo>
                      <a:pt x="37" y="31"/>
                      <a:pt x="29" y="49"/>
                      <a:pt x="38" y="62"/>
                    </a:cubicBezTo>
                    <a:cubicBezTo>
                      <a:pt x="43" y="90"/>
                      <a:pt x="53" y="116"/>
                      <a:pt x="62" y="142"/>
                    </a:cubicBezTo>
                    <a:cubicBezTo>
                      <a:pt x="60" y="169"/>
                      <a:pt x="63" y="191"/>
                      <a:pt x="66" y="218"/>
                    </a:cubicBezTo>
                    <a:cubicBezTo>
                      <a:pt x="65" y="238"/>
                      <a:pt x="72" y="282"/>
                      <a:pt x="56" y="250"/>
                    </a:cubicBezTo>
                    <a:cubicBezTo>
                      <a:pt x="58" y="270"/>
                      <a:pt x="64" y="280"/>
                      <a:pt x="76" y="296"/>
                    </a:cubicBezTo>
                    <a:cubicBezTo>
                      <a:pt x="75" y="310"/>
                      <a:pt x="78" y="346"/>
                      <a:pt x="68" y="336"/>
                    </a:cubicBezTo>
                    <a:cubicBezTo>
                      <a:pt x="61" y="329"/>
                      <a:pt x="61" y="314"/>
                      <a:pt x="56" y="304"/>
                    </a:cubicBezTo>
                    <a:cubicBezTo>
                      <a:pt x="55" y="291"/>
                      <a:pt x="53" y="253"/>
                      <a:pt x="52" y="266"/>
                    </a:cubicBezTo>
                    <a:cubicBezTo>
                      <a:pt x="51" y="280"/>
                      <a:pt x="48" y="308"/>
                      <a:pt x="48" y="308"/>
                    </a:cubicBezTo>
                    <a:cubicBezTo>
                      <a:pt x="51" y="333"/>
                      <a:pt x="57" y="362"/>
                      <a:pt x="78" y="378"/>
                    </a:cubicBezTo>
                    <a:cubicBezTo>
                      <a:pt x="87" y="397"/>
                      <a:pt x="89" y="389"/>
                      <a:pt x="82" y="402"/>
                    </a:cubicBezTo>
                    <a:cubicBezTo>
                      <a:pt x="80" y="414"/>
                      <a:pt x="77" y="425"/>
                      <a:pt x="74" y="436"/>
                    </a:cubicBezTo>
                    <a:cubicBezTo>
                      <a:pt x="71" y="422"/>
                      <a:pt x="70" y="416"/>
                      <a:pt x="60" y="406"/>
                    </a:cubicBezTo>
                    <a:cubicBezTo>
                      <a:pt x="57" y="396"/>
                      <a:pt x="55" y="393"/>
                      <a:pt x="46" y="388"/>
                    </a:cubicBezTo>
                    <a:cubicBezTo>
                      <a:pt x="43" y="380"/>
                      <a:pt x="41" y="375"/>
                      <a:pt x="34" y="370"/>
                    </a:cubicBezTo>
                    <a:cubicBezTo>
                      <a:pt x="23" y="354"/>
                      <a:pt x="12" y="338"/>
                      <a:pt x="6" y="320"/>
                    </a:cubicBezTo>
                    <a:cubicBezTo>
                      <a:pt x="5" y="317"/>
                      <a:pt x="10" y="324"/>
                      <a:pt x="12" y="326"/>
                    </a:cubicBezTo>
                    <a:cubicBezTo>
                      <a:pt x="15" y="334"/>
                      <a:pt x="18" y="342"/>
                      <a:pt x="22" y="350"/>
                    </a:cubicBezTo>
                    <a:cubicBezTo>
                      <a:pt x="26" y="372"/>
                      <a:pt x="24" y="391"/>
                      <a:pt x="44" y="404"/>
                    </a:cubicBezTo>
                    <a:cubicBezTo>
                      <a:pt x="46" y="419"/>
                      <a:pt x="48" y="429"/>
                      <a:pt x="42" y="428"/>
                    </a:cubicBezTo>
                    <a:cubicBezTo>
                      <a:pt x="36" y="427"/>
                      <a:pt x="26" y="420"/>
                      <a:pt x="26" y="420"/>
                    </a:cubicBezTo>
                    <a:cubicBezTo>
                      <a:pt x="22" y="408"/>
                      <a:pt x="14" y="392"/>
                      <a:pt x="8" y="380"/>
                    </a:cubicBezTo>
                    <a:cubicBezTo>
                      <a:pt x="6" y="369"/>
                      <a:pt x="4" y="359"/>
                      <a:pt x="2" y="348"/>
                    </a:cubicBezTo>
                    <a:cubicBezTo>
                      <a:pt x="12" y="308"/>
                      <a:pt x="0" y="269"/>
                      <a:pt x="0" y="230"/>
                    </a:cubicBezTo>
                    <a:cubicBezTo>
                      <a:pt x="0" y="225"/>
                      <a:pt x="3" y="239"/>
                      <a:pt x="4" y="244"/>
                    </a:cubicBezTo>
                    <a:cubicBezTo>
                      <a:pt x="6" y="261"/>
                      <a:pt x="9" y="276"/>
                      <a:pt x="14" y="292"/>
                    </a:cubicBezTo>
                    <a:cubicBezTo>
                      <a:pt x="16" y="308"/>
                      <a:pt x="19" y="322"/>
                      <a:pt x="26" y="336"/>
                    </a:cubicBezTo>
                    <a:cubicBezTo>
                      <a:pt x="30" y="343"/>
                      <a:pt x="42" y="354"/>
                      <a:pt x="42" y="354"/>
                    </a:cubicBezTo>
                    <a:cubicBezTo>
                      <a:pt x="58" y="351"/>
                      <a:pt x="51" y="340"/>
                      <a:pt x="48" y="326"/>
                    </a:cubicBezTo>
                    <a:cubicBezTo>
                      <a:pt x="47" y="322"/>
                      <a:pt x="44" y="314"/>
                      <a:pt x="44" y="314"/>
                    </a:cubicBezTo>
                    <a:cubicBezTo>
                      <a:pt x="42" y="291"/>
                      <a:pt x="40" y="291"/>
                      <a:pt x="34" y="272"/>
                    </a:cubicBezTo>
                    <a:cubicBezTo>
                      <a:pt x="32" y="266"/>
                      <a:pt x="28" y="254"/>
                      <a:pt x="28" y="254"/>
                    </a:cubicBezTo>
                    <a:cubicBezTo>
                      <a:pt x="29" y="243"/>
                      <a:pt x="29" y="231"/>
                      <a:pt x="30" y="220"/>
                    </a:cubicBezTo>
                    <a:cubicBezTo>
                      <a:pt x="30" y="218"/>
                      <a:pt x="32" y="216"/>
                      <a:pt x="32" y="214"/>
                    </a:cubicBezTo>
                    <a:cubicBezTo>
                      <a:pt x="34" y="204"/>
                      <a:pt x="38" y="184"/>
                      <a:pt x="38" y="184"/>
                    </a:cubicBezTo>
                    <a:cubicBezTo>
                      <a:pt x="36" y="142"/>
                      <a:pt x="41" y="101"/>
                      <a:pt x="22" y="64"/>
                    </a:cubicBezTo>
                    <a:cubicBezTo>
                      <a:pt x="23" y="43"/>
                      <a:pt x="26" y="21"/>
                      <a:pt x="26" y="0"/>
                    </a:cubicBezTo>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523" name="Freeform 898"/>
              <p:cNvSpPr>
                <a:spLocks/>
              </p:cNvSpPr>
              <p:nvPr/>
            </p:nvSpPr>
            <p:spPr bwMode="gray">
              <a:xfrm>
                <a:off x="3557" y="1504"/>
                <a:ext cx="127" cy="142"/>
              </a:xfrm>
              <a:custGeom>
                <a:avLst/>
                <a:gdLst>
                  <a:gd name="T0" fmla="*/ 95 w 127"/>
                  <a:gd name="T1" fmla="*/ 0 h 142"/>
                  <a:gd name="T2" fmla="*/ 127 w 127"/>
                  <a:gd name="T3" fmla="*/ 52 h 142"/>
                  <a:gd name="T4" fmla="*/ 105 w 127"/>
                  <a:gd name="T5" fmla="*/ 38 h 142"/>
                  <a:gd name="T6" fmla="*/ 97 w 127"/>
                  <a:gd name="T7" fmla="*/ 108 h 142"/>
                  <a:gd name="T8" fmla="*/ 89 w 127"/>
                  <a:gd name="T9" fmla="*/ 46 h 142"/>
                  <a:gd name="T10" fmla="*/ 69 w 127"/>
                  <a:gd name="T11" fmla="*/ 78 h 142"/>
                  <a:gd name="T12" fmla="*/ 67 w 127"/>
                  <a:gd name="T13" fmla="*/ 126 h 142"/>
                  <a:gd name="T14" fmla="*/ 65 w 127"/>
                  <a:gd name="T15" fmla="*/ 140 h 142"/>
                  <a:gd name="T16" fmla="*/ 63 w 127"/>
                  <a:gd name="T17" fmla="*/ 132 h 142"/>
                  <a:gd name="T18" fmla="*/ 65 w 127"/>
                  <a:gd name="T19" fmla="*/ 88 h 142"/>
                  <a:gd name="T20" fmla="*/ 75 w 127"/>
                  <a:gd name="T21" fmla="*/ 62 h 142"/>
                  <a:gd name="T22" fmla="*/ 47 w 127"/>
                  <a:gd name="T23" fmla="*/ 22 h 142"/>
                  <a:gd name="T24" fmla="*/ 29 w 127"/>
                  <a:gd name="T25" fmla="*/ 50 h 142"/>
                  <a:gd name="T26" fmla="*/ 25 w 127"/>
                  <a:gd name="T27" fmla="*/ 66 h 142"/>
                  <a:gd name="T28" fmla="*/ 23 w 127"/>
                  <a:gd name="T29" fmla="*/ 114 h 142"/>
                  <a:gd name="T30" fmla="*/ 21 w 127"/>
                  <a:gd name="T31" fmla="*/ 108 h 142"/>
                  <a:gd name="T32" fmla="*/ 17 w 127"/>
                  <a:gd name="T33" fmla="*/ 78 h 142"/>
                  <a:gd name="T34" fmla="*/ 13 w 127"/>
                  <a:gd name="T35" fmla="*/ 72 h 142"/>
                  <a:gd name="T36" fmla="*/ 7 w 127"/>
                  <a:gd name="T37" fmla="*/ 70 h 142"/>
                  <a:gd name="T38" fmla="*/ 3 w 127"/>
                  <a:gd name="T39" fmla="*/ 84 h 142"/>
                  <a:gd name="T40" fmla="*/ 5 w 127"/>
                  <a:gd name="T41" fmla="*/ 118 h 142"/>
                  <a:gd name="T42" fmla="*/ 5 w 127"/>
                  <a:gd name="T43" fmla="*/ 54 h 142"/>
                  <a:gd name="T44" fmla="*/ 15 w 127"/>
                  <a:gd name="T45" fmla="*/ 42 h 142"/>
                  <a:gd name="T46" fmla="*/ 23 w 127"/>
                  <a:gd name="T47" fmla="*/ 98 h 142"/>
                  <a:gd name="T48" fmla="*/ 17 w 127"/>
                  <a:gd name="T49" fmla="*/ 32 h 142"/>
                  <a:gd name="T50" fmla="*/ 23 w 127"/>
                  <a:gd name="T51" fmla="*/ 22 h 142"/>
                  <a:gd name="T52" fmla="*/ 87 w 127"/>
                  <a:gd name="T53" fmla="*/ 20 h 142"/>
                  <a:gd name="T54" fmla="*/ 95 w 127"/>
                  <a:gd name="T55" fmla="*/ 0 h 14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7"/>
                  <a:gd name="T85" fmla="*/ 0 h 142"/>
                  <a:gd name="T86" fmla="*/ 127 w 127"/>
                  <a:gd name="T87" fmla="*/ 142 h 14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7" h="142">
                    <a:moveTo>
                      <a:pt x="95" y="0"/>
                    </a:moveTo>
                    <a:cubicBezTo>
                      <a:pt x="104" y="18"/>
                      <a:pt x="118" y="34"/>
                      <a:pt x="127" y="52"/>
                    </a:cubicBezTo>
                    <a:cubicBezTo>
                      <a:pt x="113" y="55"/>
                      <a:pt x="116" y="44"/>
                      <a:pt x="105" y="38"/>
                    </a:cubicBezTo>
                    <a:cubicBezTo>
                      <a:pt x="97" y="61"/>
                      <a:pt x="105" y="85"/>
                      <a:pt x="97" y="108"/>
                    </a:cubicBezTo>
                    <a:cubicBezTo>
                      <a:pt x="96" y="98"/>
                      <a:pt x="101" y="50"/>
                      <a:pt x="89" y="46"/>
                    </a:cubicBezTo>
                    <a:cubicBezTo>
                      <a:pt x="80" y="52"/>
                      <a:pt x="76" y="68"/>
                      <a:pt x="69" y="78"/>
                    </a:cubicBezTo>
                    <a:cubicBezTo>
                      <a:pt x="73" y="96"/>
                      <a:pt x="73" y="109"/>
                      <a:pt x="67" y="126"/>
                    </a:cubicBezTo>
                    <a:cubicBezTo>
                      <a:pt x="66" y="131"/>
                      <a:pt x="68" y="136"/>
                      <a:pt x="65" y="140"/>
                    </a:cubicBezTo>
                    <a:cubicBezTo>
                      <a:pt x="63" y="142"/>
                      <a:pt x="63" y="135"/>
                      <a:pt x="63" y="132"/>
                    </a:cubicBezTo>
                    <a:cubicBezTo>
                      <a:pt x="63" y="117"/>
                      <a:pt x="63" y="103"/>
                      <a:pt x="65" y="88"/>
                    </a:cubicBezTo>
                    <a:cubicBezTo>
                      <a:pt x="66" y="79"/>
                      <a:pt x="72" y="70"/>
                      <a:pt x="75" y="62"/>
                    </a:cubicBezTo>
                    <a:cubicBezTo>
                      <a:pt x="72" y="33"/>
                      <a:pt x="77" y="26"/>
                      <a:pt x="47" y="22"/>
                    </a:cubicBezTo>
                    <a:cubicBezTo>
                      <a:pt x="29" y="25"/>
                      <a:pt x="34" y="34"/>
                      <a:pt x="29" y="50"/>
                    </a:cubicBezTo>
                    <a:cubicBezTo>
                      <a:pt x="27" y="55"/>
                      <a:pt x="25" y="66"/>
                      <a:pt x="25" y="66"/>
                    </a:cubicBezTo>
                    <a:cubicBezTo>
                      <a:pt x="24" y="82"/>
                      <a:pt x="25" y="98"/>
                      <a:pt x="23" y="114"/>
                    </a:cubicBezTo>
                    <a:cubicBezTo>
                      <a:pt x="23" y="116"/>
                      <a:pt x="21" y="110"/>
                      <a:pt x="21" y="108"/>
                    </a:cubicBezTo>
                    <a:cubicBezTo>
                      <a:pt x="21" y="107"/>
                      <a:pt x="18" y="80"/>
                      <a:pt x="17" y="78"/>
                    </a:cubicBezTo>
                    <a:cubicBezTo>
                      <a:pt x="16" y="76"/>
                      <a:pt x="14" y="74"/>
                      <a:pt x="13" y="72"/>
                    </a:cubicBezTo>
                    <a:cubicBezTo>
                      <a:pt x="7" y="43"/>
                      <a:pt x="10" y="48"/>
                      <a:pt x="7" y="70"/>
                    </a:cubicBezTo>
                    <a:cubicBezTo>
                      <a:pt x="6" y="75"/>
                      <a:pt x="4" y="80"/>
                      <a:pt x="3" y="84"/>
                    </a:cubicBezTo>
                    <a:cubicBezTo>
                      <a:pt x="4" y="95"/>
                      <a:pt x="5" y="129"/>
                      <a:pt x="5" y="118"/>
                    </a:cubicBezTo>
                    <a:cubicBezTo>
                      <a:pt x="5" y="107"/>
                      <a:pt x="0" y="70"/>
                      <a:pt x="5" y="54"/>
                    </a:cubicBezTo>
                    <a:cubicBezTo>
                      <a:pt x="6" y="49"/>
                      <a:pt x="12" y="46"/>
                      <a:pt x="15" y="42"/>
                    </a:cubicBezTo>
                    <a:cubicBezTo>
                      <a:pt x="18" y="61"/>
                      <a:pt x="20" y="79"/>
                      <a:pt x="23" y="98"/>
                    </a:cubicBezTo>
                    <a:cubicBezTo>
                      <a:pt x="23" y="90"/>
                      <a:pt x="35" y="38"/>
                      <a:pt x="17" y="32"/>
                    </a:cubicBezTo>
                    <a:cubicBezTo>
                      <a:pt x="30" y="29"/>
                      <a:pt x="42" y="28"/>
                      <a:pt x="23" y="22"/>
                    </a:cubicBezTo>
                    <a:cubicBezTo>
                      <a:pt x="42" y="17"/>
                      <a:pt x="67" y="21"/>
                      <a:pt x="87" y="20"/>
                    </a:cubicBezTo>
                    <a:cubicBezTo>
                      <a:pt x="92" y="17"/>
                      <a:pt x="101" y="6"/>
                      <a:pt x="95" y="0"/>
                    </a:cubicBezTo>
                    <a:close/>
                  </a:path>
                </a:pathLst>
              </a:custGeom>
              <a:solidFill>
                <a:srgbClr val="5F5F5F"/>
              </a:solidFill>
              <a:ln w="12700">
                <a:noFill/>
                <a:round/>
                <a:headEnd/>
                <a:tailEnd/>
              </a:ln>
            </p:spPr>
            <p:txBody>
              <a:bodyPr lIns="45720" tIns="46800" rIns="45720" bIns="46800" anchor="ctr"/>
              <a:lstStyle/>
              <a:p>
                <a:pPr defTabSz="912546"/>
                <a:endParaRPr>
                  <a:solidFill>
                    <a:srgbClr val="000000"/>
                  </a:solidFill>
                </a:endParaRPr>
              </a:p>
            </p:txBody>
          </p:sp>
          <p:sp>
            <p:nvSpPr>
              <p:cNvPr id="441524" name="Freeform 899"/>
              <p:cNvSpPr>
                <a:spLocks/>
              </p:cNvSpPr>
              <p:nvPr/>
            </p:nvSpPr>
            <p:spPr bwMode="gray">
              <a:xfrm>
                <a:off x="3558" y="1130"/>
                <a:ext cx="162" cy="398"/>
              </a:xfrm>
              <a:custGeom>
                <a:avLst/>
                <a:gdLst>
                  <a:gd name="T0" fmla="*/ 154 w 162"/>
                  <a:gd name="T1" fmla="*/ 12 h 398"/>
                  <a:gd name="T2" fmla="*/ 110 w 162"/>
                  <a:gd name="T3" fmla="*/ 18 h 398"/>
                  <a:gd name="T4" fmla="*/ 98 w 162"/>
                  <a:gd name="T5" fmla="*/ 30 h 398"/>
                  <a:gd name="T6" fmla="*/ 80 w 162"/>
                  <a:gd name="T7" fmla="*/ 42 h 398"/>
                  <a:gd name="T8" fmla="*/ 66 w 162"/>
                  <a:gd name="T9" fmla="*/ 74 h 398"/>
                  <a:gd name="T10" fmla="*/ 56 w 162"/>
                  <a:gd name="T11" fmla="*/ 100 h 398"/>
                  <a:gd name="T12" fmla="*/ 34 w 162"/>
                  <a:gd name="T13" fmla="*/ 198 h 398"/>
                  <a:gd name="T14" fmla="*/ 20 w 162"/>
                  <a:gd name="T15" fmla="*/ 330 h 398"/>
                  <a:gd name="T16" fmla="*/ 6 w 162"/>
                  <a:gd name="T17" fmla="*/ 360 h 398"/>
                  <a:gd name="T18" fmla="*/ 22 w 162"/>
                  <a:gd name="T19" fmla="*/ 398 h 398"/>
                  <a:gd name="T20" fmla="*/ 96 w 162"/>
                  <a:gd name="T21" fmla="*/ 388 h 398"/>
                  <a:gd name="T22" fmla="*/ 72 w 162"/>
                  <a:gd name="T23" fmla="*/ 326 h 398"/>
                  <a:gd name="T24" fmla="*/ 48 w 162"/>
                  <a:gd name="T25" fmla="*/ 258 h 398"/>
                  <a:gd name="T26" fmla="*/ 52 w 162"/>
                  <a:gd name="T27" fmla="*/ 192 h 398"/>
                  <a:gd name="T28" fmla="*/ 88 w 162"/>
                  <a:gd name="T29" fmla="*/ 106 h 398"/>
                  <a:gd name="T30" fmla="*/ 162 w 162"/>
                  <a:gd name="T31" fmla="*/ 18 h 398"/>
                  <a:gd name="T32" fmla="*/ 154 w 162"/>
                  <a:gd name="T33" fmla="*/ 12 h 3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2"/>
                  <a:gd name="T52" fmla="*/ 0 h 398"/>
                  <a:gd name="T53" fmla="*/ 162 w 162"/>
                  <a:gd name="T54" fmla="*/ 398 h 3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2" h="398">
                    <a:moveTo>
                      <a:pt x="154" y="12"/>
                    </a:moveTo>
                    <a:cubicBezTo>
                      <a:pt x="139" y="7"/>
                      <a:pt x="124" y="14"/>
                      <a:pt x="110" y="18"/>
                    </a:cubicBezTo>
                    <a:cubicBezTo>
                      <a:pt x="90" y="31"/>
                      <a:pt x="120" y="10"/>
                      <a:pt x="98" y="30"/>
                    </a:cubicBezTo>
                    <a:cubicBezTo>
                      <a:pt x="93" y="35"/>
                      <a:pt x="80" y="42"/>
                      <a:pt x="80" y="42"/>
                    </a:cubicBezTo>
                    <a:cubicBezTo>
                      <a:pt x="76" y="54"/>
                      <a:pt x="74" y="64"/>
                      <a:pt x="66" y="74"/>
                    </a:cubicBezTo>
                    <a:cubicBezTo>
                      <a:pt x="62" y="83"/>
                      <a:pt x="59" y="90"/>
                      <a:pt x="56" y="100"/>
                    </a:cubicBezTo>
                    <a:cubicBezTo>
                      <a:pt x="51" y="121"/>
                      <a:pt x="40" y="160"/>
                      <a:pt x="34" y="198"/>
                    </a:cubicBezTo>
                    <a:cubicBezTo>
                      <a:pt x="34" y="205"/>
                      <a:pt x="47" y="303"/>
                      <a:pt x="20" y="330"/>
                    </a:cubicBezTo>
                    <a:cubicBezTo>
                      <a:pt x="16" y="341"/>
                      <a:pt x="9" y="348"/>
                      <a:pt x="6" y="360"/>
                    </a:cubicBezTo>
                    <a:cubicBezTo>
                      <a:pt x="8" y="389"/>
                      <a:pt x="0" y="393"/>
                      <a:pt x="22" y="398"/>
                    </a:cubicBezTo>
                    <a:cubicBezTo>
                      <a:pt x="81" y="394"/>
                      <a:pt x="64" y="393"/>
                      <a:pt x="96" y="388"/>
                    </a:cubicBezTo>
                    <a:cubicBezTo>
                      <a:pt x="92" y="368"/>
                      <a:pt x="78" y="344"/>
                      <a:pt x="72" y="326"/>
                    </a:cubicBezTo>
                    <a:cubicBezTo>
                      <a:pt x="64" y="302"/>
                      <a:pt x="62" y="290"/>
                      <a:pt x="48" y="258"/>
                    </a:cubicBezTo>
                    <a:cubicBezTo>
                      <a:pt x="49" y="230"/>
                      <a:pt x="39" y="211"/>
                      <a:pt x="52" y="192"/>
                    </a:cubicBezTo>
                    <a:cubicBezTo>
                      <a:pt x="59" y="167"/>
                      <a:pt x="70" y="136"/>
                      <a:pt x="88" y="106"/>
                    </a:cubicBezTo>
                    <a:cubicBezTo>
                      <a:pt x="112" y="50"/>
                      <a:pt x="151" y="35"/>
                      <a:pt x="162" y="18"/>
                    </a:cubicBezTo>
                    <a:cubicBezTo>
                      <a:pt x="161" y="17"/>
                      <a:pt x="148" y="0"/>
                      <a:pt x="154" y="12"/>
                    </a:cubicBezTo>
                    <a:close/>
                  </a:path>
                </a:pathLst>
              </a:custGeom>
              <a:solidFill>
                <a:srgbClr val="ACD9F8"/>
              </a:solidFill>
              <a:ln w="6350">
                <a:noFill/>
                <a:round/>
                <a:headEnd/>
                <a:tailEnd/>
              </a:ln>
            </p:spPr>
            <p:txBody>
              <a:bodyPr lIns="45720" tIns="46800" rIns="45720" bIns="46800" anchor="ctr"/>
              <a:lstStyle/>
              <a:p>
                <a:pPr defTabSz="912546"/>
                <a:endParaRPr>
                  <a:solidFill>
                    <a:srgbClr val="000000"/>
                  </a:solidFill>
                </a:endParaRPr>
              </a:p>
            </p:txBody>
          </p:sp>
          <p:sp>
            <p:nvSpPr>
              <p:cNvPr id="441525" name="Freeform 900"/>
              <p:cNvSpPr>
                <a:spLocks/>
              </p:cNvSpPr>
              <p:nvPr/>
            </p:nvSpPr>
            <p:spPr bwMode="gray">
              <a:xfrm>
                <a:off x="3555" y="1152"/>
                <a:ext cx="109" cy="351"/>
              </a:xfrm>
              <a:custGeom>
                <a:avLst/>
                <a:gdLst>
                  <a:gd name="T0" fmla="*/ 107 w 109"/>
                  <a:gd name="T1" fmla="*/ 20 h 351"/>
                  <a:gd name="T2" fmla="*/ 89 w 109"/>
                  <a:gd name="T3" fmla="*/ 18 h 351"/>
                  <a:gd name="T4" fmla="*/ 79 w 109"/>
                  <a:gd name="T5" fmla="*/ 46 h 351"/>
                  <a:gd name="T6" fmla="*/ 83 w 109"/>
                  <a:gd name="T7" fmla="*/ 60 h 351"/>
                  <a:gd name="T8" fmla="*/ 45 w 109"/>
                  <a:gd name="T9" fmla="*/ 144 h 351"/>
                  <a:gd name="T10" fmla="*/ 0 w 109"/>
                  <a:gd name="T11" fmla="*/ 312 h 351"/>
                  <a:gd name="T12" fmla="*/ 24 w 109"/>
                  <a:gd name="T13" fmla="*/ 351 h 351"/>
                  <a:gd name="T14" fmla="*/ 54 w 109"/>
                  <a:gd name="T15" fmla="*/ 321 h 351"/>
                  <a:gd name="T16" fmla="*/ 57 w 109"/>
                  <a:gd name="T17" fmla="*/ 246 h 351"/>
                  <a:gd name="T18" fmla="*/ 49 w 109"/>
                  <a:gd name="T19" fmla="*/ 202 h 351"/>
                  <a:gd name="T20" fmla="*/ 57 w 109"/>
                  <a:gd name="T21" fmla="*/ 168 h 351"/>
                  <a:gd name="T22" fmla="*/ 67 w 109"/>
                  <a:gd name="T23" fmla="*/ 144 h 351"/>
                  <a:gd name="T24" fmla="*/ 103 w 109"/>
                  <a:gd name="T25" fmla="*/ 70 h 351"/>
                  <a:gd name="T26" fmla="*/ 95 w 109"/>
                  <a:gd name="T27" fmla="*/ 40 h 351"/>
                  <a:gd name="T28" fmla="*/ 95 w 109"/>
                  <a:gd name="T29" fmla="*/ 22 h 351"/>
                  <a:gd name="T30" fmla="*/ 93 w 109"/>
                  <a:gd name="T31" fmla="*/ 0 h 3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9"/>
                  <a:gd name="T49" fmla="*/ 0 h 351"/>
                  <a:gd name="T50" fmla="*/ 109 w 109"/>
                  <a:gd name="T51" fmla="*/ 351 h 3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9" h="351">
                    <a:moveTo>
                      <a:pt x="107" y="20"/>
                    </a:moveTo>
                    <a:cubicBezTo>
                      <a:pt x="99" y="26"/>
                      <a:pt x="97" y="23"/>
                      <a:pt x="89" y="18"/>
                    </a:cubicBezTo>
                    <a:cubicBezTo>
                      <a:pt x="82" y="28"/>
                      <a:pt x="93" y="37"/>
                      <a:pt x="79" y="46"/>
                    </a:cubicBezTo>
                    <a:cubicBezTo>
                      <a:pt x="63" y="70"/>
                      <a:pt x="91" y="26"/>
                      <a:pt x="83" y="60"/>
                    </a:cubicBezTo>
                    <a:cubicBezTo>
                      <a:pt x="83" y="61"/>
                      <a:pt x="58" y="105"/>
                      <a:pt x="45" y="144"/>
                    </a:cubicBezTo>
                    <a:lnTo>
                      <a:pt x="0" y="312"/>
                    </a:lnTo>
                    <a:cubicBezTo>
                      <a:pt x="0" y="332"/>
                      <a:pt x="16" y="346"/>
                      <a:pt x="24" y="351"/>
                    </a:cubicBezTo>
                    <a:lnTo>
                      <a:pt x="54" y="321"/>
                    </a:lnTo>
                    <a:cubicBezTo>
                      <a:pt x="57" y="302"/>
                      <a:pt x="55" y="265"/>
                      <a:pt x="57" y="246"/>
                    </a:cubicBezTo>
                    <a:cubicBezTo>
                      <a:pt x="58" y="236"/>
                      <a:pt x="49" y="202"/>
                      <a:pt x="49" y="202"/>
                    </a:cubicBezTo>
                    <a:cubicBezTo>
                      <a:pt x="50" y="181"/>
                      <a:pt x="47" y="182"/>
                      <a:pt x="57" y="168"/>
                    </a:cubicBezTo>
                    <a:cubicBezTo>
                      <a:pt x="62" y="150"/>
                      <a:pt x="60" y="155"/>
                      <a:pt x="67" y="144"/>
                    </a:cubicBezTo>
                    <a:cubicBezTo>
                      <a:pt x="74" y="116"/>
                      <a:pt x="83" y="90"/>
                      <a:pt x="103" y="70"/>
                    </a:cubicBezTo>
                    <a:cubicBezTo>
                      <a:pt x="106" y="57"/>
                      <a:pt x="104" y="49"/>
                      <a:pt x="95" y="40"/>
                    </a:cubicBezTo>
                    <a:cubicBezTo>
                      <a:pt x="97" y="30"/>
                      <a:pt x="109" y="22"/>
                      <a:pt x="95" y="22"/>
                    </a:cubicBezTo>
                    <a:lnTo>
                      <a:pt x="93" y="0"/>
                    </a:lnTo>
                  </a:path>
                </a:pathLst>
              </a:custGeom>
              <a:solidFill>
                <a:srgbClr val="CC0000"/>
              </a:solidFill>
              <a:ln w="12700">
                <a:noFill/>
                <a:round/>
                <a:headEnd/>
                <a:tailEnd/>
              </a:ln>
            </p:spPr>
            <p:txBody>
              <a:bodyPr lIns="45720" tIns="46800" rIns="45720" bIns="46800" anchor="ctr"/>
              <a:lstStyle/>
              <a:p>
                <a:pPr defTabSz="912546"/>
                <a:endParaRPr>
                  <a:solidFill>
                    <a:srgbClr val="000000"/>
                  </a:solidFill>
                </a:endParaRPr>
              </a:p>
            </p:txBody>
          </p:sp>
          <p:sp>
            <p:nvSpPr>
              <p:cNvPr id="441526" name="Freeform 901"/>
              <p:cNvSpPr>
                <a:spLocks/>
              </p:cNvSpPr>
              <p:nvPr/>
            </p:nvSpPr>
            <p:spPr bwMode="gray">
              <a:xfrm>
                <a:off x="3611" y="1002"/>
                <a:ext cx="115" cy="177"/>
              </a:xfrm>
              <a:custGeom>
                <a:avLst/>
                <a:gdLst>
                  <a:gd name="T0" fmla="*/ 47 w 115"/>
                  <a:gd name="T1" fmla="*/ 2 h 177"/>
                  <a:gd name="T2" fmla="*/ 17 w 115"/>
                  <a:gd name="T3" fmla="*/ 10 h 177"/>
                  <a:gd name="T4" fmla="*/ 5 w 115"/>
                  <a:gd name="T5" fmla="*/ 30 h 177"/>
                  <a:gd name="T6" fmla="*/ 5 w 115"/>
                  <a:gd name="T7" fmla="*/ 62 h 177"/>
                  <a:gd name="T8" fmla="*/ 5 w 115"/>
                  <a:gd name="T9" fmla="*/ 98 h 177"/>
                  <a:gd name="T10" fmla="*/ 15 w 115"/>
                  <a:gd name="T11" fmla="*/ 116 h 177"/>
                  <a:gd name="T12" fmla="*/ 19 w 115"/>
                  <a:gd name="T13" fmla="*/ 136 h 177"/>
                  <a:gd name="T14" fmla="*/ 37 w 115"/>
                  <a:gd name="T15" fmla="*/ 154 h 177"/>
                  <a:gd name="T16" fmla="*/ 43 w 115"/>
                  <a:gd name="T17" fmla="*/ 166 h 177"/>
                  <a:gd name="T18" fmla="*/ 49 w 115"/>
                  <a:gd name="T19" fmla="*/ 170 h 177"/>
                  <a:gd name="T20" fmla="*/ 77 w 115"/>
                  <a:gd name="T21" fmla="*/ 154 h 177"/>
                  <a:gd name="T22" fmla="*/ 97 w 115"/>
                  <a:gd name="T23" fmla="*/ 140 h 177"/>
                  <a:gd name="T24" fmla="*/ 101 w 115"/>
                  <a:gd name="T25" fmla="*/ 100 h 177"/>
                  <a:gd name="T26" fmla="*/ 111 w 115"/>
                  <a:gd name="T27" fmla="*/ 86 h 177"/>
                  <a:gd name="T28" fmla="*/ 103 w 115"/>
                  <a:gd name="T29" fmla="*/ 58 h 177"/>
                  <a:gd name="T30" fmla="*/ 73 w 115"/>
                  <a:gd name="T31" fmla="*/ 0 h 177"/>
                  <a:gd name="T32" fmla="*/ 47 w 115"/>
                  <a:gd name="T33" fmla="*/ 2 h 1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177"/>
                  <a:gd name="T53" fmla="*/ 115 w 115"/>
                  <a:gd name="T54" fmla="*/ 177 h 17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177">
                    <a:moveTo>
                      <a:pt x="47" y="2"/>
                    </a:moveTo>
                    <a:cubicBezTo>
                      <a:pt x="35" y="4"/>
                      <a:pt x="27" y="3"/>
                      <a:pt x="17" y="10"/>
                    </a:cubicBezTo>
                    <a:cubicBezTo>
                      <a:pt x="13" y="17"/>
                      <a:pt x="9" y="23"/>
                      <a:pt x="5" y="30"/>
                    </a:cubicBezTo>
                    <a:cubicBezTo>
                      <a:pt x="1" y="45"/>
                      <a:pt x="0" y="48"/>
                      <a:pt x="5" y="62"/>
                    </a:cubicBezTo>
                    <a:cubicBezTo>
                      <a:pt x="2" y="79"/>
                      <a:pt x="2" y="73"/>
                      <a:pt x="5" y="98"/>
                    </a:cubicBezTo>
                    <a:cubicBezTo>
                      <a:pt x="6" y="105"/>
                      <a:pt x="15" y="116"/>
                      <a:pt x="15" y="116"/>
                    </a:cubicBezTo>
                    <a:cubicBezTo>
                      <a:pt x="16" y="123"/>
                      <a:pt x="18" y="129"/>
                      <a:pt x="19" y="136"/>
                    </a:cubicBezTo>
                    <a:cubicBezTo>
                      <a:pt x="21" y="144"/>
                      <a:pt x="37" y="154"/>
                      <a:pt x="37" y="154"/>
                    </a:cubicBezTo>
                    <a:cubicBezTo>
                      <a:pt x="38" y="158"/>
                      <a:pt x="42" y="162"/>
                      <a:pt x="43" y="166"/>
                    </a:cubicBezTo>
                    <a:cubicBezTo>
                      <a:pt x="44" y="175"/>
                      <a:pt x="34" y="177"/>
                      <a:pt x="49" y="170"/>
                    </a:cubicBezTo>
                    <a:cubicBezTo>
                      <a:pt x="54" y="162"/>
                      <a:pt x="67" y="156"/>
                      <a:pt x="77" y="154"/>
                    </a:cubicBezTo>
                    <a:cubicBezTo>
                      <a:pt x="84" y="147"/>
                      <a:pt x="90" y="147"/>
                      <a:pt x="97" y="140"/>
                    </a:cubicBezTo>
                    <a:cubicBezTo>
                      <a:pt x="99" y="127"/>
                      <a:pt x="98" y="113"/>
                      <a:pt x="101" y="100"/>
                    </a:cubicBezTo>
                    <a:cubicBezTo>
                      <a:pt x="102" y="94"/>
                      <a:pt x="108" y="91"/>
                      <a:pt x="111" y="86"/>
                    </a:cubicBezTo>
                    <a:cubicBezTo>
                      <a:pt x="113" y="71"/>
                      <a:pt x="115" y="66"/>
                      <a:pt x="103" y="58"/>
                    </a:cubicBezTo>
                    <a:cubicBezTo>
                      <a:pt x="97" y="34"/>
                      <a:pt x="101" y="9"/>
                      <a:pt x="73" y="0"/>
                    </a:cubicBezTo>
                    <a:cubicBezTo>
                      <a:pt x="44" y="2"/>
                      <a:pt x="36" y="2"/>
                      <a:pt x="47" y="2"/>
                    </a:cubicBezTo>
                    <a:close/>
                  </a:path>
                </a:pathLst>
              </a:custGeom>
              <a:solidFill>
                <a:srgbClr val="835739"/>
              </a:solidFill>
              <a:ln w="12700">
                <a:noFill/>
                <a:round/>
                <a:headEnd/>
                <a:tailEnd/>
              </a:ln>
            </p:spPr>
            <p:txBody>
              <a:bodyPr lIns="45720" tIns="46800" rIns="45720" bIns="46800" anchor="ctr"/>
              <a:lstStyle/>
              <a:p>
                <a:pPr defTabSz="912546"/>
                <a:endParaRPr>
                  <a:solidFill>
                    <a:srgbClr val="000000"/>
                  </a:solidFill>
                </a:endParaRPr>
              </a:p>
            </p:txBody>
          </p:sp>
          <p:sp>
            <p:nvSpPr>
              <p:cNvPr id="441527" name="Freeform 902"/>
              <p:cNvSpPr>
                <a:spLocks/>
              </p:cNvSpPr>
              <p:nvPr/>
            </p:nvSpPr>
            <p:spPr bwMode="gray">
              <a:xfrm>
                <a:off x="3653" y="1058"/>
                <a:ext cx="41" cy="28"/>
              </a:xfrm>
              <a:custGeom>
                <a:avLst/>
                <a:gdLst>
                  <a:gd name="T0" fmla="*/ 41 w 41"/>
                  <a:gd name="T1" fmla="*/ 12 h 28"/>
                  <a:gd name="T2" fmla="*/ 27 w 41"/>
                  <a:gd name="T3" fmla="*/ 0 h 28"/>
                  <a:gd name="T4" fmla="*/ 13 w 41"/>
                  <a:gd name="T5" fmla="*/ 28 h 28"/>
                  <a:gd name="T6" fmla="*/ 41 w 41"/>
                  <a:gd name="T7" fmla="*/ 12 h 28"/>
                  <a:gd name="T8" fmla="*/ 0 60000 65536"/>
                  <a:gd name="T9" fmla="*/ 0 60000 65536"/>
                  <a:gd name="T10" fmla="*/ 0 60000 65536"/>
                  <a:gd name="T11" fmla="*/ 0 60000 65536"/>
                  <a:gd name="T12" fmla="*/ 0 w 41"/>
                  <a:gd name="T13" fmla="*/ 0 h 28"/>
                  <a:gd name="T14" fmla="*/ 41 w 41"/>
                  <a:gd name="T15" fmla="*/ 28 h 28"/>
                </a:gdLst>
                <a:ahLst/>
                <a:cxnLst>
                  <a:cxn ang="T8">
                    <a:pos x="T0" y="T1"/>
                  </a:cxn>
                  <a:cxn ang="T9">
                    <a:pos x="T2" y="T3"/>
                  </a:cxn>
                  <a:cxn ang="T10">
                    <a:pos x="T4" y="T5"/>
                  </a:cxn>
                  <a:cxn ang="T11">
                    <a:pos x="T6" y="T7"/>
                  </a:cxn>
                </a:cxnLst>
                <a:rect l="T12" t="T13" r="T14" b="T15"/>
                <a:pathLst>
                  <a:path w="41" h="28">
                    <a:moveTo>
                      <a:pt x="41" y="12"/>
                    </a:moveTo>
                    <a:cubicBezTo>
                      <a:pt x="38" y="4"/>
                      <a:pt x="34" y="5"/>
                      <a:pt x="27" y="0"/>
                    </a:cubicBezTo>
                    <a:cubicBezTo>
                      <a:pt x="2" y="3"/>
                      <a:pt x="0" y="8"/>
                      <a:pt x="13" y="28"/>
                    </a:cubicBezTo>
                    <a:cubicBezTo>
                      <a:pt x="17" y="27"/>
                      <a:pt x="41" y="16"/>
                      <a:pt x="41" y="12"/>
                    </a:cubicBezTo>
                    <a:close/>
                  </a:path>
                </a:pathLst>
              </a:custGeom>
              <a:solidFill>
                <a:srgbClr val="583A26"/>
              </a:solidFill>
              <a:ln w="12700">
                <a:noFill/>
                <a:round/>
                <a:headEnd/>
                <a:tailEnd/>
              </a:ln>
            </p:spPr>
            <p:txBody>
              <a:bodyPr lIns="45720" tIns="46800" rIns="45720" bIns="46800" anchor="ctr"/>
              <a:lstStyle/>
              <a:p>
                <a:pPr defTabSz="912546"/>
                <a:endParaRPr>
                  <a:solidFill>
                    <a:srgbClr val="000000"/>
                  </a:solidFill>
                </a:endParaRPr>
              </a:p>
            </p:txBody>
          </p:sp>
          <p:sp>
            <p:nvSpPr>
              <p:cNvPr id="441528" name="Freeform 903"/>
              <p:cNvSpPr>
                <a:spLocks/>
              </p:cNvSpPr>
              <p:nvPr/>
            </p:nvSpPr>
            <p:spPr bwMode="gray">
              <a:xfrm>
                <a:off x="3609" y="1060"/>
                <a:ext cx="39" cy="26"/>
              </a:xfrm>
              <a:custGeom>
                <a:avLst/>
                <a:gdLst>
                  <a:gd name="T0" fmla="*/ 5 w 39"/>
                  <a:gd name="T1" fmla="*/ 6 h 26"/>
                  <a:gd name="T2" fmla="*/ 39 w 39"/>
                  <a:gd name="T3" fmla="*/ 2 h 26"/>
                  <a:gd name="T4" fmla="*/ 25 w 39"/>
                  <a:gd name="T5" fmla="*/ 26 h 26"/>
                  <a:gd name="T6" fmla="*/ 9 w 39"/>
                  <a:gd name="T7" fmla="*/ 14 h 26"/>
                  <a:gd name="T8" fmla="*/ 5 w 39"/>
                  <a:gd name="T9" fmla="*/ 6 h 26"/>
                  <a:gd name="T10" fmla="*/ 0 60000 65536"/>
                  <a:gd name="T11" fmla="*/ 0 60000 65536"/>
                  <a:gd name="T12" fmla="*/ 0 60000 65536"/>
                  <a:gd name="T13" fmla="*/ 0 60000 65536"/>
                  <a:gd name="T14" fmla="*/ 0 60000 65536"/>
                  <a:gd name="T15" fmla="*/ 0 w 39"/>
                  <a:gd name="T16" fmla="*/ 0 h 26"/>
                  <a:gd name="T17" fmla="*/ 39 w 39"/>
                  <a:gd name="T18" fmla="*/ 26 h 26"/>
                </a:gdLst>
                <a:ahLst/>
                <a:cxnLst>
                  <a:cxn ang="T10">
                    <a:pos x="T0" y="T1"/>
                  </a:cxn>
                  <a:cxn ang="T11">
                    <a:pos x="T2" y="T3"/>
                  </a:cxn>
                  <a:cxn ang="T12">
                    <a:pos x="T4" y="T5"/>
                  </a:cxn>
                  <a:cxn ang="T13">
                    <a:pos x="T6" y="T7"/>
                  </a:cxn>
                  <a:cxn ang="T14">
                    <a:pos x="T8" y="T9"/>
                  </a:cxn>
                </a:cxnLst>
                <a:rect l="T15" t="T16" r="T17" b="T18"/>
                <a:pathLst>
                  <a:path w="39" h="26">
                    <a:moveTo>
                      <a:pt x="5" y="6"/>
                    </a:moveTo>
                    <a:cubicBezTo>
                      <a:pt x="20" y="0"/>
                      <a:pt x="21" y="0"/>
                      <a:pt x="39" y="2"/>
                    </a:cubicBezTo>
                    <a:cubicBezTo>
                      <a:pt x="36" y="15"/>
                      <a:pt x="38" y="23"/>
                      <a:pt x="25" y="26"/>
                    </a:cubicBezTo>
                    <a:cubicBezTo>
                      <a:pt x="20" y="19"/>
                      <a:pt x="16" y="19"/>
                      <a:pt x="9" y="14"/>
                    </a:cubicBezTo>
                    <a:cubicBezTo>
                      <a:pt x="0" y="1"/>
                      <a:pt x="19" y="1"/>
                      <a:pt x="5" y="6"/>
                    </a:cubicBezTo>
                    <a:close/>
                  </a:path>
                </a:pathLst>
              </a:custGeom>
              <a:solidFill>
                <a:srgbClr val="583A26"/>
              </a:solidFill>
              <a:ln w="12700">
                <a:noFill/>
                <a:round/>
                <a:headEnd/>
                <a:tailEnd/>
              </a:ln>
            </p:spPr>
            <p:txBody>
              <a:bodyPr lIns="45720" tIns="46800" rIns="45720" bIns="46800" anchor="ctr"/>
              <a:lstStyle/>
              <a:p>
                <a:pPr defTabSz="912546"/>
                <a:endParaRPr>
                  <a:solidFill>
                    <a:srgbClr val="000000"/>
                  </a:solidFill>
                </a:endParaRPr>
              </a:p>
            </p:txBody>
          </p:sp>
          <p:sp>
            <p:nvSpPr>
              <p:cNvPr id="441529" name="Freeform 904"/>
              <p:cNvSpPr>
                <a:spLocks/>
              </p:cNvSpPr>
              <p:nvPr/>
            </p:nvSpPr>
            <p:spPr bwMode="gray">
              <a:xfrm>
                <a:off x="3640" y="1124"/>
                <a:ext cx="63" cy="50"/>
              </a:xfrm>
              <a:custGeom>
                <a:avLst/>
                <a:gdLst>
                  <a:gd name="T0" fmla="*/ 62 w 63"/>
                  <a:gd name="T1" fmla="*/ 0 h 50"/>
                  <a:gd name="T2" fmla="*/ 0 w 63"/>
                  <a:gd name="T3" fmla="*/ 28 h 50"/>
                  <a:gd name="T4" fmla="*/ 12 w 63"/>
                  <a:gd name="T5" fmla="*/ 50 h 50"/>
                  <a:gd name="T6" fmla="*/ 40 w 63"/>
                  <a:gd name="T7" fmla="*/ 28 h 50"/>
                  <a:gd name="T8" fmla="*/ 54 w 63"/>
                  <a:gd name="T9" fmla="*/ 24 h 50"/>
                  <a:gd name="T10" fmla="*/ 62 w 63"/>
                  <a:gd name="T11" fmla="*/ 0 h 50"/>
                  <a:gd name="T12" fmla="*/ 0 60000 65536"/>
                  <a:gd name="T13" fmla="*/ 0 60000 65536"/>
                  <a:gd name="T14" fmla="*/ 0 60000 65536"/>
                  <a:gd name="T15" fmla="*/ 0 60000 65536"/>
                  <a:gd name="T16" fmla="*/ 0 60000 65536"/>
                  <a:gd name="T17" fmla="*/ 0 60000 65536"/>
                  <a:gd name="T18" fmla="*/ 0 w 63"/>
                  <a:gd name="T19" fmla="*/ 0 h 50"/>
                  <a:gd name="T20" fmla="*/ 63 w 63"/>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63" h="50">
                    <a:moveTo>
                      <a:pt x="62" y="0"/>
                    </a:moveTo>
                    <a:cubicBezTo>
                      <a:pt x="46" y="22"/>
                      <a:pt x="16" y="29"/>
                      <a:pt x="0" y="28"/>
                    </a:cubicBezTo>
                    <a:cubicBezTo>
                      <a:pt x="6" y="38"/>
                      <a:pt x="9" y="40"/>
                      <a:pt x="12" y="50"/>
                    </a:cubicBezTo>
                    <a:cubicBezTo>
                      <a:pt x="22" y="48"/>
                      <a:pt x="30" y="34"/>
                      <a:pt x="40" y="28"/>
                    </a:cubicBezTo>
                    <a:cubicBezTo>
                      <a:pt x="44" y="26"/>
                      <a:pt x="30" y="42"/>
                      <a:pt x="54" y="24"/>
                    </a:cubicBezTo>
                    <a:cubicBezTo>
                      <a:pt x="55" y="22"/>
                      <a:pt x="63" y="1"/>
                      <a:pt x="62" y="0"/>
                    </a:cubicBezTo>
                    <a:close/>
                  </a:path>
                </a:pathLst>
              </a:custGeom>
              <a:solidFill>
                <a:srgbClr val="583A26"/>
              </a:solidFill>
              <a:ln w="12700">
                <a:noFill/>
                <a:round/>
                <a:headEnd/>
                <a:tailEnd/>
              </a:ln>
            </p:spPr>
            <p:txBody>
              <a:bodyPr lIns="45720" tIns="46800" rIns="45720" bIns="46800" anchor="ctr"/>
              <a:lstStyle/>
              <a:p>
                <a:pPr defTabSz="912546"/>
                <a:endParaRPr>
                  <a:solidFill>
                    <a:srgbClr val="000000"/>
                  </a:solidFill>
                </a:endParaRPr>
              </a:p>
            </p:txBody>
          </p:sp>
          <p:sp>
            <p:nvSpPr>
              <p:cNvPr id="441530" name="Freeform 905"/>
              <p:cNvSpPr>
                <a:spLocks/>
              </p:cNvSpPr>
              <p:nvPr/>
            </p:nvSpPr>
            <p:spPr bwMode="gray">
              <a:xfrm>
                <a:off x="3606" y="978"/>
                <a:ext cx="116" cy="108"/>
              </a:xfrm>
              <a:custGeom>
                <a:avLst/>
                <a:gdLst>
                  <a:gd name="T0" fmla="*/ 102 w 116"/>
                  <a:gd name="T1" fmla="*/ 108 h 108"/>
                  <a:gd name="T2" fmla="*/ 110 w 116"/>
                  <a:gd name="T3" fmla="*/ 94 h 108"/>
                  <a:gd name="T4" fmla="*/ 116 w 116"/>
                  <a:gd name="T5" fmla="*/ 76 h 108"/>
                  <a:gd name="T6" fmla="*/ 104 w 116"/>
                  <a:gd name="T7" fmla="*/ 36 h 108"/>
                  <a:gd name="T8" fmla="*/ 76 w 116"/>
                  <a:gd name="T9" fmla="*/ 8 h 108"/>
                  <a:gd name="T10" fmla="*/ 52 w 116"/>
                  <a:gd name="T11" fmla="*/ 0 h 108"/>
                  <a:gd name="T12" fmla="*/ 46 w 116"/>
                  <a:gd name="T13" fmla="*/ 2 h 108"/>
                  <a:gd name="T14" fmla="*/ 40 w 116"/>
                  <a:gd name="T15" fmla="*/ 8 h 108"/>
                  <a:gd name="T16" fmla="*/ 24 w 116"/>
                  <a:gd name="T17" fmla="*/ 12 h 108"/>
                  <a:gd name="T18" fmla="*/ 16 w 116"/>
                  <a:gd name="T19" fmla="*/ 16 h 108"/>
                  <a:gd name="T20" fmla="*/ 0 w 116"/>
                  <a:gd name="T21" fmla="*/ 52 h 108"/>
                  <a:gd name="T22" fmla="*/ 6 w 116"/>
                  <a:gd name="T23" fmla="*/ 88 h 108"/>
                  <a:gd name="T24" fmla="*/ 26 w 116"/>
                  <a:gd name="T25" fmla="*/ 38 h 108"/>
                  <a:gd name="T26" fmla="*/ 64 w 116"/>
                  <a:gd name="T27" fmla="*/ 40 h 108"/>
                  <a:gd name="T28" fmla="*/ 90 w 116"/>
                  <a:gd name="T29" fmla="*/ 60 h 108"/>
                  <a:gd name="T30" fmla="*/ 98 w 116"/>
                  <a:gd name="T31" fmla="*/ 72 h 108"/>
                  <a:gd name="T32" fmla="*/ 102 w 116"/>
                  <a:gd name="T33" fmla="*/ 84 h 108"/>
                  <a:gd name="T34" fmla="*/ 102 w 116"/>
                  <a:gd name="T35" fmla="*/ 108 h 1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6"/>
                  <a:gd name="T55" fmla="*/ 0 h 108"/>
                  <a:gd name="T56" fmla="*/ 116 w 116"/>
                  <a:gd name="T57" fmla="*/ 108 h 1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6" h="108">
                    <a:moveTo>
                      <a:pt x="102" y="108"/>
                    </a:moveTo>
                    <a:cubicBezTo>
                      <a:pt x="104" y="103"/>
                      <a:pt x="108" y="99"/>
                      <a:pt x="110" y="94"/>
                    </a:cubicBezTo>
                    <a:cubicBezTo>
                      <a:pt x="113" y="88"/>
                      <a:pt x="116" y="76"/>
                      <a:pt x="116" y="76"/>
                    </a:cubicBezTo>
                    <a:cubicBezTo>
                      <a:pt x="111" y="62"/>
                      <a:pt x="116" y="44"/>
                      <a:pt x="104" y="36"/>
                    </a:cubicBezTo>
                    <a:cubicBezTo>
                      <a:pt x="98" y="24"/>
                      <a:pt x="89" y="13"/>
                      <a:pt x="76" y="8"/>
                    </a:cubicBezTo>
                    <a:cubicBezTo>
                      <a:pt x="68" y="5"/>
                      <a:pt x="52" y="0"/>
                      <a:pt x="52" y="0"/>
                    </a:cubicBezTo>
                    <a:cubicBezTo>
                      <a:pt x="50" y="1"/>
                      <a:pt x="48" y="1"/>
                      <a:pt x="46" y="2"/>
                    </a:cubicBezTo>
                    <a:cubicBezTo>
                      <a:pt x="44" y="4"/>
                      <a:pt x="43" y="7"/>
                      <a:pt x="40" y="8"/>
                    </a:cubicBezTo>
                    <a:cubicBezTo>
                      <a:pt x="35" y="10"/>
                      <a:pt x="29" y="10"/>
                      <a:pt x="24" y="12"/>
                    </a:cubicBezTo>
                    <a:cubicBezTo>
                      <a:pt x="21" y="13"/>
                      <a:pt x="19" y="15"/>
                      <a:pt x="16" y="16"/>
                    </a:cubicBezTo>
                    <a:cubicBezTo>
                      <a:pt x="10" y="28"/>
                      <a:pt x="4" y="40"/>
                      <a:pt x="0" y="52"/>
                    </a:cubicBezTo>
                    <a:cubicBezTo>
                      <a:pt x="2" y="64"/>
                      <a:pt x="2" y="76"/>
                      <a:pt x="6" y="88"/>
                    </a:cubicBezTo>
                    <a:cubicBezTo>
                      <a:pt x="12" y="69"/>
                      <a:pt x="4" y="45"/>
                      <a:pt x="26" y="38"/>
                    </a:cubicBezTo>
                    <a:cubicBezTo>
                      <a:pt x="46" y="45"/>
                      <a:pt x="34" y="42"/>
                      <a:pt x="64" y="40"/>
                    </a:cubicBezTo>
                    <a:cubicBezTo>
                      <a:pt x="85" y="30"/>
                      <a:pt x="77" y="51"/>
                      <a:pt x="90" y="60"/>
                    </a:cubicBezTo>
                    <a:cubicBezTo>
                      <a:pt x="97" y="80"/>
                      <a:pt x="86" y="50"/>
                      <a:pt x="98" y="72"/>
                    </a:cubicBezTo>
                    <a:cubicBezTo>
                      <a:pt x="100" y="76"/>
                      <a:pt x="102" y="84"/>
                      <a:pt x="102" y="84"/>
                    </a:cubicBezTo>
                    <a:cubicBezTo>
                      <a:pt x="100" y="93"/>
                      <a:pt x="102" y="99"/>
                      <a:pt x="102" y="108"/>
                    </a:cubicBezTo>
                    <a:close/>
                  </a:path>
                </a:pathLst>
              </a:custGeom>
              <a:solidFill>
                <a:srgbClr val="473B2F"/>
              </a:solidFill>
              <a:ln w="12700">
                <a:noFill/>
                <a:round/>
                <a:headEnd/>
                <a:tailEnd/>
              </a:ln>
            </p:spPr>
            <p:txBody>
              <a:bodyPr lIns="45720" tIns="46800" rIns="45720" bIns="46800" anchor="ctr"/>
              <a:lstStyle/>
              <a:p>
                <a:pPr defTabSz="912546"/>
                <a:endParaRPr>
                  <a:solidFill>
                    <a:srgbClr val="000000"/>
                  </a:solidFill>
                </a:endParaRPr>
              </a:p>
            </p:txBody>
          </p:sp>
          <p:sp>
            <p:nvSpPr>
              <p:cNvPr id="441531" name="Freeform 906"/>
              <p:cNvSpPr>
                <a:spLocks/>
              </p:cNvSpPr>
              <p:nvPr/>
            </p:nvSpPr>
            <p:spPr bwMode="gray">
              <a:xfrm>
                <a:off x="3569" y="1436"/>
                <a:ext cx="87" cy="90"/>
              </a:xfrm>
              <a:custGeom>
                <a:avLst/>
                <a:gdLst>
                  <a:gd name="T0" fmla="*/ 51 w 87"/>
                  <a:gd name="T1" fmla="*/ 0 h 90"/>
                  <a:gd name="T2" fmla="*/ 63 w 87"/>
                  <a:gd name="T3" fmla="*/ 32 h 90"/>
                  <a:gd name="T4" fmla="*/ 77 w 87"/>
                  <a:gd name="T5" fmla="*/ 66 h 90"/>
                  <a:gd name="T6" fmla="*/ 33 w 87"/>
                  <a:gd name="T7" fmla="*/ 86 h 90"/>
                  <a:gd name="T8" fmla="*/ 11 w 87"/>
                  <a:gd name="T9" fmla="*/ 88 h 90"/>
                  <a:gd name="T10" fmla="*/ 3 w 87"/>
                  <a:gd name="T11" fmla="*/ 90 h 90"/>
                  <a:gd name="T12" fmla="*/ 69 w 87"/>
                  <a:gd name="T13" fmla="*/ 88 h 90"/>
                  <a:gd name="T14" fmla="*/ 87 w 87"/>
                  <a:gd name="T15" fmla="*/ 80 h 90"/>
                  <a:gd name="T16" fmla="*/ 75 w 87"/>
                  <a:gd name="T17" fmla="*/ 56 h 90"/>
                  <a:gd name="T18" fmla="*/ 51 w 87"/>
                  <a:gd name="T19" fmla="*/ 0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90"/>
                  <a:gd name="T32" fmla="*/ 87 w 87"/>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90">
                    <a:moveTo>
                      <a:pt x="51" y="0"/>
                    </a:moveTo>
                    <a:cubicBezTo>
                      <a:pt x="58" y="10"/>
                      <a:pt x="59" y="21"/>
                      <a:pt x="63" y="32"/>
                    </a:cubicBezTo>
                    <a:cubicBezTo>
                      <a:pt x="64" y="43"/>
                      <a:pt x="64" y="62"/>
                      <a:pt x="77" y="66"/>
                    </a:cubicBezTo>
                    <a:cubicBezTo>
                      <a:pt x="58" y="85"/>
                      <a:pt x="73" y="83"/>
                      <a:pt x="33" y="86"/>
                    </a:cubicBezTo>
                    <a:cubicBezTo>
                      <a:pt x="17" y="83"/>
                      <a:pt x="21" y="81"/>
                      <a:pt x="11" y="88"/>
                    </a:cubicBezTo>
                    <a:cubicBezTo>
                      <a:pt x="9" y="90"/>
                      <a:pt x="0" y="90"/>
                      <a:pt x="3" y="90"/>
                    </a:cubicBezTo>
                    <a:cubicBezTo>
                      <a:pt x="25" y="90"/>
                      <a:pt x="47" y="89"/>
                      <a:pt x="69" y="88"/>
                    </a:cubicBezTo>
                    <a:cubicBezTo>
                      <a:pt x="76" y="86"/>
                      <a:pt x="80" y="82"/>
                      <a:pt x="87" y="80"/>
                    </a:cubicBezTo>
                    <a:cubicBezTo>
                      <a:pt x="85" y="69"/>
                      <a:pt x="83" y="64"/>
                      <a:pt x="75" y="56"/>
                    </a:cubicBezTo>
                    <a:cubicBezTo>
                      <a:pt x="72" y="35"/>
                      <a:pt x="51" y="12"/>
                      <a:pt x="51" y="0"/>
                    </a:cubicBezTo>
                    <a:close/>
                  </a:path>
                </a:pathLst>
              </a:custGeom>
              <a:solidFill>
                <a:srgbClr val="8CC7E8"/>
              </a:solidFill>
              <a:ln w="12700">
                <a:noFill/>
                <a:round/>
                <a:headEnd/>
                <a:tailEnd/>
              </a:ln>
            </p:spPr>
            <p:txBody>
              <a:bodyPr lIns="45720" tIns="46800" rIns="45720" bIns="46800" anchor="ctr"/>
              <a:lstStyle/>
              <a:p>
                <a:pPr defTabSz="912546"/>
                <a:endParaRPr>
                  <a:solidFill>
                    <a:srgbClr val="000000"/>
                  </a:solidFill>
                </a:endParaRPr>
              </a:p>
            </p:txBody>
          </p:sp>
        </p:grpSp>
        <p:grpSp>
          <p:nvGrpSpPr>
            <p:cNvPr id="265160" name="Group 907"/>
            <p:cNvGrpSpPr>
              <a:grpSpLocks/>
            </p:cNvGrpSpPr>
            <p:nvPr/>
          </p:nvGrpSpPr>
          <p:grpSpPr bwMode="gray">
            <a:xfrm>
              <a:off x="4331" y="2583"/>
              <a:ext cx="151" cy="433"/>
              <a:chOff x="2690" y="1797"/>
              <a:chExt cx="220" cy="633"/>
            </a:xfrm>
          </p:grpSpPr>
          <p:sp>
            <p:nvSpPr>
              <p:cNvPr id="441495" name="Freeform 908"/>
              <p:cNvSpPr>
                <a:spLocks/>
              </p:cNvSpPr>
              <p:nvPr/>
            </p:nvSpPr>
            <p:spPr bwMode="gray">
              <a:xfrm>
                <a:off x="2698" y="2328"/>
                <a:ext cx="202" cy="102"/>
              </a:xfrm>
              <a:custGeom>
                <a:avLst/>
                <a:gdLst>
                  <a:gd name="T0" fmla="*/ 32 w 202"/>
                  <a:gd name="T1" fmla="*/ 78 h 102"/>
                  <a:gd name="T2" fmla="*/ 74 w 202"/>
                  <a:gd name="T3" fmla="*/ 72 h 102"/>
                  <a:gd name="T4" fmla="*/ 92 w 202"/>
                  <a:gd name="T5" fmla="*/ 84 h 102"/>
                  <a:gd name="T6" fmla="*/ 152 w 202"/>
                  <a:gd name="T7" fmla="*/ 102 h 102"/>
                  <a:gd name="T8" fmla="*/ 164 w 202"/>
                  <a:gd name="T9" fmla="*/ 84 h 102"/>
                  <a:gd name="T10" fmla="*/ 200 w 202"/>
                  <a:gd name="T11" fmla="*/ 72 h 102"/>
                  <a:gd name="T12" fmla="*/ 176 w 202"/>
                  <a:gd name="T13" fmla="*/ 12 h 102"/>
                  <a:gd name="T14" fmla="*/ 140 w 202"/>
                  <a:gd name="T15" fmla="*/ 0 h 102"/>
                  <a:gd name="T16" fmla="*/ 20 w 202"/>
                  <a:gd name="T17" fmla="*/ 54 h 102"/>
                  <a:gd name="T18" fmla="*/ 14 w 202"/>
                  <a:gd name="T19" fmla="*/ 72 h 102"/>
                  <a:gd name="T20" fmla="*/ 38 w 202"/>
                  <a:gd name="T21" fmla="*/ 84 h 102"/>
                  <a:gd name="T22" fmla="*/ 32 w 202"/>
                  <a:gd name="T23" fmla="*/ 78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2"/>
                  <a:gd name="T37" fmla="*/ 0 h 102"/>
                  <a:gd name="T38" fmla="*/ 202 w 202"/>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2" h="102">
                    <a:moveTo>
                      <a:pt x="32" y="78"/>
                    </a:moveTo>
                    <a:cubicBezTo>
                      <a:pt x="90" y="97"/>
                      <a:pt x="0" y="72"/>
                      <a:pt x="74" y="72"/>
                    </a:cubicBezTo>
                    <a:cubicBezTo>
                      <a:pt x="81" y="72"/>
                      <a:pt x="86" y="81"/>
                      <a:pt x="92" y="84"/>
                    </a:cubicBezTo>
                    <a:cubicBezTo>
                      <a:pt x="110" y="93"/>
                      <a:pt x="133" y="96"/>
                      <a:pt x="152" y="102"/>
                    </a:cubicBezTo>
                    <a:cubicBezTo>
                      <a:pt x="156" y="96"/>
                      <a:pt x="158" y="88"/>
                      <a:pt x="164" y="84"/>
                    </a:cubicBezTo>
                    <a:cubicBezTo>
                      <a:pt x="175" y="77"/>
                      <a:pt x="200" y="72"/>
                      <a:pt x="200" y="72"/>
                    </a:cubicBezTo>
                    <a:cubicBezTo>
                      <a:pt x="196" y="44"/>
                      <a:pt x="202" y="26"/>
                      <a:pt x="176" y="12"/>
                    </a:cubicBezTo>
                    <a:cubicBezTo>
                      <a:pt x="165" y="6"/>
                      <a:pt x="140" y="0"/>
                      <a:pt x="140" y="0"/>
                    </a:cubicBezTo>
                    <a:cubicBezTo>
                      <a:pt x="93" y="9"/>
                      <a:pt x="60" y="28"/>
                      <a:pt x="20" y="54"/>
                    </a:cubicBezTo>
                    <a:cubicBezTo>
                      <a:pt x="18" y="60"/>
                      <a:pt x="11" y="67"/>
                      <a:pt x="14" y="72"/>
                    </a:cubicBezTo>
                    <a:cubicBezTo>
                      <a:pt x="19" y="80"/>
                      <a:pt x="30" y="81"/>
                      <a:pt x="38" y="84"/>
                    </a:cubicBezTo>
                    <a:cubicBezTo>
                      <a:pt x="41" y="85"/>
                      <a:pt x="34" y="80"/>
                      <a:pt x="32" y="78"/>
                    </a:cubicBezTo>
                    <a:close/>
                  </a:path>
                </a:pathLst>
              </a:custGeom>
              <a:solidFill>
                <a:srgbClr val="8F8F8F">
                  <a:alpha val="16078"/>
                </a:srgbClr>
              </a:solidFill>
              <a:ln w="12700">
                <a:noFill/>
                <a:round/>
                <a:headEnd/>
                <a:tailEnd/>
              </a:ln>
            </p:spPr>
            <p:txBody>
              <a:bodyPr lIns="90000" tIns="46800" rIns="90000" bIns="46800" anchor="ctr"/>
              <a:lstStyle/>
              <a:p>
                <a:pPr defTabSz="912546"/>
                <a:endParaRPr>
                  <a:solidFill>
                    <a:srgbClr val="000000"/>
                  </a:solidFill>
                </a:endParaRPr>
              </a:p>
            </p:txBody>
          </p:sp>
          <p:grpSp>
            <p:nvGrpSpPr>
              <p:cNvPr id="265161" name="Group 909"/>
              <p:cNvGrpSpPr>
                <a:grpSpLocks/>
              </p:cNvGrpSpPr>
              <p:nvPr/>
            </p:nvGrpSpPr>
            <p:grpSpPr bwMode="gray">
              <a:xfrm>
                <a:off x="2690" y="1797"/>
                <a:ext cx="220" cy="630"/>
                <a:chOff x="2690" y="1797"/>
                <a:chExt cx="220" cy="630"/>
              </a:xfrm>
            </p:grpSpPr>
            <p:sp>
              <p:nvSpPr>
                <p:cNvPr id="441497" name="Freeform 910"/>
                <p:cNvSpPr>
                  <a:spLocks/>
                </p:cNvSpPr>
                <p:nvPr/>
              </p:nvSpPr>
              <p:spPr bwMode="gray">
                <a:xfrm>
                  <a:off x="2806" y="2365"/>
                  <a:ext cx="41" cy="62"/>
                </a:xfrm>
                <a:custGeom>
                  <a:avLst/>
                  <a:gdLst>
                    <a:gd name="T0" fmla="*/ 2 w 54"/>
                    <a:gd name="T1" fmla="*/ 2 h 82"/>
                    <a:gd name="T2" fmla="*/ 2 w 54"/>
                    <a:gd name="T3" fmla="*/ 2 h 82"/>
                    <a:gd name="T4" fmla="*/ 2 w 54"/>
                    <a:gd name="T5" fmla="*/ 2 h 82"/>
                    <a:gd name="T6" fmla="*/ 2 w 54"/>
                    <a:gd name="T7" fmla="*/ 2 h 82"/>
                    <a:gd name="T8" fmla="*/ 2 w 54"/>
                    <a:gd name="T9" fmla="*/ 2 h 82"/>
                    <a:gd name="T10" fmla="*/ 2 w 54"/>
                    <a:gd name="T11" fmla="*/ 2 h 82"/>
                    <a:gd name="T12" fmla="*/ 2 w 54"/>
                    <a:gd name="T13" fmla="*/ 2 h 82"/>
                    <a:gd name="T14" fmla="*/ 2 w 54"/>
                    <a:gd name="T15" fmla="*/ 2 h 82"/>
                    <a:gd name="T16" fmla="*/ 2 w 54"/>
                    <a:gd name="T17" fmla="*/ 2 h 82"/>
                    <a:gd name="T18" fmla="*/ 2 w 54"/>
                    <a:gd name="T19" fmla="*/ 2 h 82"/>
                    <a:gd name="T20" fmla="*/ 2 w 54"/>
                    <a:gd name="T21" fmla="*/ 2 h 82"/>
                    <a:gd name="T22" fmla="*/ 2 w 54"/>
                    <a:gd name="T23" fmla="*/ 2 h 82"/>
                    <a:gd name="T24" fmla="*/ 2 w 54"/>
                    <a:gd name="T25" fmla="*/ 2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
                    <a:gd name="T40" fmla="*/ 0 h 82"/>
                    <a:gd name="T41" fmla="*/ 54 w 54"/>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 h="82">
                      <a:moveTo>
                        <a:pt x="46" y="14"/>
                      </a:moveTo>
                      <a:cubicBezTo>
                        <a:pt x="43" y="24"/>
                        <a:pt x="47" y="25"/>
                        <a:pt x="50" y="34"/>
                      </a:cubicBezTo>
                      <a:cubicBezTo>
                        <a:pt x="52" y="39"/>
                        <a:pt x="54" y="50"/>
                        <a:pt x="54" y="50"/>
                      </a:cubicBezTo>
                      <a:cubicBezTo>
                        <a:pt x="50" y="69"/>
                        <a:pt x="46" y="73"/>
                        <a:pt x="32" y="82"/>
                      </a:cubicBezTo>
                      <a:cubicBezTo>
                        <a:pt x="19" y="79"/>
                        <a:pt x="13" y="75"/>
                        <a:pt x="6" y="64"/>
                      </a:cubicBezTo>
                      <a:cubicBezTo>
                        <a:pt x="8" y="48"/>
                        <a:pt x="7" y="34"/>
                        <a:pt x="2" y="18"/>
                      </a:cubicBezTo>
                      <a:cubicBezTo>
                        <a:pt x="3" y="16"/>
                        <a:pt x="4" y="14"/>
                        <a:pt x="4" y="12"/>
                      </a:cubicBezTo>
                      <a:cubicBezTo>
                        <a:pt x="4" y="10"/>
                        <a:pt x="0" y="6"/>
                        <a:pt x="2" y="6"/>
                      </a:cubicBezTo>
                      <a:cubicBezTo>
                        <a:pt x="4" y="6"/>
                        <a:pt x="4" y="11"/>
                        <a:pt x="6" y="12"/>
                      </a:cubicBezTo>
                      <a:cubicBezTo>
                        <a:pt x="8" y="14"/>
                        <a:pt x="11" y="13"/>
                        <a:pt x="14" y="14"/>
                      </a:cubicBezTo>
                      <a:cubicBezTo>
                        <a:pt x="19" y="0"/>
                        <a:pt x="34" y="7"/>
                        <a:pt x="44" y="10"/>
                      </a:cubicBezTo>
                      <a:cubicBezTo>
                        <a:pt x="45" y="13"/>
                        <a:pt x="47" y="15"/>
                        <a:pt x="48" y="18"/>
                      </a:cubicBezTo>
                      <a:cubicBezTo>
                        <a:pt x="49" y="19"/>
                        <a:pt x="47" y="15"/>
                        <a:pt x="46" y="14"/>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1498" name="Freeform 911"/>
                <p:cNvSpPr>
                  <a:spLocks/>
                </p:cNvSpPr>
                <p:nvPr/>
              </p:nvSpPr>
              <p:spPr bwMode="gray">
                <a:xfrm>
                  <a:off x="2714" y="2352"/>
                  <a:ext cx="78" cy="49"/>
                </a:xfrm>
                <a:custGeom>
                  <a:avLst/>
                  <a:gdLst>
                    <a:gd name="T0" fmla="*/ 3 w 101"/>
                    <a:gd name="T1" fmla="*/ 0 h 64"/>
                    <a:gd name="T2" fmla="*/ 3 w 101"/>
                    <a:gd name="T3" fmla="*/ 2 h 64"/>
                    <a:gd name="T4" fmla="*/ 3 w 101"/>
                    <a:gd name="T5" fmla="*/ 2 h 64"/>
                    <a:gd name="T6" fmla="*/ 2 w 101"/>
                    <a:gd name="T7" fmla="*/ 2 h 64"/>
                    <a:gd name="T8" fmla="*/ 2 w 101"/>
                    <a:gd name="T9" fmla="*/ 2 h 64"/>
                    <a:gd name="T10" fmla="*/ 2 w 101"/>
                    <a:gd name="T11" fmla="*/ 2 h 64"/>
                    <a:gd name="T12" fmla="*/ 2 w 101"/>
                    <a:gd name="T13" fmla="*/ 2 h 64"/>
                    <a:gd name="T14" fmla="*/ 2 w 101"/>
                    <a:gd name="T15" fmla="*/ 2 h 64"/>
                    <a:gd name="T16" fmla="*/ 2 w 101"/>
                    <a:gd name="T17" fmla="*/ 2 h 64"/>
                    <a:gd name="T18" fmla="*/ 3 w 101"/>
                    <a:gd name="T19" fmla="*/ 2 h 64"/>
                    <a:gd name="T20" fmla="*/ 3 w 101"/>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
                    <a:gd name="T34" fmla="*/ 0 h 64"/>
                    <a:gd name="T35" fmla="*/ 101 w 101"/>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 h="64">
                      <a:moveTo>
                        <a:pt x="86" y="0"/>
                      </a:moveTo>
                      <a:cubicBezTo>
                        <a:pt x="93" y="10"/>
                        <a:pt x="101" y="23"/>
                        <a:pt x="92" y="36"/>
                      </a:cubicBezTo>
                      <a:cubicBezTo>
                        <a:pt x="89" y="41"/>
                        <a:pt x="81" y="38"/>
                        <a:pt x="76" y="40"/>
                      </a:cubicBezTo>
                      <a:cubicBezTo>
                        <a:pt x="72" y="41"/>
                        <a:pt x="64" y="44"/>
                        <a:pt x="64" y="44"/>
                      </a:cubicBezTo>
                      <a:cubicBezTo>
                        <a:pt x="50" y="58"/>
                        <a:pt x="53" y="50"/>
                        <a:pt x="36" y="58"/>
                      </a:cubicBezTo>
                      <a:cubicBezTo>
                        <a:pt x="28" y="57"/>
                        <a:pt x="12" y="64"/>
                        <a:pt x="2" y="56"/>
                      </a:cubicBezTo>
                      <a:cubicBezTo>
                        <a:pt x="2" y="38"/>
                        <a:pt x="0" y="46"/>
                        <a:pt x="12" y="34"/>
                      </a:cubicBezTo>
                      <a:cubicBezTo>
                        <a:pt x="24" y="26"/>
                        <a:pt x="30" y="28"/>
                        <a:pt x="34" y="18"/>
                      </a:cubicBezTo>
                      <a:cubicBezTo>
                        <a:pt x="38" y="3"/>
                        <a:pt x="48" y="10"/>
                        <a:pt x="60" y="14"/>
                      </a:cubicBezTo>
                      <a:cubicBezTo>
                        <a:pt x="68" y="12"/>
                        <a:pt x="76" y="10"/>
                        <a:pt x="84" y="8"/>
                      </a:cubicBezTo>
                      <a:cubicBezTo>
                        <a:pt x="91" y="1"/>
                        <a:pt x="93" y="3"/>
                        <a:pt x="86" y="0"/>
                      </a:cubicBezTo>
                      <a:close/>
                    </a:path>
                  </a:pathLst>
                </a:custGeom>
                <a:solidFill>
                  <a:schemeClr val="tx1"/>
                </a:solidFill>
                <a:ln w="12700">
                  <a:noFill/>
                  <a:round/>
                  <a:headEnd/>
                  <a:tailEnd/>
                </a:ln>
              </p:spPr>
              <p:txBody>
                <a:bodyPr lIns="45720" tIns="46800" rIns="45720" bIns="46800" anchor="ctr"/>
                <a:lstStyle/>
                <a:p>
                  <a:pPr defTabSz="912546"/>
                  <a:endParaRPr>
                    <a:solidFill>
                      <a:srgbClr val="000000"/>
                    </a:solidFill>
                  </a:endParaRPr>
                </a:p>
              </p:txBody>
            </p:sp>
            <p:sp>
              <p:nvSpPr>
                <p:cNvPr id="441499" name="Freeform 912"/>
                <p:cNvSpPr>
                  <a:spLocks/>
                </p:cNvSpPr>
                <p:nvPr/>
              </p:nvSpPr>
              <p:spPr bwMode="gray">
                <a:xfrm>
                  <a:off x="2690" y="1887"/>
                  <a:ext cx="86" cy="205"/>
                </a:xfrm>
                <a:custGeom>
                  <a:avLst/>
                  <a:gdLst>
                    <a:gd name="T0" fmla="*/ 4 w 111"/>
                    <a:gd name="T1" fmla="*/ 0 h 270"/>
                    <a:gd name="T2" fmla="*/ 3 w 111"/>
                    <a:gd name="T3" fmla="*/ 2 h 270"/>
                    <a:gd name="T4" fmla="*/ 2 w 111"/>
                    <a:gd name="T5" fmla="*/ 5 h 270"/>
                    <a:gd name="T6" fmla="*/ 2 w 111"/>
                    <a:gd name="T7" fmla="*/ 6 h 270"/>
                    <a:gd name="T8" fmla="*/ 2 w 111"/>
                    <a:gd name="T9" fmla="*/ 8 h 270"/>
                    <a:gd name="T10" fmla="*/ 2 w 111"/>
                    <a:gd name="T11" fmla="*/ 6 h 270"/>
                    <a:gd name="T12" fmla="*/ 2 w 111"/>
                    <a:gd name="T13" fmla="*/ 5 h 270"/>
                    <a:gd name="T14" fmla="*/ 2 w 111"/>
                    <a:gd name="T15" fmla="*/ 2 h 270"/>
                    <a:gd name="T16" fmla="*/ 3 w 111"/>
                    <a:gd name="T17" fmla="*/ 2 h 270"/>
                    <a:gd name="T18" fmla="*/ 4 w 111"/>
                    <a:gd name="T19" fmla="*/ 0 h 2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270"/>
                    <a:gd name="T32" fmla="*/ 111 w 111"/>
                    <a:gd name="T33" fmla="*/ 270 h 2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270">
                      <a:moveTo>
                        <a:pt x="111" y="0"/>
                      </a:moveTo>
                      <a:cubicBezTo>
                        <a:pt x="100" y="8"/>
                        <a:pt x="97" y="29"/>
                        <a:pt x="95" y="42"/>
                      </a:cubicBezTo>
                      <a:cubicBezTo>
                        <a:pt x="93" y="92"/>
                        <a:pt x="82" y="114"/>
                        <a:pt x="67" y="158"/>
                      </a:cubicBezTo>
                      <a:cubicBezTo>
                        <a:pt x="63" y="200"/>
                        <a:pt x="67" y="185"/>
                        <a:pt x="61" y="204"/>
                      </a:cubicBezTo>
                      <a:cubicBezTo>
                        <a:pt x="59" y="239"/>
                        <a:pt x="58" y="243"/>
                        <a:pt x="51" y="270"/>
                      </a:cubicBezTo>
                      <a:cubicBezTo>
                        <a:pt x="43" y="259"/>
                        <a:pt x="42" y="245"/>
                        <a:pt x="33" y="236"/>
                      </a:cubicBezTo>
                      <a:cubicBezTo>
                        <a:pt x="24" y="208"/>
                        <a:pt x="25" y="174"/>
                        <a:pt x="7" y="150"/>
                      </a:cubicBezTo>
                      <a:cubicBezTo>
                        <a:pt x="0" y="124"/>
                        <a:pt x="4" y="70"/>
                        <a:pt x="13" y="42"/>
                      </a:cubicBezTo>
                      <a:cubicBezTo>
                        <a:pt x="20" y="20"/>
                        <a:pt x="65" y="14"/>
                        <a:pt x="83" y="12"/>
                      </a:cubicBezTo>
                      <a:cubicBezTo>
                        <a:pt x="94" y="7"/>
                        <a:pt x="98" y="0"/>
                        <a:pt x="111" y="0"/>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500" name="Freeform 913"/>
                <p:cNvSpPr>
                  <a:spLocks/>
                </p:cNvSpPr>
                <p:nvPr/>
              </p:nvSpPr>
              <p:spPr bwMode="gray">
                <a:xfrm>
                  <a:off x="2729" y="2076"/>
                  <a:ext cx="133" cy="317"/>
                </a:xfrm>
                <a:custGeom>
                  <a:avLst/>
                  <a:gdLst>
                    <a:gd name="T0" fmla="*/ 1 w 133"/>
                    <a:gd name="T1" fmla="*/ 0 h 317"/>
                    <a:gd name="T2" fmla="*/ 0 w 133"/>
                    <a:gd name="T3" fmla="*/ 21 h 317"/>
                    <a:gd name="T4" fmla="*/ 7 w 133"/>
                    <a:gd name="T5" fmla="*/ 111 h 317"/>
                    <a:gd name="T6" fmla="*/ 13 w 133"/>
                    <a:gd name="T7" fmla="*/ 141 h 317"/>
                    <a:gd name="T8" fmla="*/ 13 w 133"/>
                    <a:gd name="T9" fmla="*/ 219 h 317"/>
                    <a:gd name="T10" fmla="*/ 15 w 133"/>
                    <a:gd name="T11" fmla="*/ 284 h 317"/>
                    <a:gd name="T12" fmla="*/ 58 w 133"/>
                    <a:gd name="T13" fmla="*/ 283 h 317"/>
                    <a:gd name="T14" fmla="*/ 59 w 133"/>
                    <a:gd name="T15" fmla="*/ 195 h 317"/>
                    <a:gd name="T16" fmla="*/ 64 w 133"/>
                    <a:gd name="T17" fmla="*/ 129 h 317"/>
                    <a:gd name="T18" fmla="*/ 71 w 133"/>
                    <a:gd name="T19" fmla="*/ 186 h 317"/>
                    <a:gd name="T20" fmla="*/ 75 w 133"/>
                    <a:gd name="T21" fmla="*/ 254 h 317"/>
                    <a:gd name="T22" fmla="*/ 76 w 133"/>
                    <a:gd name="T23" fmla="*/ 309 h 317"/>
                    <a:gd name="T24" fmla="*/ 107 w 133"/>
                    <a:gd name="T25" fmla="*/ 307 h 317"/>
                    <a:gd name="T26" fmla="*/ 116 w 133"/>
                    <a:gd name="T27" fmla="*/ 293 h 317"/>
                    <a:gd name="T28" fmla="*/ 125 w 133"/>
                    <a:gd name="T29" fmla="*/ 111 h 317"/>
                    <a:gd name="T30" fmla="*/ 130 w 133"/>
                    <a:gd name="T31" fmla="*/ 84 h 317"/>
                    <a:gd name="T32" fmla="*/ 124 w 133"/>
                    <a:gd name="T33" fmla="*/ 40 h 317"/>
                    <a:gd name="T34" fmla="*/ 121 w 133"/>
                    <a:gd name="T35" fmla="*/ 18 h 317"/>
                    <a:gd name="T36" fmla="*/ 115 w 133"/>
                    <a:gd name="T37" fmla="*/ 9 h 317"/>
                    <a:gd name="T38" fmla="*/ 89 w 133"/>
                    <a:gd name="T39" fmla="*/ 17 h 317"/>
                    <a:gd name="T40" fmla="*/ 23 w 133"/>
                    <a:gd name="T41" fmla="*/ 11 h 317"/>
                    <a:gd name="T42" fmla="*/ 1 w 133"/>
                    <a:gd name="T43" fmla="*/ 0 h 3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3"/>
                    <a:gd name="T67" fmla="*/ 0 h 317"/>
                    <a:gd name="T68" fmla="*/ 133 w 133"/>
                    <a:gd name="T69" fmla="*/ 317 h 3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3" h="317">
                      <a:moveTo>
                        <a:pt x="1" y="0"/>
                      </a:moveTo>
                      <a:cubicBezTo>
                        <a:pt x="3" y="8"/>
                        <a:pt x="1" y="14"/>
                        <a:pt x="0" y="21"/>
                      </a:cubicBezTo>
                      <a:cubicBezTo>
                        <a:pt x="1" y="39"/>
                        <a:pt x="5" y="91"/>
                        <a:pt x="7" y="111"/>
                      </a:cubicBezTo>
                      <a:cubicBezTo>
                        <a:pt x="9" y="122"/>
                        <a:pt x="10" y="131"/>
                        <a:pt x="13" y="141"/>
                      </a:cubicBezTo>
                      <a:cubicBezTo>
                        <a:pt x="14" y="159"/>
                        <a:pt x="13" y="195"/>
                        <a:pt x="13" y="219"/>
                      </a:cubicBezTo>
                      <a:cubicBezTo>
                        <a:pt x="12" y="241"/>
                        <a:pt x="12" y="262"/>
                        <a:pt x="15" y="284"/>
                      </a:cubicBezTo>
                      <a:cubicBezTo>
                        <a:pt x="22" y="299"/>
                        <a:pt x="50" y="289"/>
                        <a:pt x="58" y="283"/>
                      </a:cubicBezTo>
                      <a:cubicBezTo>
                        <a:pt x="55" y="263"/>
                        <a:pt x="66" y="231"/>
                        <a:pt x="59" y="195"/>
                      </a:cubicBezTo>
                      <a:cubicBezTo>
                        <a:pt x="60" y="169"/>
                        <a:pt x="62" y="135"/>
                        <a:pt x="64" y="129"/>
                      </a:cubicBezTo>
                      <a:cubicBezTo>
                        <a:pt x="70" y="139"/>
                        <a:pt x="65" y="160"/>
                        <a:pt x="71" y="186"/>
                      </a:cubicBezTo>
                      <a:cubicBezTo>
                        <a:pt x="73" y="207"/>
                        <a:pt x="75" y="229"/>
                        <a:pt x="75" y="254"/>
                      </a:cubicBezTo>
                      <a:cubicBezTo>
                        <a:pt x="74" y="272"/>
                        <a:pt x="69" y="296"/>
                        <a:pt x="76" y="309"/>
                      </a:cubicBezTo>
                      <a:cubicBezTo>
                        <a:pt x="82" y="317"/>
                        <a:pt x="101" y="311"/>
                        <a:pt x="107" y="307"/>
                      </a:cubicBezTo>
                      <a:cubicBezTo>
                        <a:pt x="109" y="304"/>
                        <a:pt x="116" y="293"/>
                        <a:pt x="116" y="293"/>
                      </a:cubicBezTo>
                      <a:cubicBezTo>
                        <a:pt x="119" y="260"/>
                        <a:pt x="123" y="144"/>
                        <a:pt x="125" y="111"/>
                      </a:cubicBezTo>
                      <a:cubicBezTo>
                        <a:pt x="127" y="76"/>
                        <a:pt x="130" y="96"/>
                        <a:pt x="130" y="84"/>
                      </a:cubicBezTo>
                      <a:cubicBezTo>
                        <a:pt x="133" y="50"/>
                        <a:pt x="125" y="51"/>
                        <a:pt x="124" y="40"/>
                      </a:cubicBezTo>
                      <a:cubicBezTo>
                        <a:pt x="124" y="38"/>
                        <a:pt x="124" y="24"/>
                        <a:pt x="121" y="18"/>
                      </a:cubicBezTo>
                      <a:cubicBezTo>
                        <a:pt x="119" y="15"/>
                        <a:pt x="115" y="9"/>
                        <a:pt x="115" y="9"/>
                      </a:cubicBezTo>
                      <a:cubicBezTo>
                        <a:pt x="105" y="11"/>
                        <a:pt x="98" y="14"/>
                        <a:pt x="89" y="17"/>
                      </a:cubicBezTo>
                      <a:cubicBezTo>
                        <a:pt x="30" y="15"/>
                        <a:pt x="52" y="17"/>
                        <a:pt x="23" y="11"/>
                      </a:cubicBezTo>
                      <a:cubicBezTo>
                        <a:pt x="17" y="5"/>
                        <a:pt x="10" y="0"/>
                        <a:pt x="1" y="0"/>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501" name="Freeform 914"/>
                <p:cNvSpPr>
                  <a:spLocks/>
                </p:cNvSpPr>
                <p:nvPr/>
              </p:nvSpPr>
              <p:spPr bwMode="gray">
                <a:xfrm>
                  <a:off x="2690" y="1878"/>
                  <a:ext cx="220" cy="230"/>
                </a:xfrm>
                <a:custGeom>
                  <a:avLst/>
                  <a:gdLst>
                    <a:gd name="T0" fmla="*/ 122 w 220"/>
                    <a:gd name="T1" fmla="*/ 0 h 230"/>
                    <a:gd name="T2" fmla="*/ 98 w 220"/>
                    <a:gd name="T3" fmla="*/ 5 h 230"/>
                    <a:gd name="T4" fmla="*/ 45 w 220"/>
                    <a:gd name="T5" fmla="*/ 37 h 230"/>
                    <a:gd name="T6" fmla="*/ 14 w 220"/>
                    <a:gd name="T7" fmla="*/ 88 h 230"/>
                    <a:gd name="T8" fmla="*/ 3 w 220"/>
                    <a:gd name="T9" fmla="*/ 113 h 230"/>
                    <a:gd name="T10" fmla="*/ 0 w 220"/>
                    <a:gd name="T11" fmla="*/ 119 h 230"/>
                    <a:gd name="T12" fmla="*/ 12 w 220"/>
                    <a:gd name="T13" fmla="*/ 149 h 230"/>
                    <a:gd name="T14" fmla="*/ 45 w 220"/>
                    <a:gd name="T15" fmla="*/ 142 h 230"/>
                    <a:gd name="T16" fmla="*/ 42 w 220"/>
                    <a:gd name="T17" fmla="*/ 176 h 230"/>
                    <a:gd name="T18" fmla="*/ 40 w 220"/>
                    <a:gd name="T19" fmla="*/ 196 h 230"/>
                    <a:gd name="T20" fmla="*/ 76 w 220"/>
                    <a:gd name="T21" fmla="*/ 216 h 230"/>
                    <a:gd name="T22" fmla="*/ 138 w 220"/>
                    <a:gd name="T23" fmla="*/ 216 h 230"/>
                    <a:gd name="T24" fmla="*/ 158 w 220"/>
                    <a:gd name="T25" fmla="*/ 230 h 230"/>
                    <a:gd name="T26" fmla="*/ 169 w 220"/>
                    <a:gd name="T27" fmla="*/ 222 h 230"/>
                    <a:gd name="T28" fmla="*/ 175 w 220"/>
                    <a:gd name="T29" fmla="*/ 213 h 230"/>
                    <a:gd name="T30" fmla="*/ 203 w 220"/>
                    <a:gd name="T31" fmla="*/ 192 h 230"/>
                    <a:gd name="T32" fmla="*/ 212 w 220"/>
                    <a:gd name="T33" fmla="*/ 178 h 230"/>
                    <a:gd name="T34" fmla="*/ 220 w 220"/>
                    <a:gd name="T35" fmla="*/ 151 h 230"/>
                    <a:gd name="T36" fmla="*/ 215 w 220"/>
                    <a:gd name="T37" fmla="*/ 133 h 230"/>
                    <a:gd name="T38" fmla="*/ 206 w 220"/>
                    <a:gd name="T39" fmla="*/ 101 h 230"/>
                    <a:gd name="T40" fmla="*/ 185 w 220"/>
                    <a:gd name="T41" fmla="*/ 35 h 230"/>
                    <a:gd name="T42" fmla="*/ 134 w 220"/>
                    <a:gd name="T43" fmla="*/ 14 h 230"/>
                    <a:gd name="T44" fmla="*/ 129 w 220"/>
                    <a:gd name="T45" fmla="*/ 5 h 230"/>
                    <a:gd name="T46" fmla="*/ 122 w 220"/>
                    <a:gd name="T47" fmla="*/ 0 h 2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0"/>
                    <a:gd name="T73" fmla="*/ 0 h 230"/>
                    <a:gd name="T74" fmla="*/ 220 w 220"/>
                    <a:gd name="T75" fmla="*/ 230 h 2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0" h="230">
                      <a:moveTo>
                        <a:pt x="122" y="0"/>
                      </a:moveTo>
                      <a:cubicBezTo>
                        <a:pt x="115" y="2"/>
                        <a:pt x="105" y="1"/>
                        <a:pt x="98" y="5"/>
                      </a:cubicBezTo>
                      <a:cubicBezTo>
                        <a:pt x="76" y="17"/>
                        <a:pt x="71" y="30"/>
                        <a:pt x="45" y="37"/>
                      </a:cubicBezTo>
                      <a:cubicBezTo>
                        <a:pt x="30" y="46"/>
                        <a:pt x="22" y="72"/>
                        <a:pt x="14" y="88"/>
                      </a:cubicBezTo>
                      <a:cubicBezTo>
                        <a:pt x="10" y="97"/>
                        <a:pt x="7" y="104"/>
                        <a:pt x="3" y="113"/>
                      </a:cubicBezTo>
                      <a:cubicBezTo>
                        <a:pt x="2" y="115"/>
                        <a:pt x="0" y="119"/>
                        <a:pt x="0" y="119"/>
                      </a:cubicBezTo>
                      <a:cubicBezTo>
                        <a:pt x="1" y="128"/>
                        <a:pt x="2" y="145"/>
                        <a:pt x="12" y="149"/>
                      </a:cubicBezTo>
                      <a:cubicBezTo>
                        <a:pt x="25" y="148"/>
                        <a:pt x="33" y="145"/>
                        <a:pt x="45" y="142"/>
                      </a:cubicBezTo>
                      <a:cubicBezTo>
                        <a:pt x="41" y="152"/>
                        <a:pt x="45" y="164"/>
                        <a:pt x="42" y="176"/>
                      </a:cubicBezTo>
                      <a:cubicBezTo>
                        <a:pt x="42" y="179"/>
                        <a:pt x="40" y="196"/>
                        <a:pt x="40" y="196"/>
                      </a:cubicBezTo>
                      <a:cubicBezTo>
                        <a:pt x="44" y="216"/>
                        <a:pt x="52" y="212"/>
                        <a:pt x="76" y="216"/>
                      </a:cubicBezTo>
                      <a:cubicBezTo>
                        <a:pt x="88" y="216"/>
                        <a:pt x="121" y="214"/>
                        <a:pt x="138" y="216"/>
                      </a:cubicBezTo>
                      <a:cubicBezTo>
                        <a:pt x="147" y="219"/>
                        <a:pt x="152" y="225"/>
                        <a:pt x="158" y="230"/>
                      </a:cubicBezTo>
                      <a:cubicBezTo>
                        <a:pt x="162" y="227"/>
                        <a:pt x="166" y="225"/>
                        <a:pt x="169" y="222"/>
                      </a:cubicBezTo>
                      <a:cubicBezTo>
                        <a:pt x="172" y="220"/>
                        <a:pt x="173" y="216"/>
                        <a:pt x="175" y="213"/>
                      </a:cubicBezTo>
                      <a:cubicBezTo>
                        <a:pt x="183" y="206"/>
                        <a:pt x="194" y="198"/>
                        <a:pt x="203" y="192"/>
                      </a:cubicBezTo>
                      <a:cubicBezTo>
                        <a:pt x="207" y="187"/>
                        <a:pt x="208" y="183"/>
                        <a:pt x="212" y="178"/>
                      </a:cubicBezTo>
                      <a:cubicBezTo>
                        <a:pt x="215" y="169"/>
                        <a:pt x="218" y="160"/>
                        <a:pt x="220" y="151"/>
                      </a:cubicBezTo>
                      <a:cubicBezTo>
                        <a:pt x="218" y="145"/>
                        <a:pt x="217" y="139"/>
                        <a:pt x="215" y="133"/>
                      </a:cubicBezTo>
                      <a:cubicBezTo>
                        <a:pt x="214" y="120"/>
                        <a:pt x="209" y="112"/>
                        <a:pt x="206" y="101"/>
                      </a:cubicBezTo>
                      <a:cubicBezTo>
                        <a:pt x="201" y="85"/>
                        <a:pt x="197" y="49"/>
                        <a:pt x="185" y="35"/>
                      </a:cubicBezTo>
                      <a:cubicBezTo>
                        <a:pt x="173" y="24"/>
                        <a:pt x="148" y="21"/>
                        <a:pt x="134" y="14"/>
                      </a:cubicBezTo>
                      <a:cubicBezTo>
                        <a:pt x="132" y="11"/>
                        <a:pt x="132" y="7"/>
                        <a:pt x="129" y="5"/>
                      </a:cubicBezTo>
                      <a:cubicBezTo>
                        <a:pt x="128" y="3"/>
                        <a:pt x="124" y="2"/>
                        <a:pt x="122" y="0"/>
                      </a:cubicBezTo>
                      <a:close/>
                    </a:path>
                  </a:pathLst>
                </a:custGeom>
                <a:solidFill>
                  <a:srgbClr val="A0DBF8"/>
                </a:solidFill>
                <a:ln w="12700">
                  <a:noFill/>
                  <a:round/>
                  <a:headEnd/>
                  <a:tailEnd/>
                </a:ln>
              </p:spPr>
              <p:txBody>
                <a:bodyPr lIns="45720" tIns="46800" rIns="45720" bIns="46800" anchor="ctr"/>
                <a:lstStyle/>
                <a:p>
                  <a:pPr defTabSz="912546"/>
                  <a:endParaRPr>
                    <a:solidFill>
                      <a:srgbClr val="000000"/>
                    </a:solidFill>
                  </a:endParaRPr>
                </a:p>
              </p:txBody>
            </p:sp>
            <p:sp>
              <p:nvSpPr>
                <p:cNvPr id="441502" name="Freeform 915"/>
                <p:cNvSpPr>
                  <a:spLocks/>
                </p:cNvSpPr>
                <p:nvPr/>
              </p:nvSpPr>
              <p:spPr bwMode="gray">
                <a:xfrm>
                  <a:off x="2753" y="1807"/>
                  <a:ext cx="69" cy="115"/>
                </a:xfrm>
                <a:custGeom>
                  <a:avLst/>
                  <a:gdLst>
                    <a:gd name="T0" fmla="*/ 2 w 90"/>
                    <a:gd name="T1" fmla="*/ 2 h 152"/>
                    <a:gd name="T2" fmla="*/ 2 w 90"/>
                    <a:gd name="T3" fmla="*/ 2 h 152"/>
                    <a:gd name="T4" fmla="*/ 0 w 90"/>
                    <a:gd name="T5" fmla="*/ 2 h 152"/>
                    <a:gd name="T6" fmla="*/ 2 w 90"/>
                    <a:gd name="T7" fmla="*/ 3 h 152"/>
                    <a:gd name="T8" fmla="*/ 2 w 90"/>
                    <a:gd name="T9" fmla="*/ 3 h 152"/>
                    <a:gd name="T10" fmla="*/ 2 w 90"/>
                    <a:gd name="T11" fmla="*/ 5 h 152"/>
                    <a:gd name="T12" fmla="*/ 2 w 90"/>
                    <a:gd name="T13" fmla="*/ 3 h 152"/>
                    <a:gd name="T14" fmla="*/ 3 w 90"/>
                    <a:gd name="T15" fmla="*/ 2 h 152"/>
                    <a:gd name="T16" fmla="*/ 2 w 90"/>
                    <a:gd name="T17" fmla="*/ 2 h 152"/>
                    <a:gd name="T18" fmla="*/ 2 w 90"/>
                    <a:gd name="T19" fmla="*/ 2 h 152"/>
                    <a:gd name="T20" fmla="*/ 2 w 90"/>
                    <a:gd name="T21" fmla="*/ 2 h 152"/>
                    <a:gd name="T22" fmla="*/ 2 w 90"/>
                    <a:gd name="T23" fmla="*/ 0 h 152"/>
                    <a:gd name="T24" fmla="*/ 2 w 90"/>
                    <a:gd name="T25" fmla="*/ 2 h 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52"/>
                    <a:gd name="T41" fmla="*/ 90 w 90"/>
                    <a:gd name="T42" fmla="*/ 152 h 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52">
                      <a:moveTo>
                        <a:pt x="24" y="6"/>
                      </a:moveTo>
                      <a:cubicBezTo>
                        <a:pt x="20" y="9"/>
                        <a:pt x="13" y="9"/>
                        <a:pt x="10" y="14"/>
                      </a:cubicBezTo>
                      <a:cubicBezTo>
                        <a:pt x="6" y="21"/>
                        <a:pt x="3" y="43"/>
                        <a:pt x="0" y="52"/>
                      </a:cubicBezTo>
                      <a:cubicBezTo>
                        <a:pt x="1" y="62"/>
                        <a:pt x="3" y="79"/>
                        <a:pt x="8" y="88"/>
                      </a:cubicBezTo>
                      <a:cubicBezTo>
                        <a:pt x="12" y="94"/>
                        <a:pt x="20" y="106"/>
                        <a:pt x="20" y="106"/>
                      </a:cubicBezTo>
                      <a:cubicBezTo>
                        <a:pt x="25" y="125"/>
                        <a:pt x="20" y="142"/>
                        <a:pt x="40" y="152"/>
                      </a:cubicBezTo>
                      <a:cubicBezTo>
                        <a:pt x="56" y="144"/>
                        <a:pt x="70" y="129"/>
                        <a:pt x="76" y="112"/>
                      </a:cubicBezTo>
                      <a:cubicBezTo>
                        <a:pt x="71" y="82"/>
                        <a:pt x="79" y="84"/>
                        <a:pt x="86" y="56"/>
                      </a:cubicBezTo>
                      <a:cubicBezTo>
                        <a:pt x="80" y="25"/>
                        <a:pt x="90" y="66"/>
                        <a:pt x="76" y="40"/>
                      </a:cubicBezTo>
                      <a:cubicBezTo>
                        <a:pt x="74" y="36"/>
                        <a:pt x="75" y="32"/>
                        <a:pt x="74" y="28"/>
                      </a:cubicBezTo>
                      <a:cubicBezTo>
                        <a:pt x="73" y="26"/>
                        <a:pt x="71" y="24"/>
                        <a:pt x="70" y="22"/>
                      </a:cubicBezTo>
                      <a:cubicBezTo>
                        <a:pt x="67" y="9"/>
                        <a:pt x="64" y="3"/>
                        <a:pt x="50" y="0"/>
                      </a:cubicBezTo>
                      <a:cubicBezTo>
                        <a:pt x="41" y="4"/>
                        <a:pt x="35" y="6"/>
                        <a:pt x="24" y="6"/>
                      </a:cubicBezTo>
                      <a:close/>
                    </a:path>
                  </a:pathLst>
                </a:custGeom>
                <a:solidFill>
                  <a:srgbClr val="E3AA77"/>
                </a:solidFill>
                <a:ln w="12700">
                  <a:noFill/>
                  <a:round/>
                  <a:headEnd/>
                  <a:tailEnd/>
                </a:ln>
              </p:spPr>
              <p:txBody>
                <a:bodyPr lIns="45720" tIns="46800" rIns="45720" bIns="46800" anchor="ctr"/>
                <a:lstStyle/>
                <a:p>
                  <a:pPr defTabSz="912546"/>
                  <a:endParaRPr>
                    <a:solidFill>
                      <a:srgbClr val="000000"/>
                    </a:solidFill>
                  </a:endParaRPr>
                </a:p>
              </p:txBody>
            </p:sp>
            <p:sp>
              <p:nvSpPr>
                <p:cNvPr id="441503" name="Freeform 916"/>
                <p:cNvSpPr>
                  <a:spLocks/>
                </p:cNvSpPr>
                <p:nvPr/>
              </p:nvSpPr>
              <p:spPr bwMode="gray">
                <a:xfrm>
                  <a:off x="2733" y="1918"/>
                  <a:ext cx="43" cy="53"/>
                </a:xfrm>
                <a:custGeom>
                  <a:avLst/>
                  <a:gdLst>
                    <a:gd name="T0" fmla="*/ 2 w 57"/>
                    <a:gd name="T1" fmla="*/ 2 h 70"/>
                    <a:gd name="T2" fmla="*/ 2 w 57"/>
                    <a:gd name="T3" fmla="*/ 2 h 70"/>
                    <a:gd name="T4" fmla="*/ 2 w 57"/>
                    <a:gd name="T5" fmla="*/ 2 h 70"/>
                    <a:gd name="T6" fmla="*/ 2 w 57"/>
                    <a:gd name="T7" fmla="*/ 2 h 70"/>
                    <a:gd name="T8" fmla="*/ 2 w 57"/>
                    <a:gd name="T9" fmla="*/ 2 h 70"/>
                    <a:gd name="T10" fmla="*/ 2 w 57"/>
                    <a:gd name="T11" fmla="*/ 0 h 70"/>
                    <a:gd name="T12" fmla="*/ 2 w 57"/>
                    <a:gd name="T13" fmla="*/ 2 h 70"/>
                    <a:gd name="T14" fmla="*/ 2 w 57"/>
                    <a:gd name="T15" fmla="*/ 2 h 70"/>
                    <a:gd name="T16" fmla="*/ 2 w 57"/>
                    <a:gd name="T17" fmla="*/ 2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70"/>
                    <a:gd name="T29" fmla="*/ 57 w 57"/>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70">
                      <a:moveTo>
                        <a:pt x="39" y="30"/>
                      </a:moveTo>
                      <a:cubicBezTo>
                        <a:pt x="44" y="19"/>
                        <a:pt x="45" y="14"/>
                        <a:pt x="57" y="20"/>
                      </a:cubicBezTo>
                      <a:cubicBezTo>
                        <a:pt x="45" y="32"/>
                        <a:pt x="41" y="47"/>
                        <a:pt x="27" y="58"/>
                      </a:cubicBezTo>
                      <a:cubicBezTo>
                        <a:pt x="24" y="66"/>
                        <a:pt x="21" y="67"/>
                        <a:pt x="13" y="70"/>
                      </a:cubicBezTo>
                      <a:cubicBezTo>
                        <a:pt x="4" y="68"/>
                        <a:pt x="0" y="66"/>
                        <a:pt x="3" y="56"/>
                      </a:cubicBezTo>
                      <a:cubicBezTo>
                        <a:pt x="5" y="33"/>
                        <a:pt x="7" y="20"/>
                        <a:pt x="17" y="0"/>
                      </a:cubicBezTo>
                      <a:cubicBezTo>
                        <a:pt x="32" y="5"/>
                        <a:pt x="26" y="1"/>
                        <a:pt x="35" y="10"/>
                      </a:cubicBezTo>
                      <a:cubicBezTo>
                        <a:pt x="36" y="15"/>
                        <a:pt x="33" y="21"/>
                        <a:pt x="35" y="26"/>
                      </a:cubicBezTo>
                      <a:cubicBezTo>
                        <a:pt x="36" y="30"/>
                        <a:pt x="45" y="30"/>
                        <a:pt x="39" y="30"/>
                      </a:cubicBezTo>
                      <a:close/>
                    </a:path>
                  </a:pathLst>
                </a:custGeom>
                <a:solidFill>
                  <a:srgbClr val="E3AA77"/>
                </a:solidFill>
                <a:ln w="12700">
                  <a:noFill/>
                  <a:round/>
                  <a:headEnd/>
                  <a:tailEnd/>
                </a:ln>
              </p:spPr>
              <p:txBody>
                <a:bodyPr lIns="45720" tIns="46800" rIns="45720" bIns="46800" anchor="ctr"/>
                <a:lstStyle/>
                <a:p>
                  <a:pPr defTabSz="912546"/>
                  <a:endParaRPr>
                    <a:solidFill>
                      <a:srgbClr val="000000"/>
                    </a:solidFill>
                  </a:endParaRPr>
                </a:p>
              </p:txBody>
            </p:sp>
            <p:sp>
              <p:nvSpPr>
                <p:cNvPr id="441504" name="Freeform 917"/>
                <p:cNvSpPr>
                  <a:spLocks/>
                </p:cNvSpPr>
                <p:nvPr/>
              </p:nvSpPr>
              <p:spPr bwMode="gray">
                <a:xfrm>
                  <a:off x="2791" y="2084"/>
                  <a:ext cx="59" cy="36"/>
                </a:xfrm>
                <a:custGeom>
                  <a:avLst/>
                  <a:gdLst>
                    <a:gd name="T0" fmla="*/ 2 w 77"/>
                    <a:gd name="T1" fmla="*/ 0 h 48"/>
                    <a:gd name="T2" fmla="*/ 2 w 77"/>
                    <a:gd name="T3" fmla="*/ 2 h 48"/>
                    <a:gd name="T4" fmla="*/ 2 w 77"/>
                    <a:gd name="T5" fmla="*/ 2 h 48"/>
                    <a:gd name="T6" fmla="*/ 2 w 77"/>
                    <a:gd name="T7" fmla="*/ 2 h 48"/>
                    <a:gd name="T8" fmla="*/ 2 w 77"/>
                    <a:gd name="T9" fmla="*/ 2 h 48"/>
                    <a:gd name="T10" fmla="*/ 2 w 77"/>
                    <a:gd name="T11" fmla="*/ 2 h 48"/>
                    <a:gd name="T12" fmla="*/ 2 w 77"/>
                    <a:gd name="T13" fmla="*/ 2 h 48"/>
                    <a:gd name="T14" fmla="*/ 2 w 77"/>
                    <a:gd name="T15" fmla="*/ 2 h 48"/>
                    <a:gd name="T16" fmla="*/ 2 w 77"/>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48"/>
                    <a:gd name="T29" fmla="*/ 77 w 77"/>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48">
                      <a:moveTo>
                        <a:pt x="49" y="0"/>
                      </a:moveTo>
                      <a:cubicBezTo>
                        <a:pt x="37" y="4"/>
                        <a:pt x="28" y="8"/>
                        <a:pt x="15" y="10"/>
                      </a:cubicBezTo>
                      <a:cubicBezTo>
                        <a:pt x="7" y="15"/>
                        <a:pt x="0" y="19"/>
                        <a:pt x="13" y="22"/>
                      </a:cubicBezTo>
                      <a:cubicBezTo>
                        <a:pt x="21" y="19"/>
                        <a:pt x="25" y="17"/>
                        <a:pt x="33" y="20"/>
                      </a:cubicBezTo>
                      <a:cubicBezTo>
                        <a:pt x="31" y="25"/>
                        <a:pt x="23" y="37"/>
                        <a:pt x="29" y="42"/>
                      </a:cubicBezTo>
                      <a:cubicBezTo>
                        <a:pt x="34" y="46"/>
                        <a:pt x="47" y="48"/>
                        <a:pt x="47" y="48"/>
                      </a:cubicBezTo>
                      <a:cubicBezTo>
                        <a:pt x="69" y="46"/>
                        <a:pt x="67" y="47"/>
                        <a:pt x="77" y="32"/>
                      </a:cubicBezTo>
                      <a:cubicBezTo>
                        <a:pt x="72" y="25"/>
                        <a:pt x="68" y="19"/>
                        <a:pt x="61" y="14"/>
                      </a:cubicBezTo>
                      <a:cubicBezTo>
                        <a:pt x="59" y="7"/>
                        <a:pt x="54" y="5"/>
                        <a:pt x="49" y="0"/>
                      </a:cubicBezTo>
                      <a:close/>
                    </a:path>
                  </a:pathLst>
                </a:custGeom>
                <a:solidFill>
                  <a:srgbClr val="E3AA77"/>
                </a:solidFill>
                <a:ln w="12700">
                  <a:noFill/>
                  <a:round/>
                  <a:headEnd/>
                  <a:tailEnd/>
                </a:ln>
              </p:spPr>
              <p:txBody>
                <a:bodyPr lIns="45720" tIns="46800" rIns="45720" bIns="46800" anchor="ctr"/>
                <a:lstStyle/>
                <a:p>
                  <a:pPr defTabSz="912546"/>
                  <a:endParaRPr>
                    <a:solidFill>
                      <a:srgbClr val="000000"/>
                    </a:solidFill>
                  </a:endParaRPr>
                </a:p>
              </p:txBody>
            </p:sp>
            <p:sp>
              <p:nvSpPr>
                <p:cNvPr id="441505" name="Freeform 918"/>
                <p:cNvSpPr>
                  <a:spLocks/>
                </p:cNvSpPr>
                <p:nvPr/>
              </p:nvSpPr>
              <p:spPr bwMode="gray">
                <a:xfrm>
                  <a:off x="2753" y="1797"/>
                  <a:ext cx="62" cy="59"/>
                </a:xfrm>
                <a:custGeom>
                  <a:avLst/>
                  <a:gdLst>
                    <a:gd name="T0" fmla="*/ 2 w 80"/>
                    <a:gd name="T1" fmla="*/ 2 h 78"/>
                    <a:gd name="T2" fmla="*/ 2 w 80"/>
                    <a:gd name="T3" fmla="*/ 2 h 78"/>
                    <a:gd name="T4" fmla="*/ 2 w 80"/>
                    <a:gd name="T5" fmla="*/ 2 h 78"/>
                    <a:gd name="T6" fmla="*/ 2 w 80"/>
                    <a:gd name="T7" fmla="*/ 2 h 78"/>
                    <a:gd name="T8" fmla="*/ 2 w 80"/>
                    <a:gd name="T9" fmla="*/ 2 h 78"/>
                    <a:gd name="T10" fmla="*/ 2 w 80"/>
                    <a:gd name="T11" fmla="*/ 2 h 78"/>
                    <a:gd name="T12" fmla="*/ 2 w 80"/>
                    <a:gd name="T13" fmla="*/ 2 h 78"/>
                    <a:gd name="T14" fmla="*/ 2 w 80"/>
                    <a:gd name="T15" fmla="*/ 2 h 78"/>
                    <a:gd name="T16" fmla="*/ 2 w 80"/>
                    <a:gd name="T17" fmla="*/ 2 h 78"/>
                    <a:gd name="T18" fmla="*/ 2 w 80"/>
                    <a:gd name="T19" fmla="*/ 2 h 78"/>
                    <a:gd name="T20" fmla="*/ 3 w 80"/>
                    <a:gd name="T21" fmla="*/ 2 h 78"/>
                    <a:gd name="T22" fmla="*/ 2 w 80"/>
                    <a:gd name="T23" fmla="*/ 2 h 78"/>
                    <a:gd name="T24" fmla="*/ 2 w 80"/>
                    <a:gd name="T25" fmla="*/ 2 h 78"/>
                    <a:gd name="T26" fmla="*/ 2 w 80"/>
                    <a:gd name="T27" fmla="*/ 2 h 78"/>
                    <a:gd name="T28" fmla="*/ 2 w 80"/>
                    <a:gd name="T29" fmla="*/ 2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0"/>
                    <a:gd name="T46" fmla="*/ 0 h 78"/>
                    <a:gd name="T47" fmla="*/ 80 w 80"/>
                    <a:gd name="T48" fmla="*/ 78 h 7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0" h="78">
                      <a:moveTo>
                        <a:pt x="24" y="23"/>
                      </a:moveTo>
                      <a:cubicBezTo>
                        <a:pt x="16" y="25"/>
                        <a:pt x="15" y="23"/>
                        <a:pt x="12" y="31"/>
                      </a:cubicBezTo>
                      <a:cubicBezTo>
                        <a:pt x="10" y="35"/>
                        <a:pt x="8" y="43"/>
                        <a:pt x="8" y="43"/>
                      </a:cubicBezTo>
                      <a:cubicBezTo>
                        <a:pt x="7" y="50"/>
                        <a:pt x="7" y="58"/>
                        <a:pt x="6" y="65"/>
                      </a:cubicBezTo>
                      <a:cubicBezTo>
                        <a:pt x="6" y="67"/>
                        <a:pt x="6" y="71"/>
                        <a:pt x="4" y="71"/>
                      </a:cubicBezTo>
                      <a:cubicBezTo>
                        <a:pt x="2" y="71"/>
                        <a:pt x="3" y="67"/>
                        <a:pt x="2" y="65"/>
                      </a:cubicBezTo>
                      <a:cubicBezTo>
                        <a:pt x="0" y="48"/>
                        <a:pt x="0" y="18"/>
                        <a:pt x="20" y="11"/>
                      </a:cubicBezTo>
                      <a:cubicBezTo>
                        <a:pt x="31" y="0"/>
                        <a:pt x="25" y="3"/>
                        <a:pt x="48" y="7"/>
                      </a:cubicBezTo>
                      <a:cubicBezTo>
                        <a:pt x="54" y="8"/>
                        <a:pt x="66" y="13"/>
                        <a:pt x="66" y="13"/>
                      </a:cubicBezTo>
                      <a:cubicBezTo>
                        <a:pt x="71" y="28"/>
                        <a:pt x="64" y="10"/>
                        <a:pt x="74" y="23"/>
                      </a:cubicBezTo>
                      <a:cubicBezTo>
                        <a:pt x="78" y="28"/>
                        <a:pt x="79" y="43"/>
                        <a:pt x="80" y="49"/>
                      </a:cubicBezTo>
                      <a:cubicBezTo>
                        <a:pt x="76" y="78"/>
                        <a:pt x="74" y="49"/>
                        <a:pt x="64" y="39"/>
                      </a:cubicBezTo>
                      <a:cubicBezTo>
                        <a:pt x="61" y="31"/>
                        <a:pt x="59" y="26"/>
                        <a:pt x="52" y="21"/>
                      </a:cubicBezTo>
                      <a:cubicBezTo>
                        <a:pt x="45" y="34"/>
                        <a:pt x="49" y="25"/>
                        <a:pt x="40" y="19"/>
                      </a:cubicBezTo>
                      <a:cubicBezTo>
                        <a:pt x="30" y="24"/>
                        <a:pt x="35" y="23"/>
                        <a:pt x="24" y="23"/>
                      </a:cubicBezTo>
                      <a:close/>
                    </a:path>
                  </a:pathLst>
                </a:custGeom>
                <a:solidFill>
                  <a:srgbClr val="7C1E1F"/>
                </a:solidFill>
                <a:ln w="12700">
                  <a:noFill/>
                  <a:round/>
                  <a:headEnd/>
                  <a:tailEnd/>
                </a:ln>
              </p:spPr>
              <p:txBody>
                <a:bodyPr lIns="45720" tIns="46800" rIns="45720" bIns="46800" anchor="ctr"/>
                <a:lstStyle/>
                <a:p>
                  <a:pPr defTabSz="912546"/>
                  <a:endParaRPr>
                    <a:solidFill>
                      <a:srgbClr val="000000"/>
                    </a:solidFill>
                  </a:endParaRPr>
                </a:p>
              </p:txBody>
            </p:sp>
            <p:sp>
              <p:nvSpPr>
                <p:cNvPr id="441506" name="Freeform 919"/>
                <p:cNvSpPr>
                  <a:spLocks/>
                </p:cNvSpPr>
                <p:nvPr/>
              </p:nvSpPr>
              <p:spPr bwMode="gray">
                <a:xfrm>
                  <a:off x="2781" y="1898"/>
                  <a:ext cx="41" cy="35"/>
                </a:xfrm>
                <a:custGeom>
                  <a:avLst/>
                  <a:gdLst>
                    <a:gd name="T0" fmla="*/ 2 w 54"/>
                    <a:gd name="T1" fmla="*/ 2 h 46"/>
                    <a:gd name="T2" fmla="*/ 2 w 54"/>
                    <a:gd name="T3" fmla="*/ 2 h 46"/>
                    <a:gd name="T4" fmla="*/ 2 w 54"/>
                    <a:gd name="T5" fmla="*/ 2 h 46"/>
                    <a:gd name="T6" fmla="*/ 2 w 54"/>
                    <a:gd name="T7" fmla="*/ 2 h 46"/>
                    <a:gd name="T8" fmla="*/ 2 w 54"/>
                    <a:gd name="T9" fmla="*/ 2 h 46"/>
                    <a:gd name="T10" fmla="*/ 2 w 54"/>
                    <a:gd name="T11" fmla="*/ 2 h 46"/>
                    <a:gd name="T12" fmla="*/ 2 w 54"/>
                    <a:gd name="T13" fmla="*/ 2 h 46"/>
                    <a:gd name="T14" fmla="*/ 2 w 54"/>
                    <a:gd name="T15" fmla="*/ 2 h 46"/>
                    <a:gd name="T16" fmla="*/ 2 w 54"/>
                    <a:gd name="T17" fmla="*/ 2 h 46"/>
                    <a:gd name="T18" fmla="*/ 2 w 54"/>
                    <a:gd name="T19" fmla="*/ 2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46"/>
                    <a:gd name="T32" fmla="*/ 54 w 54"/>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46">
                      <a:moveTo>
                        <a:pt x="54" y="4"/>
                      </a:moveTo>
                      <a:cubicBezTo>
                        <a:pt x="51" y="8"/>
                        <a:pt x="51" y="17"/>
                        <a:pt x="46" y="18"/>
                      </a:cubicBezTo>
                      <a:cubicBezTo>
                        <a:pt x="40" y="20"/>
                        <a:pt x="28" y="12"/>
                        <a:pt x="28" y="12"/>
                      </a:cubicBezTo>
                      <a:cubicBezTo>
                        <a:pt x="24" y="20"/>
                        <a:pt x="16" y="24"/>
                        <a:pt x="12" y="32"/>
                      </a:cubicBezTo>
                      <a:cubicBezTo>
                        <a:pt x="11" y="35"/>
                        <a:pt x="10" y="38"/>
                        <a:pt x="8" y="40"/>
                      </a:cubicBezTo>
                      <a:cubicBezTo>
                        <a:pt x="6" y="42"/>
                        <a:pt x="0" y="46"/>
                        <a:pt x="2" y="44"/>
                      </a:cubicBezTo>
                      <a:cubicBezTo>
                        <a:pt x="9" y="38"/>
                        <a:pt x="16" y="31"/>
                        <a:pt x="24" y="26"/>
                      </a:cubicBezTo>
                      <a:cubicBezTo>
                        <a:pt x="28" y="24"/>
                        <a:pt x="36" y="22"/>
                        <a:pt x="36" y="22"/>
                      </a:cubicBezTo>
                      <a:cubicBezTo>
                        <a:pt x="49" y="26"/>
                        <a:pt x="49" y="30"/>
                        <a:pt x="52" y="14"/>
                      </a:cubicBezTo>
                      <a:cubicBezTo>
                        <a:pt x="50" y="1"/>
                        <a:pt x="46" y="0"/>
                        <a:pt x="54" y="4"/>
                      </a:cubicBezTo>
                      <a:close/>
                    </a:path>
                  </a:pathLst>
                </a:custGeom>
                <a:solidFill>
                  <a:srgbClr val="72B9E0"/>
                </a:solidFill>
                <a:ln w="12700">
                  <a:noFill/>
                  <a:round/>
                  <a:headEnd/>
                  <a:tailEnd/>
                </a:ln>
              </p:spPr>
              <p:txBody>
                <a:bodyPr lIns="45720" tIns="46800" rIns="45720" bIns="46800" anchor="ctr"/>
                <a:lstStyle/>
                <a:p>
                  <a:pPr defTabSz="912546"/>
                  <a:endParaRPr>
                    <a:solidFill>
                      <a:srgbClr val="000000"/>
                    </a:solidFill>
                  </a:endParaRPr>
                </a:p>
              </p:txBody>
            </p:sp>
            <p:sp>
              <p:nvSpPr>
                <p:cNvPr id="441507" name="Freeform 920"/>
                <p:cNvSpPr>
                  <a:spLocks/>
                </p:cNvSpPr>
                <p:nvPr/>
              </p:nvSpPr>
              <p:spPr bwMode="gray">
                <a:xfrm>
                  <a:off x="2759" y="1910"/>
                  <a:ext cx="19" cy="27"/>
                </a:xfrm>
                <a:custGeom>
                  <a:avLst/>
                  <a:gdLst>
                    <a:gd name="T0" fmla="*/ 2 w 24"/>
                    <a:gd name="T1" fmla="*/ 2 h 35"/>
                    <a:gd name="T2" fmla="*/ 2 w 24"/>
                    <a:gd name="T3" fmla="*/ 2 h 35"/>
                    <a:gd name="T4" fmla="*/ 0 w 24"/>
                    <a:gd name="T5" fmla="*/ 2 h 35"/>
                    <a:gd name="T6" fmla="*/ 2 w 24"/>
                    <a:gd name="T7" fmla="*/ 0 h 35"/>
                    <a:gd name="T8" fmla="*/ 2 w 24"/>
                    <a:gd name="T9" fmla="*/ 2 h 35"/>
                    <a:gd name="T10" fmla="*/ 0 60000 65536"/>
                    <a:gd name="T11" fmla="*/ 0 60000 65536"/>
                    <a:gd name="T12" fmla="*/ 0 60000 65536"/>
                    <a:gd name="T13" fmla="*/ 0 60000 65536"/>
                    <a:gd name="T14" fmla="*/ 0 60000 65536"/>
                    <a:gd name="T15" fmla="*/ 0 w 24"/>
                    <a:gd name="T16" fmla="*/ 0 h 35"/>
                    <a:gd name="T17" fmla="*/ 24 w 24"/>
                    <a:gd name="T18" fmla="*/ 35 h 35"/>
                  </a:gdLst>
                  <a:ahLst/>
                  <a:cxnLst>
                    <a:cxn ang="T10">
                      <a:pos x="T0" y="T1"/>
                    </a:cxn>
                    <a:cxn ang="T11">
                      <a:pos x="T2" y="T3"/>
                    </a:cxn>
                    <a:cxn ang="T12">
                      <a:pos x="T4" y="T5"/>
                    </a:cxn>
                    <a:cxn ang="T13">
                      <a:pos x="T6" y="T7"/>
                    </a:cxn>
                    <a:cxn ang="T14">
                      <a:pos x="T8" y="T9"/>
                    </a:cxn>
                  </a:cxnLst>
                  <a:rect l="T15" t="T16" r="T17" b="T18"/>
                  <a:pathLst>
                    <a:path w="24" h="35">
                      <a:moveTo>
                        <a:pt x="24" y="20"/>
                      </a:moveTo>
                      <a:cubicBezTo>
                        <a:pt x="20" y="9"/>
                        <a:pt x="16" y="9"/>
                        <a:pt x="6" y="14"/>
                      </a:cubicBezTo>
                      <a:cubicBezTo>
                        <a:pt x="1" y="35"/>
                        <a:pt x="3" y="35"/>
                        <a:pt x="0" y="14"/>
                      </a:cubicBezTo>
                      <a:cubicBezTo>
                        <a:pt x="5" y="0"/>
                        <a:pt x="0" y="3"/>
                        <a:pt x="10" y="0"/>
                      </a:cubicBezTo>
                      <a:cubicBezTo>
                        <a:pt x="15" y="7"/>
                        <a:pt x="21" y="12"/>
                        <a:pt x="24" y="20"/>
                      </a:cubicBezTo>
                      <a:close/>
                    </a:path>
                  </a:pathLst>
                </a:custGeom>
                <a:solidFill>
                  <a:srgbClr val="72B9E0"/>
                </a:solidFill>
                <a:ln w="12700">
                  <a:noFill/>
                  <a:round/>
                  <a:headEnd/>
                  <a:tailEnd/>
                </a:ln>
              </p:spPr>
              <p:txBody>
                <a:bodyPr lIns="45720" tIns="46800" rIns="45720" bIns="46800" anchor="ctr"/>
                <a:lstStyle/>
                <a:p>
                  <a:pPr defTabSz="912546"/>
                  <a:endParaRPr>
                    <a:solidFill>
                      <a:srgbClr val="000000"/>
                    </a:solidFill>
                  </a:endParaRPr>
                </a:p>
              </p:txBody>
            </p:sp>
            <p:sp>
              <p:nvSpPr>
                <p:cNvPr id="441508" name="Freeform 921"/>
                <p:cNvSpPr>
                  <a:spLocks/>
                </p:cNvSpPr>
                <p:nvPr/>
              </p:nvSpPr>
              <p:spPr bwMode="gray">
                <a:xfrm>
                  <a:off x="2813" y="1938"/>
                  <a:ext cx="82" cy="150"/>
                </a:xfrm>
                <a:custGeom>
                  <a:avLst/>
                  <a:gdLst>
                    <a:gd name="T0" fmla="*/ 46 w 82"/>
                    <a:gd name="T1" fmla="*/ 36 h 150"/>
                    <a:gd name="T2" fmla="*/ 39 w 82"/>
                    <a:gd name="T3" fmla="*/ 18 h 150"/>
                    <a:gd name="T4" fmla="*/ 42 w 82"/>
                    <a:gd name="T5" fmla="*/ 35 h 150"/>
                    <a:gd name="T6" fmla="*/ 45 w 82"/>
                    <a:gd name="T7" fmla="*/ 39 h 150"/>
                    <a:gd name="T8" fmla="*/ 39 w 82"/>
                    <a:gd name="T9" fmla="*/ 36 h 150"/>
                    <a:gd name="T10" fmla="*/ 39 w 82"/>
                    <a:gd name="T11" fmla="*/ 50 h 150"/>
                    <a:gd name="T12" fmla="*/ 32 w 82"/>
                    <a:gd name="T13" fmla="*/ 65 h 150"/>
                    <a:gd name="T14" fmla="*/ 37 w 82"/>
                    <a:gd name="T15" fmla="*/ 67 h 150"/>
                    <a:gd name="T16" fmla="*/ 23 w 82"/>
                    <a:gd name="T17" fmla="*/ 76 h 150"/>
                    <a:gd name="T18" fmla="*/ 11 w 82"/>
                    <a:gd name="T19" fmla="*/ 88 h 150"/>
                    <a:gd name="T20" fmla="*/ 8 w 82"/>
                    <a:gd name="T21" fmla="*/ 92 h 150"/>
                    <a:gd name="T22" fmla="*/ 20 w 82"/>
                    <a:gd name="T23" fmla="*/ 82 h 150"/>
                    <a:gd name="T24" fmla="*/ 40 w 82"/>
                    <a:gd name="T25" fmla="*/ 70 h 150"/>
                    <a:gd name="T26" fmla="*/ 25 w 82"/>
                    <a:gd name="T27" fmla="*/ 95 h 150"/>
                    <a:gd name="T28" fmla="*/ 19 w 82"/>
                    <a:gd name="T29" fmla="*/ 105 h 150"/>
                    <a:gd name="T30" fmla="*/ 28 w 82"/>
                    <a:gd name="T31" fmla="*/ 97 h 150"/>
                    <a:gd name="T32" fmla="*/ 43 w 82"/>
                    <a:gd name="T33" fmla="*/ 102 h 150"/>
                    <a:gd name="T34" fmla="*/ 57 w 82"/>
                    <a:gd name="T35" fmla="*/ 83 h 150"/>
                    <a:gd name="T36" fmla="*/ 43 w 82"/>
                    <a:gd name="T37" fmla="*/ 105 h 150"/>
                    <a:gd name="T38" fmla="*/ 31 w 82"/>
                    <a:gd name="T39" fmla="*/ 118 h 150"/>
                    <a:gd name="T40" fmla="*/ 32 w 82"/>
                    <a:gd name="T41" fmla="*/ 123 h 150"/>
                    <a:gd name="T42" fmla="*/ 39 w 82"/>
                    <a:gd name="T43" fmla="*/ 124 h 150"/>
                    <a:gd name="T44" fmla="*/ 22 w 82"/>
                    <a:gd name="T45" fmla="*/ 127 h 150"/>
                    <a:gd name="T46" fmla="*/ 17 w 82"/>
                    <a:gd name="T47" fmla="*/ 130 h 150"/>
                    <a:gd name="T48" fmla="*/ 17 w 82"/>
                    <a:gd name="T49" fmla="*/ 135 h 150"/>
                    <a:gd name="T50" fmla="*/ 29 w 82"/>
                    <a:gd name="T51" fmla="*/ 130 h 150"/>
                    <a:gd name="T52" fmla="*/ 11 w 82"/>
                    <a:gd name="T53" fmla="*/ 145 h 150"/>
                    <a:gd name="T54" fmla="*/ 15 w 82"/>
                    <a:gd name="T55" fmla="*/ 142 h 150"/>
                    <a:gd name="T56" fmla="*/ 29 w 82"/>
                    <a:gd name="T57" fmla="*/ 132 h 150"/>
                    <a:gd name="T58" fmla="*/ 45 w 82"/>
                    <a:gd name="T59" fmla="*/ 139 h 150"/>
                    <a:gd name="T60" fmla="*/ 57 w 82"/>
                    <a:gd name="T61" fmla="*/ 150 h 150"/>
                    <a:gd name="T62" fmla="*/ 68 w 82"/>
                    <a:gd name="T63" fmla="*/ 133 h 150"/>
                    <a:gd name="T64" fmla="*/ 63 w 82"/>
                    <a:gd name="T65" fmla="*/ 130 h 150"/>
                    <a:gd name="T66" fmla="*/ 59 w 82"/>
                    <a:gd name="T67" fmla="*/ 136 h 150"/>
                    <a:gd name="T68" fmla="*/ 57 w 82"/>
                    <a:gd name="T69" fmla="*/ 127 h 150"/>
                    <a:gd name="T70" fmla="*/ 39 w 82"/>
                    <a:gd name="T71" fmla="*/ 133 h 150"/>
                    <a:gd name="T72" fmla="*/ 43 w 82"/>
                    <a:gd name="T73" fmla="*/ 120 h 150"/>
                    <a:gd name="T74" fmla="*/ 65 w 82"/>
                    <a:gd name="T75" fmla="*/ 80 h 150"/>
                    <a:gd name="T76" fmla="*/ 82 w 82"/>
                    <a:gd name="T77" fmla="*/ 67 h 150"/>
                    <a:gd name="T78" fmla="*/ 70 w 82"/>
                    <a:gd name="T79" fmla="*/ 79 h 150"/>
                    <a:gd name="T80" fmla="*/ 56 w 82"/>
                    <a:gd name="T81" fmla="*/ 77 h 150"/>
                    <a:gd name="T82" fmla="*/ 63 w 82"/>
                    <a:gd name="T83" fmla="*/ 41 h 150"/>
                    <a:gd name="T84" fmla="*/ 68 w 82"/>
                    <a:gd name="T85" fmla="*/ 23 h 150"/>
                    <a:gd name="T86" fmla="*/ 65 w 82"/>
                    <a:gd name="T87" fmla="*/ 17 h 150"/>
                    <a:gd name="T88" fmla="*/ 53 w 82"/>
                    <a:gd name="T89" fmla="*/ 53 h 150"/>
                    <a:gd name="T90" fmla="*/ 54 w 82"/>
                    <a:gd name="T91" fmla="*/ 32 h 150"/>
                    <a:gd name="T92" fmla="*/ 51 w 82"/>
                    <a:gd name="T93" fmla="*/ 2 h 150"/>
                    <a:gd name="T94" fmla="*/ 50 w 82"/>
                    <a:gd name="T95" fmla="*/ 8 h 150"/>
                    <a:gd name="T96" fmla="*/ 45 w 82"/>
                    <a:gd name="T97" fmla="*/ 44 h 150"/>
                    <a:gd name="T98" fmla="*/ 46 w 82"/>
                    <a:gd name="T99" fmla="*/ 36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150"/>
                    <a:gd name="T152" fmla="*/ 82 w 82"/>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150">
                      <a:moveTo>
                        <a:pt x="46" y="36"/>
                      </a:moveTo>
                      <a:cubicBezTo>
                        <a:pt x="46" y="35"/>
                        <a:pt x="48" y="5"/>
                        <a:pt x="39" y="18"/>
                      </a:cubicBezTo>
                      <a:cubicBezTo>
                        <a:pt x="39" y="20"/>
                        <a:pt x="40" y="31"/>
                        <a:pt x="42" y="35"/>
                      </a:cubicBezTo>
                      <a:cubicBezTo>
                        <a:pt x="43" y="36"/>
                        <a:pt x="46" y="39"/>
                        <a:pt x="45" y="39"/>
                      </a:cubicBezTo>
                      <a:cubicBezTo>
                        <a:pt x="43" y="40"/>
                        <a:pt x="41" y="37"/>
                        <a:pt x="39" y="36"/>
                      </a:cubicBezTo>
                      <a:cubicBezTo>
                        <a:pt x="42" y="49"/>
                        <a:pt x="32" y="38"/>
                        <a:pt x="39" y="50"/>
                      </a:cubicBezTo>
                      <a:cubicBezTo>
                        <a:pt x="37" y="56"/>
                        <a:pt x="36" y="60"/>
                        <a:pt x="32" y="65"/>
                      </a:cubicBezTo>
                      <a:cubicBezTo>
                        <a:pt x="34" y="66"/>
                        <a:pt x="38" y="65"/>
                        <a:pt x="37" y="67"/>
                      </a:cubicBezTo>
                      <a:cubicBezTo>
                        <a:pt x="34" y="71"/>
                        <a:pt x="23" y="76"/>
                        <a:pt x="23" y="76"/>
                      </a:cubicBezTo>
                      <a:cubicBezTo>
                        <a:pt x="19" y="81"/>
                        <a:pt x="16" y="84"/>
                        <a:pt x="11" y="88"/>
                      </a:cubicBezTo>
                      <a:cubicBezTo>
                        <a:pt x="10" y="89"/>
                        <a:pt x="7" y="91"/>
                        <a:pt x="8" y="92"/>
                      </a:cubicBezTo>
                      <a:cubicBezTo>
                        <a:pt x="9" y="96"/>
                        <a:pt x="19" y="83"/>
                        <a:pt x="20" y="82"/>
                      </a:cubicBezTo>
                      <a:cubicBezTo>
                        <a:pt x="26" y="77"/>
                        <a:pt x="33" y="72"/>
                        <a:pt x="40" y="70"/>
                      </a:cubicBezTo>
                      <a:cubicBezTo>
                        <a:pt x="36" y="83"/>
                        <a:pt x="32" y="86"/>
                        <a:pt x="25" y="95"/>
                      </a:cubicBezTo>
                      <a:cubicBezTo>
                        <a:pt x="22" y="98"/>
                        <a:pt x="16" y="107"/>
                        <a:pt x="19" y="105"/>
                      </a:cubicBezTo>
                      <a:cubicBezTo>
                        <a:pt x="25" y="98"/>
                        <a:pt x="22" y="102"/>
                        <a:pt x="28" y="97"/>
                      </a:cubicBezTo>
                      <a:cubicBezTo>
                        <a:pt x="32" y="90"/>
                        <a:pt x="37" y="108"/>
                        <a:pt x="43" y="102"/>
                      </a:cubicBezTo>
                      <a:cubicBezTo>
                        <a:pt x="47" y="103"/>
                        <a:pt x="56" y="80"/>
                        <a:pt x="57" y="83"/>
                      </a:cubicBezTo>
                      <a:cubicBezTo>
                        <a:pt x="59" y="89"/>
                        <a:pt x="49" y="102"/>
                        <a:pt x="43" y="105"/>
                      </a:cubicBezTo>
                      <a:cubicBezTo>
                        <a:pt x="40" y="111"/>
                        <a:pt x="37" y="114"/>
                        <a:pt x="31" y="118"/>
                      </a:cubicBezTo>
                      <a:cubicBezTo>
                        <a:pt x="32" y="120"/>
                        <a:pt x="31" y="122"/>
                        <a:pt x="32" y="123"/>
                      </a:cubicBezTo>
                      <a:cubicBezTo>
                        <a:pt x="34" y="124"/>
                        <a:pt x="41" y="123"/>
                        <a:pt x="39" y="124"/>
                      </a:cubicBezTo>
                      <a:cubicBezTo>
                        <a:pt x="33" y="127"/>
                        <a:pt x="27" y="127"/>
                        <a:pt x="22" y="127"/>
                      </a:cubicBezTo>
                      <a:cubicBezTo>
                        <a:pt x="20" y="128"/>
                        <a:pt x="19" y="129"/>
                        <a:pt x="17" y="130"/>
                      </a:cubicBezTo>
                      <a:cubicBezTo>
                        <a:pt x="0" y="149"/>
                        <a:pt x="15" y="136"/>
                        <a:pt x="17" y="135"/>
                      </a:cubicBezTo>
                      <a:cubicBezTo>
                        <a:pt x="21" y="133"/>
                        <a:pt x="26" y="133"/>
                        <a:pt x="29" y="130"/>
                      </a:cubicBezTo>
                      <a:cubicBezTo>
                        <a:pt x="27" y="135"/>
                        <a:pt x="17" y="145"/>
                        <a:pt x="11" y="145"/>
                      </a:cubicBezTo>
                      <a:cubicBezTo>
                        <a:pt x="9" y="145"/>
                        <a:pt x="14" y="144"/>
                        <a:pt x="15" y="142"/>
                      </a:cubicBezTo>
                      <a:cubicBezTo>
                        <a:pt x="20" y="139"/>
                        <a:pt x="29" y="132"/>
                        <a:pt x="29" y="132"/>
                      </a:cubicBezTo>
                      <a:cubicBezTo>
                        <a:pt x="35" y="133"/>
                        <a:pt x="39" y="137"/>
                        <a:pt x="45" y="139"/>
                      </a:cubicBezTo>
                      <a:cubicBezTo>
                        <a:pt x="49" y="145"/>
                        <a:pt x="51" y="148"/>
                        <a:pt x="57" y="150"/>
                      </a:cubicBezTo>
                      <a:cubicBezTo>
                        <a:pt x="59" y="142"/>
                        <a:pt x="63" y="139"/>
                        <a:pt x="68" y="133"/>
                      </a:cubicBezTo>
                      <a:cubicBezTo>
                        <a:pt x="67" y="133"/>
                        <a:pt x="65" y="130"/>
                        <a:pt x="63" y="130"/>
                      </a:cubicBezTo>
                      <a:cubicBezTo>
                        <a:pt x="61" y="131"/>
                        <a:pt x="61" y="137"/>
                        <a:pt x="59" y="136"/>
                      </a:cubicBezTo>
                      <a:cubicBezTo>
                        <a:pt x="53" y="133"/>
                        <a:pt x="71" y="118"/>
                        <a:pt x="57" y="127"/>
                      </a:cubicBezTo>
                      <a:cubicBezTo>
                        <a:pt x="52" y="136"/>
                        <a:pt x="49" y="135"/>
                        <a:pt x="39" y="133"/>
                      </a:cubicBezTo>
                      <a:cubicBezTo>
                        <a:pt x="36" y="125"/>
                        <a:pt x="36" y="130"/>
                        <a:pt x="43" y="120"/>
                      </a:cubicBezTo>
                      <a:cubicBezTo>
                        <a:pt x="51" y="108"/>
                        <a:pt x="49" y="86"/>
                        <a:pt x="65" y="80"/>
                      </a:cubicBezTo>
                      <a:cubicBezTo>
                        <a:pt x="77" y="83"/>
                        <a:pt x="77" y="76"/>
                        <a:pt x="82" y="67"/>
                      </a:cubicBezTo>
                      <a:cubicBezTo>
                        <a:pt x="73" y="64"/>
                        <a:pt x="72" y="72"/>
                        <a:pt x="70" y="79"/>
                      </a:cubicBezTo>
                      <a:cubicBezTo>
                        <a:pt x="59" y="75"/>
                        <a:pt x="63" y="75"/>
                        <a:pt x="56" y="77"/>
                      </a:cubicBezTo>
                      <a:cubicBezTo>
                        <a:pt x="52" y="65"/>
                        <a:pt x="57" y="52"/>
                        <a:pt x="63" y="41"/>
                      </a:cubicBezTo>
                      <a:cubicBezTo>
                        <a:pt x="65" y="35"/>
                        <a:pt x="66" y="29"/>
                        <a:pt x="68" y="23"/>
                      </a:cubicBezTo>
                      <a:cubicBezTo>
                        <a:pt x="67" y="20"/>
                        <a:pt x="67" y="15"/>
                        <a:pt x="65" y="17"/>
                      </a:cubicBezTo>
                      <a:cubicBezTo>
                        <a:pt x="65" y="17"/>
                        <a:pt x="54" y="49"/>
                        <a:pt x="53" y="53"/>
                      </a:cubicBezTo>
                      <a:cubicBezTo>
                        <a:pt x="48" y="46"/>
                        <a:pt x="52" y="39"/>
                        <a:pt x="54" y="32"/>
                      </a:cubicBezTo>
                      <a:cubicBezTo>
                        <a:pt x="53" y="22"/>
                        <a:pt x="56" y="10"/>
                        <a:pt x="51" y="2"/>
                      </a:cubicBezTo>
                      <a:cubicBezTo>
                        <a:pt x="50" y="0"/>
                        <a:pt x="50" y="5"/>
                        <a:pt x="50" y="8"/>
                      </a:cubicBezTo>
                      <a:cubicBezTo>
                        <a:pt x="49" y="19"/>
                        <a:pt x="45" y="33"/>
                        <a:pt x="45" y="44"/>
                      </a:cubicBezTo>
                      <a:cubicBezTo>
                        <a:pt x="45" y="46"/>
                        <a:pt x="46" y="39"/>
                        <a:pt x="46" y="36"/>
                      </a:cubicBezTo>
                      <a:close/>
                    </a:path>
                  </a:pathLst>
                </a:custGeom>
                <a:solidFill>
                  <a:srgbClr val="72B9E0"/>
                </a:solidFill>
                <a:ln w="12700">
                  <a:noFill/>
                  <a:round/>
                  <a:headEnd/>
                  <a:tailEnd/>
                </a:ln>
              </p:spPr>
              <p:txBody>
                <a:bodyPr lIns="45720" tIns="46800" rIns="45720" bIns="46800" anchor="ctr"/>
                <a:lstStyle/>
                <a:p>
                  <a:pPr defTabSz="912546"/>
                  <a:endParaRPr>
                    <a:solidFill>
                      <a:srgbClr val="000000"/>
                    </a:solidFill>
                  </a:endParaRPr>
                </a:p>
              </p:txBody>
            </p:sp>
            <p:sp>
              <p:nvSpPr>
                <p:cNvPr id="441509" name="Freeform 922"/>
                <p:cNvSpPr>
                  <a:spLocks/>
                </p:cNvSpPr>
                <p:nvPr/>
              </p:nvSpPr>
              <p:spPr bwMode="gray">
                <a:xfrm>
                  <a:off x="2690" y="1946"/>
                  <a:ext cx="62" cy="112"/>
                </a:xfrm>
                <a:custGeom>
                  <a:avLst/>
                  <a:gdLst>
                    <a:gd name="T0" fmla="*/ 36 w 62"/>
                    <a:gd name="T1" fmla="*/ 38 h 112"/>
                    <a:gd name="T2" fmla="*/ 51 w 62"/>
                    <a:gd name="T3" fmla="*/ 49 h 112"/>
                    <a:gd name="T4" fmla="*/ 48 w 62"/>
                    <a:gd name="T5" fmla="*/ 53 h 112"/>
                    <a:gd name="T6" fmla="*/ 48 w 62"/>
                    <a:gd name="T7" fmla="*/ 82 h 112"/>
                    <a:gd name="T8" fmla="*/ 27 w 62"/>
                    <a:gd name="T9" fmla="*/ 81 h 112"/>
                    <a:gd name="T10" fmla="*/ 2 w 62"/>
                    <a:gd name="T11" fmla="*/ 75 h 112"/>
                    <a:gd name="T12" fmla="*/ 1 w 62"/>
                    <a:gd name="T13" fmla="*/ 62 h 112"/>
                    <a:gd name="T14" fmla="*/ 5 w 62"/>
                    <a:gd name="T15" fmla="*/ 64 h 112"/>
                    <a:gd name="T16" fmla="*/ 10 w 62"/>
                    <a:gd name="T17" fmla="*/ 72 h 112"/>
                    <a:gd name="T18" fmla="*/ 28 w 62"/>
                    <a:gd name="T19" fmla="*/ 70 h 112"/>
                    <a:gd name="T20" fmla="*/ 42 w 62"/>
                    <a:gd name="T21" fmla="*/ 44 h 112"/>
                    <a:gd name="T22" fmla="*/ 16 w 62"/>
                    <a:gd name="T23" fmla="*/ 50 h 112"/>
                    <a:gd name="T24" fmla="*/ 31 w 62"/>
                    <a:gd name="T25" fmla="*/ 38 h 112"/>
                    <a:gd name="T26" fmla="*/ 27 w 62"/>
                    <a:gd name="T27" fmla="*/ 35 h 112"/>
                    <a:gd name="T28" fmla="*/ 16 w 62"/>
                    <a:gd name="T29" fmla="*/ 37 h 112"/>
                    <a:gd name="T30" fmla="*/ 19 w 62"/>
                    <a:gd name="T31" fmla="*/ 32 h 112"/>
                    <a:gd name="T32" fmla="*/ 30 w 62"/>
                    <a:gd name="T33" fmla="*/ 30 h 112"/>
                    <a:gd name="T34" fmla="*/ 13 w 62"/>
                    <a:gd name="T35" fmla="*/ 29 h 112"/>
                    <a:gd name="T36" fmla="*/ 31 w 62"/>
                    <a:gd name="T37" fmla="*/ 18 h 112"/>
                    <a:gd name="T38" fmla="*/ 44 w 62"/>
                    <a:gd name="T39" fmla="*/ 0 h 112"/>
                    <a:gd name="T40" fmla="*/ 53 w 62"/>
                    <a:gd name="T41" fmla="*/ 26 h 112"/>
                    <a:gd name="T42" fmla="*/ 62 w 62"/>
                    <a:gd name="T43" fmla="*/ 29 h 112"/>
                    <a:gd name="T44" fmla="*/ 47 w 62"/>
                    <a:gd name="T45" fmla="*/ 27 h 112"/>
                    <a:gd name="T46" fmla="*/ 33 w 62"/>
                    <a:gd name="T47" fmla="*/ 26 h 112"/>
                    <a:gd name="T48" fmla="*/ 44 w 62"/>
                    <a:gd name="T49" fmla="*/ 41 h 112"/>
                    <a:gd name="T50" fmla="*/ 47 w 62"/>
                    <a:gd name="T51" fmla="*/ 50 h 11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
                    <a:gd name="T79" fmla="*/ 0 h 112"/>
                    <a:gd name="T80" fmla="*/ 62 w 62"/>
                    <a:gd name="T81" fmla="*/ 112 h 11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 h="112">
                      <a:moveTo>
                        <a:pt x="36" y="38"/>
                      </a:moveTo>
                      <a:cubicBezTo>
                        <a:pt x="44" y="42"/>
                        <a:pt x="46" y="42"/>
                        <a:pt x="51" y="49"/>
                      </a:cubicBezTo>
                      <a:cubicBezTo>
                        <a:pt x="51" y="50"/>
                        <a:pt x="48" y="52"/>
                        <a:pt x="48" y="53"/>
                      </a:cubicBezTo>
                      <a:cubicBezTo>
                        <a:pt x="47" y="60"/>
                        <a:pt x="44" y="112"/>
                        <a:pt x="48" y="82"/>
                      </a:cubicBezTo>
                      <a:cubicBezTo>
                        <a:pt x="45" y="56"/>
                        <a:pt x="46" y="80"/>
                        <a:pt x="27" y="81"/>
                      </a:cubicBezTo>
                      <a:cubicBezTo>
                        <a:pt x="12" y="84"/>
                        <a:pt x="10" y="78"/>
                        <a:pt x="2" y="75"/>
                      </a:cubicBezTo>
                      <a:cubicBezTo>
                        <a:pt x="2" y="71"/>
                        <a:pt x="0" y="66"/>
                        <a:pt x="1" y="62"/>
                      </a:cubicBezTo>
                      <a:cubicBezTo>
                        <a:pt x="2" y="61"/>
                        <a:pt x="4" y="65"/>
                        <a:pt x="5" y="64"/>
                      </a:cubicBezTo>
                      <a:cubicBezTo>
                        <a:pt x="9" y="62"/>
                        <a:pt x="6" y="73"/>
                        <a:pt x="10" y="72"/>
                      </a:cubicBezTo>
                      <a:cubicBezTo>
                        <a:pt x="12" y="72"/>
                        <a:pt x="23" y="75"/>
                        <a:pt x="28" y="70"/>
                      </a:cubicBezTo>
                      <a:cubicBezTo>
                        <a:pt x="37" y="65"/>
                        <a:pt x="31" y="47"/>
                        <a:pt x="42" y="44"/>
                      </a:cubicBezTo>
                      <a:cubicBezTo>
                        <a:pt x="33" y="40"/>
                        <a:pt x="26" y="47"/>
                        <a:pt x="16" y="50"/>
                      </a:cubicBezTo>
                      <a:cubicBezTo>
                        <a:pt x="18" y="43"/>
                        <a:pt x="24" y="40"/>
                        <a:pt x="31" y="38"/>
                      </a:cubicBezTo>
                      <a:cubicBezTo>
                        <a:pt x="30" y="37"/>
                        <a:pt x="28" y="35"/>
                        <a:pt x="27" y="35"/>
                      </a:cubicBezTo>
                      <a:cubicBezTo>
                        <a:pt x="23" y="35"/>
                        <a:pt x="19" y="38"/>
                        <a:pt x="16" y="37"/>
                      </a:cubicBezTo>
                      <a:cubicBezTo>
                        <a:pt x="15" y="36"/>
                        <a:pt x="18" y="33"/>
                        <a:pt x="19" y="32"/>
                      </a:cubicBezTo>
                      <a:cubicBezTo>
                        <a:pt x="22" y="30"/>
                        <a:pt x="26" y="31"/>
                        <a:pt x="30" y="30"/>
                      </a:cubicBezTo>
                      <a:cubicBezTo>
                        <a:pt x="22" y="25"/>
                        <a:pt x="21" y="26"/>
                        <a:pt x="13" y="29"/>
                      </a:cubicBezTo>
                      <a:cubicBezTo>
                        <a:pt x="18" y="23"/>
                        <a:pt x="24" y="21"/>
                        <a:pt x="31" y="18"/>
                      </a:cubicBezTo>
                      <a:cubicBezTo>
                        <a:pt x="34" y="5"/>
                        <a:pt x="35" y="8"/>
                        <a:pt x="44" y="0"/>
                      </a:cubicBezTo>
                      <a:cubicBezTo>
                        <a:pt x="47" y="10"/>
                        <a:pt x="47" y="17"/>
                        <a:pt x="53" y="26"/>
                      </a:cubicBezTo>
                      <a:cubicBezTo>
                        <a:pt x="54" y="29"/>
                        <a:pt x="62" y="29"/>
                        <a:pt x="62" y="29"/>
                      </a:cubicBezTo>
                      <a:cubicBezTo>
                        <a:pt x="56" y="31"/>
                        <a:pt x="53" y="30"/>
                        <a:pt x="47" y="27"/>
                      </a:cubicBezTo>
                      <a:cubicBezTo>
                        <a:pt x="35" y="10"/>
                        <a:pt x="50" y="18"/>
                        <a:pt x="33" y="26"/>
                      </a:cubicBezTo>
                      <a:cubicBezTo>
                        <a:pt x="30" y="37"/>
                        <a:pt x="31" y="38"/>
                        <a:pt x="44" y="41"/>
                      </a:cubicBezTo>
                      <a:cubicBezTo>
                        <a:pt x="46" y="43"/>
                        <a:pt x="54" y="50"/>
                        <a:pt x="47" y="50"/>
                      </a:cubicBezTo>
                    </a:path>
                  </a:pathLst>
                </a:custGeom>
                <a:solidFill>
                  <a:srgbClr val="72B9E0"/>
                </a:solidFill>
                <a:ln w="12700">
                  <a:noFill/>
                  <a:round/>
                  <a:headEnd/>
                  <a:tailEnd/>
                </a:ln>
              </p:spPr>
              <p:txBody>
                <a:bodyPr lIns="45720" tIns="46800" rIns="45720" bIns="46800" anchor="ctr"/>
                <a:lstStyle/>
                <a:p>
                  <a:pPr defTabSz="912546"/>
                  <a:endParaRPr>
                    <a:solidFill>
                      <a:srgbClr val="000000"/>
                    </a:solidFill>
                  </a:endParaRPr>
                </a:p>
              </p:txBody>
            </p:sp>
            <p:sp>
              <p:nvSpPr>
                <p:cNvPr id="441510" name="Freeform 923"/>
                <p:cNvSpPr>
                  <a:spLocks/>
                </p:cNvSpPr>
                <p:nvPr/>
              </p:nvSpPr>
              <p:spPr bwMode="gray">
                <a:xfrm>
                  <a:off x="2763" y="1927"/>
                  <a:ext cx="25" cy="172"/>
                </a:xfrm>
                <a:custGeom>
                  <a:avLst/>
                  <a:gdLst>
                    <a:gd name="T0" fmla="*/ 2 w 32"/>
                    <a:gd name="T1" fmla="*/ 0 h 226"/>
                    <a:gd name="T2" fmla="*/ 2 w 32"/>
                    <a:gd name="T3" fmla="*/ 2 h 226"/>
                    <a:gd name="T4" fmla="*/ 2 w 32"/>
                    <a:gd name="T5" fmla="*/ 4 h 226"/>
                    <a:gd name="T6" fmla="*/ 2 w 32"/>
                    <a:gd name="T7" fmla="*/ 6 h 226"/>
                    <a:gd name="T8" fmla="*/ 2 w 32"/>
                    <a:gd name="T9" fmla="*/ 6 h 226"/>
                    <a:gd name="T10" fmla="*/ 2 w 32"/>
                    <a:gd name="T11" fmla="*/ 6 h 226"/>
                    <a:gd name="T12" fmla="*/ 2 w 32"/>
                    <a:gd name="T13" fmla="*/ 5 h 226"/>
                    <a:gd name="T14" fmla="*/ 2 w 32"/>
                    <a:gd name="T15" fmla="*/ 3 h 226"/>
                    <a:gd name="T16" fmla="*/ 2 w 32"/>
                    <a:gd name="T17" fmla="*/ 2 h 226"/>
                    <a:gd name="T18" fmla="*/ 2 w 32"/>
                    <a:gd name="T19" fmla="*/ 2 h 226"/>
                    <a:gd name="T20" fmla="*/ 2 w 32"/>
                    <a:gd name="T21" fmla="*/ 0 h 2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26"/>
                    <a:gd name="T35" fmla="*/ 32 w 32"/>
                    <a:gd name="T36" fmla="*/ 226 h 2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26">
                      <a:moveTo>
                        <a:pt x="32" y="0"/>
                      </a:moveTo>
                      <a:cubicBezTo>
                        <a:pt x="18" y="21"/>
                        <a:pt x="16" y="53"/>
                        <a:pt x="12" y="78"/>
                      </a:cubicBezTo>
                      <a:cubicBezTo>
                        <a:pt x="11" y="97"/>
                        <a:pt x="12" y="123"/>
                        <a:pt x="6" y="142"/>
                      </a:cubicBezTo>
                      <a:cubicBezTo>
                        <a:pt x="7" y="171"/>
                        <a:pt x="3" y="184"/>
                        <a:pt x="14" y="206"/>
                      </a:cubicBezTo>
                      <a:cubicBezTo>
                        <a:pt x="16" y="220"/>
                        <a:pt x="17" y="226"/>
                        <a:pt x="16" y="226"/>
                      </a:cubicBezTo>
                      <a:cubicBezTo>
                        <a:pt x="12" y="220"/>
                        <a:pt x="10" y="213"/>
                        <a:pt x="8" y="206"/>
                      </a:cubicBezTo>
                      <a:cubicBezTo>
                        <a:pt x="7" y="201"/>
                        <a:pt x="4" y="190"/>
                        <a:pt x="4" y="190"/>
                      </a:cubicBezTo>
                      <a:cubicBezTo>
                        <a:pt x="6" y="141"/>
                        <a:pt x="0" y="142"/>
                        <a:pt x="12" y="112"/>
                      </a:cubicBezTo>
                      <a:cubicBezTo>
                        <a:pt x="9" y="91"/>
                        <a:pt x="11" y="80"/>
                        <a:pt x="16" y="60"/>
                      </a:cubicBezTo>
                      <a:cubicBezTo>
                        <a:pt x="18" y="44"/>
                        <a:pt x="20" y="43"/>
                        <a:pt x="24" y="30"/>
                      </a:cubicBezTo>
                      <a:cubicBezTo>
                        <a:pt x="26" y="16"/>
                        <a:pt x="32" y="12"/>
                        <a:pt x="32" y="0"/>
                      </a:cubicBezTo>
                      <a:close/>
                    </a:path>
                  </a:pathLst>
                </a:custGeom>
                <a:solidFill>
                  <a:srgbClr val="72B9E0"/>
                </a:solidFill>
                <a:ln w="12700">
                  <a:noFill/>
                  <a:round/>
                  <a:headEnd/>
                  <a:tailEnd/>
                </a:ln>
              </p:spPr>
              <p:txBody>
                <a:bodyPr lIns="45720" tIns="46800" rIns="45720" bIns="46800" anchor="ctr"/>
                <a:lstStyle/>
                <a:p>
                  <a:pPr defTabSz="912546"/>
                  <a:endParaRPr>
                    <a:solidFill>
                      <a:srgbClr val="000000"/>
                    </a:solidFill>
                  </a:endParaRPr>
                </a:p>
              </p:txBody>
            </p:sp>
            <p:sp>
              <p:nvSpPr>
                <p:cNvPr id="441511" name="Freeform 924"/>
                <p:cNvSpPr>
                  <a:spLocks/>
                </p:cNvSpPr>
                <p:nvPr/>
              </p:nvSpPr>
              <p:spPr bwMode="gray">
                <a:xfrm>
                  <a:off x="2752" y="1840"/>
                  <a:ext cx="55" cy="18"/>
                </a:xfrm>
                <a:custGeom>
                  <a:avLst/>
                  <a:gdLst>
                    <a:gd name="T0" fmla="*/ 47 w 55"/>
                    <a:gd name="T1" fmla="*/ 4 h 18"/>
                    <a:gd name="T2" fmla="*/ 38 w 55"/>
                    <a:gd name="T3" fmla="*/ 3 h 18"/>
                    <a:gd name="T4" fmla="*/ 26 w 55"/>
                    <a:gd name="T5" fmla="*/ 5 h 18"/>
                    <a:gd name="T6" fmla="*/ 19 w 55"/>
                    <a:gd name="T7" fmla="*/ 14 h 18"/>
                    <a:gd name="T8" fmla="*/ 35 w 55"/>
                    <a:gd name="T9" fmla="*/ 9 h 18"/>
                    <a:gd name="T10" fmla="*/ 50 w 55"/>
                    <a:gd name="T11" fmla="*/ 6 h 18"/>
                    <a:gd name="T12" fmla="*/ 52 w 55"/>
                    <a:gd name="T13" fmla="*/ 1 h 18"/>
                    <a:gd name="T14" fmla="*/ 47 w 55"/>
                    <a:gd name="T15" fmla="*/ 4 h 18"/>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18"/>
                    <a:gd name="T26" fmla="*/ 55 w 55"/>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18">
                      <a:moveTo>
                        <a:pt x="47" y="4"/>
                      </a:moveTo>
                      <a:cubicBezTo>
                        <a:pt x="31" y="8"/>
                        <a:pt x="55" y="4"/>
                        <a:pt x="38" y="3"/>
                      </a:cubicBezTo>
                      <a:cubicBezTo>
                        <a:pt x="34" y="3"/>
                        <a:pt x="26" y="5"/>
                        <a:pt x="26" y="5"/>
                      </a:cubicBezTo>
                      <a:cubicBezTo>
                        <a:pt x="7" y="0"/>
                        <a:pt x="0" y="5"/>
                        <a:pt x="19" y="14"/>
                      </a:cubicBezTo>
                      <a:cubicBezTo>
                        <a:pt x="26" y="8"/>
                        <a:pt x="27" y="6"/>
                        <a:pt x="35" y="9"/>
                      </a:cubicBezTo>
                      <a:cubicBezTo>
                        <a:pt x="50" y="18"/>
                        <a:pt x="45" y="9"/>
                        <a:pt x="50" y="6"/>
                      </a:cubicBezTo>
                      <a:cubicBezTo>
                        <a:pt x="51" y="4"/>
                        <a:pt x="53" y="1"/>
                        <a:pt x="52" y="1"/>
                      </a:cubicBezTo>
                      <a:cubicBezTo>
                        <a:pt x="47" y="1"/>
                        <a:pt x="47" y="9"/>
                        <a:pt x="47" y="4"/>
                      </a:cubicBezTo>
                      <a:close/>
                    </a:path>
                  </a:pathLst>
                </a:custGeom>
                <a:solidFill>
                  <a:srgbClr val="CF8F5F"/>
                </a:solidFill>
                <a:ln w="12700">
                  <a:noFill/>
                  <a:round/>
                  <a:headEnd/>
                  <a:tailEnd/>
                </a:ln>
              </p:spPr>
              <p:txBody>
                <a:bodyPr lIns="45720" tIns="46800" rIns="45720" bIns="46800" anchor="ctr"/>
                <a:lstStyle/>
                <a:p>
                  <a:pPr defTabSz="912546"/>
                  <a:endParaRPr>
                    <a:solidFill>
                      <a:srgbClr val="000000"/>
                    </a:solidFill>
                  </a:endParaRPr>
                </a:p>
              </p:txBody>
            </p:sp>
            <p:sp>
              <p:nvSpPr>
                <p:cNvPr id="441512" name="Freeform 925"/>
                <p:cNvSpPr>
                  <a:spLocks/>
                </p:cNvSpPr>
                <p:nvPr/>
              </p:nvSpPr>
              <p:spPr bwMode="gray">
                <a:xfrm>
                  <a:off x="2767" y="1878"/>
                  <a:ext cx="35" cy="48"/>
                </a:xfrm>
                <a:custGeom>
                  <a:avLst/>
                  <a:gdLst>
                    <a:gd name="T0" fmla="*/ 0 w 46"/>
                    <a:gd name="T1" fmla="*/ 2 h 62"/>
                    <a:gd name="T2" fmla="*/ 2 w 46"/>
                    <a:gd name="T3" fmla="*/ 2 h 62"/>
                    <a:gd name="T4" fmla="*/ 2 w 46"/>
                    <a:gd name="T5" fmla="*/ 0 h 62"/>
                    <a:gd name="T6" fmla="*/ 2 w 46"/>
                    <a:gd name="T7" fmla="*/ 2 h 62"/>
                    <a:gd name="T8" fmla="*/ 2 w 46"/>
                    <a:gd name="T9" fmla="*/ 2 h 62"/>
                    <a:gd name="T10" fmla="*/ 2 w 46"/>
                    <a:gd name="T11" fmla="*/ 2 h 62"/>
                    <a:gd name="T12" fmla="*/ 2 w 46"/>
                    <a:gd name="T13" fmla="*/ 2 h 62"/>
                    <a:gd name="T14" fmla="*/ 0 w 46"/>
                    <a:gd name="T15" fmla="*/ 2 h 62"/>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62"/>
                    <a:gd name="T26" fmla="*/ 46 w 46"/>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62">
                      <a:moveTo>
                        <a:pt x="0" y="8"/>
                      </a:moveTo>
                      <a:cubicBezTo>
                        <a:pt x="3" y="13"/>
                        <a:pt x="16" y="18"/>
                        <a:pt x="16" y="18"/>
                      </a:cubicBezTo>
                      <a:cubicBezTo>
                        <a:pt x="32" y="15"/>
                        <a:pt x="35" y="11"/>
                        <a:pt x="46" y="0"/>
                      </a:cubicBezTo>
                      <a:cubicBezTo>
                        <a:pt x="42" y="21"/>
                        <a:pt x="28" y="22"/>
                        <a:pt x="8" y="24"/>
                      </a:cubicBezTo>
                      <a:cubicBezTo>
                        <a:pt x="13" y="47"/>
                        <a:pt x="12" y="51"/>
                        <a:pt x="32" y="46"/>
                      </a:cubicBezTo>
                      <a:cubicBezTo>
                        <a:pt x="22" y="62"/>
                        <a:pt x="21" y="48"/>
                        <a:pt x="10" y="44"/>
                      </a:cubicBezTo>
                      <a:cubicBezTo>
                        <a:pt x="7" y="34"/>
                        <a:pt x="6" y="33"/>
                        <a:pt x="4" y="24"/>
                      </a:cubicBezTo>
                      <a:cubicBezTo>
                        <a:pt x="3" y="19"/>
                        <a:pt x="0" y="3"/>
                        <a:pt x="0" y="8"/>
                      </a:cubicBezTo>
                      <a:close/>
                    </a:path>
                  </a:pathLst>
                </a:custGeom>
                <a:solidFill>
                  <a:srgbClr val="CF8F5F"/>
                </a:solidFill>
                <a:ln w="12700">
                  <a:noFill/>
                  <a:round/>
                  <a:headEnd/>
                  <a:tailEnd/>
                </a:ln>
              </p:spPr>
              <p:txBody>
                <a:bodyPr lIns="45720" tIns="46800" rIns="45720" bIns="46800" anchor="ctr"/>
                <a:lstStyle/>
                <a:p>
                  <a:pPr defTabSz="912546"/>
                  <a:endParaRPr>
                    <a:solidFill>
                      <a:srgbClr val="000000"/>
                    </a:solidFill>
                  </a:endParaRPr>
                </a:p>
              </p:txBody>
            </p:sp>
            <p:sp>
              <p:nvSpPr>
                <p:cNvPr id="441513" name="Freeform 926"/>
                <p:cNvSpPr>
                  <a:spLocks/>
                </p:cNvSpPr>
                <p:nvPr/>
              </p:nvSpPr>
              <p:spPr bwMode="gray">
                <a:xfrm>
                  <a:off x="2742" y="1924"/>
                  <a:ext cx="16" cy="29"/>
                </a:xfrm>
                <a:custGeom>
                  <a:avLst/>
                  <a:gdLst>
                    <a:gd name="T0" fmla="*/ 2 w 21"/>
                    <a:gd name="T1" fmla="*/ 2 h 38"/>
                    <a:gd name="T2" fmla="*/ 2 w 21"/>
                    <a:gd name="T3" fmla="*/ 2 h 38"/>
                    <a:gd name="T4" fmla="*/ 2 w 21"/>
                    <a:gd name="T5" fmla="*/ 2 h 38"/>
                    <a:gd name="T6" fmla="*/ 2 w 21"/>
                    <a:gd name="T7" fmla="*/ 2 h 38"/>
                    <a:gd name="T8" fmla="*/ 2 w 21"/>
                    <a:gd name="T9" fmla="*/ 0 h 38"/>
                    <a:gd name="T10" fmla="*/ 2 w 21"/>
                    <a:gd name="T11" fmla="*/ 2 h 38"/>
                    <a:gd name="T12" fmla="*/ 2 w 21"/>
                    <a:gd name="T13" fmla="*/ 2 h 38"/>
                    <a:gd name="T14" fmla="*/ 0 60000 65536"/>
                    <a:gd name="T15" fmla="*/ 0 60000 65536"/>
                    <a:gd name="T16" fmla="*/ 0 60000 65536"/>
                    <a:gd name="T17" fmla="*/ 0 60000 65536"/>
                    <a:gd name="T18" fmla="*/ 0 60000 65536"/>
                    <a:gd name="T19" fmla="*/ 0 60000 65536"/>
                    <a:gd name="T20" fmla="*/ 0 60000 65536"/>
                    <a:gd name="T21" fmla="*/ 0 w 21"/>
                    <a:gd name="T22" fmla="*/ 0 h 38"/>
                    <a:gd name="T23" fmla="*/ 21 w 21"/>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38">
                      <a:moveTo>
                        <a:pt x="13" y="30"/>
                      </a:moveTo>
                      <a:cubicBezTo>
                        <a:pt x="13" y="29"/>
                        <a:pt x="6" y="12"/>
                        <a:pt x="3" y="24"/>
                      </a:cubicBezTo>
                      <a:cubicBezTo>
                        <a:pt x="2" y="30"/>
                        <a:pt x="10" y="33"/>
                        <a:pt x="13" y="38"/>
                      </a:cubicBezTo>
                      <a:cubicBezTo>
                        <a:pt x="17" y="30"/>
                        <a:pt x="21" y="14"/>
                        <a:pt x="21" y="14"/>
                      </a:cubicBezTo>
                      <a:cubicBezTo>
                        <a:pt x="19" y="8"/>
                        <a:pt x="7" y="0"/>
                        <a:pt x="7" y="0"/>
                      </a:cubicBezTo>
                      <a:cubicBezTo>
                        <a:pt x="12" y="8"/>
                        <a:pt x="17" y="8"/>
                        <a:pt x="19" y="18"/>
                      </a:cubicBezTo>
                      <a:cubicBezTo>
                        <a:pt x="11" y="35"/>
                        <a:pt x="0" y="17"/>
                        <a:pt x="13" y="30"/>
                      </a:cubicBezTo>
                      <a:close/>
                    </a:path>
                  </a:pathLst>
                </a:custGeom>
                <a:solidFill>
                  <a:srgbClr val="CF8F5F"/>
                </a:solidFill>
                <a:ln w="12700">
                  <a:noFill/>
                  <a:round/>
                  <a:headEnd/>
                  <a:tailEnd/>
                </a:ln>
              </p:spPr>
              <p:txBody>
                <a:bodyPr lIns="45720" tIns="46800" rIns="45720" bIns="46800" anchor="ctr"/>
                <a:lstStyle/>
                <a:p>
                  <a:pPr defTabSz="912546"/>
                  <a:endParaRPr>
                    <a:solidFill>
                      <a:srgbClr val="000000"/>
                    </a:solidFill>
                  </a:endParaRPr>
                </a:p>
              </p:txBody>
            </p:sp>
            <p:sp>
              <p:nvSpPr>
                <p:cNvPr id="441514" name="Freeform 927"/>
                <p:cNvSpPr>
                  <a:spLocks/>
                </p:cNvSpPr>
                <p:nvPr/>
              </p:nvSpPr>
              <p:spPr bwMode="gray">
                <a:xfrm>
                  <a:off x="2723" y="1894"/>
                  <a:ext cx="44" cy="34"/>
                </a:xfrm>
                <a:custGeom>
                  <a:avLst/>
                  <a:gdLst>
                    <a:gd name="T0" fmla="*/ 2 w 57"/>
                    <a:gd name="T1" fmla="*/ 2 h 45"/>
                    <a:gd name="T2" fmla="*/ 2 w 57"/>
                    <a:gd name="T3" fmla="*/ 2 h 45"/>
                    <a:gd name="T4" fmla="*/ 2 w 57"/>
                    <a:gd name="T5" fmla="*/ 2 h 45"/>
                    <a:gd name="T6" fmla="*/ 2 w 57"/>
                    <a:gd name="T7" fmla="*/ 2 h 45"/>
                    <a:gd name="T8" fmla="*/ 2 w 57"/>
                    <a:gd name="T9" fmla="*/ 2 h 45"/>
                    <a:gd name="T10" fmla="*/ 2 w 57"/>
                    <a:gd name="T11" fmla="*/ 1 h 45"/>
                    <a:gd name="T12" fmla="*/ 2 w 57"/>
                    <a:gd name="T13" fmla="*/ 2 h 45"/>
                    <a:gd name="T14" fmla="*/ 0 60000 65536"/>
                    <a:gd name="T15" fmla="*/ 0 60000 65536"/>
                    <a:gd name="T16" fmla="*/ 0 60000 65536"/>
                    <a:gd name="T17" fmla="*/ 0 60000 65536"/>
                    <a:gd name="T18" fmla="*/ 0 60000 65536"/>
                    <a:gd name="T19" fmla="*/ 0 60000 65536"/>
                    <a:gd name="T20" fmla="*/ 0 60000 65536"/>
                    <a:gd name="T21" fmla="*/ 0 w 57"/>
                    <a:gd name="T22" fmla="*/ 0 h 45"/>
                    <a:gd name="T23" fmla="*/ 57 w 57"/>
                    <a:gd name="T24" fmla="*/ 45 h 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45">
                      <a:moveTo>
                        <a:pt x="56" y="5"/>
                      </a:moveTo>
                      <a:cubicBezTo>
                        <a:pt x="54" y="19"/>
                        <a:pt x="51" y="31"/>
                        <a:pt x="50" y="45"/>
                      </a:cubicBezTo>
                      <a:cubicBezTo>
                        <a:pt x="40" y="40"/>
                        <a:pt x="32" y="32"/>
                        <a:pt x="22" y="29"/>
                      </a:cubicBezTo>
                      <a:cubicBezTo>
                        <a:pt x="13" y="31"/>
                        <a:pt x="0" y="34"/>
                        <a:pt x="2" y="27"/>
                      </a:cubicBezTo>
                      <a:cubicBezTo>
                        <a:pt x="4" y="22"/>
                        <a:pt x="9" y="21"/>
                        <a:pt x="14" y="19"/>
                      </a:cubicBezTo>
                      <a:cubicBezTo>
                        <a:pt x="29" y="14"/>
                        <a:pt x="42" y="8"/>
                        <a:pt x="56" y="1"/>
                      </a:cubicBezTo>
                      <a:cubicBezTo>
                        <a:pt x="57" y="0"/>
                        <a:pt x="56" y="4"/>
                        <a:pt x="56" y="5"/>
                      </a:cubicBezTo>
                      <a:close/>
                    </a:path>
                  </a:pathLst>
                </a:custGeom>
                <a:solidFill>
                  <a:schemeClr val="accent2"/>
                </a:solidFill>
                <a:ln w="12700">
                  <a:noFill/>
                  <a:round/>
                  <a:headEnd/>
                  <a:tailEnd/>
                </a:ln>
              </p:spPr>
              <p:txBody>
                <a:bodyPr lIns="45720" tIns="46800" rIns="45720" bIns="46800" anchor="ctr"/>
                <a:lstStyle/>
                <a:p>
                  <a:pPr defTabSz="912546"/>
                  <a:endParaRPr>
                    <a:solidFill>
                      <a:srgbClr val="000000"/>
                    </a:solidFill>
                  </a:endParaRPr>
                </a:p>
              </p:txBody>
            </p:sp>
            <p:sp>
              <p:nvSpPr>
                <p:cNvPr id="441515" name="Freeform 928"/>
                <p:cNvSpPr>
                  <a:spLocks/>
                </p:cNvSpPr>
                <p:nvPr/>
              </p:nvSpPr>
              <p:spPr bwMode="gray">
                <a:xfrm>
                  <a:off x="2770" y="1864"/>
                  <a:ext cx="25" cy="8"/>
                </a:xfrm>
                <a:custGeom>
                  <a:avLst/>
                  <a:gdLst>
                    <a:gd name="T0" fmla="*/ 4 w 25"/>
                    <a:gd name="T1" fmla="*/ 0 h 8"/>
                    <a:gd name="T2" fmla="*/ 18 w 25"/>
                    <a:gd name="T3" fmla="*/ 2 h 8"/>
                    <a:gd name="T4" fmla="*/ 8 w 25"/>
                    <a:gd name="T5" fmla="*/ 8 h 8"/>
                    <a:gd name="T6" fmla="*/ 4 w 25"/>
                    <a:gd name="T7" fmla="*/ 0 h 8"/>
                    <a:gd name="T8" fmla="*/ 0 60000 65536"/>
                    <a:gd name="T9" fmla="*/ 0 60000 65536"/>
                    <a:gd name="T10" fmla="*/ 0 60000 65536"/>
                    <a:gd name="T11" fmla="*/ 0 60000 65536"/>
                    <a:gd name="T12" fmla="*/ 0 w 25"/>
                    <a:gd name="T13" fmla="*/ 0 h 8"/>
                    <a:gd name="T14" fmla="*/ 25 w 25"/>
                    <a:gd name="T15" fmla="*/ 8 h 8"/>
                  </a:gdLst>
                  <a:ahLst/>
                  <a:cxnLst>
                    <a:cxn ang="T8">
                      <a:pos x="T0" y="T1"/>
                    </a:cxn>
                    <a:cxn ang="T9">
                      <a:pos x="T2" y="T3"/>
                    </a:cxn>
                    <a:cxn ang="T10">
                      <a:pos x="T4" y="T5"/>
                    </a:cxn>
                    <a:cxn ang="T11">
                      <a:pos x="T6" y="T7"/>
                    </a:cxn>
                  </a:cxnLst>
                  <a:rect l="T12" t="T13" r="T14" b="T15"/>
                  <a:pathLst>
                    <a:path w="25" h="8">
                      <a:moveTo>
                        <a:pt x="4" y="0"/>
                      </a:moveTo>
                      <a:cubicBezTo>
                        <a:pt x="10" y="2"/>
                        <a:pt x="8" y="6"/>
                        <a:pt x="18" y="2"/>
                      </a:cubicBezTo>
                      <a:cubicBezTo>
                        <a:pt x="25" y="6"/>
                        <a:pt x="14" y="7"/>
                        <a:pt x="8" y="8"/>
                      </a:cubicBezTo>
                      <a:cubicBezTo>
                        <a:pt x="0" y="5"/>
                        <a:pt x="4" y="8"/>
                        <a:pt x="4" y="0"/>
                      </a:cubicBezTo>
                      <a:close/>
                    </a:path>
                  </a:pathLst>
                </a:custGeom>
                <a:solidFill>
                  <a:srgbClr val="CF8F5F"/>
                </a:solidFill>
                <a:ln w="12700">
                  <a:noFill/>
                  <a:round/>
                  <a:headEnd/>
                  <a:tailEnd/>
                </a:ln>
              </p:spPr>
              <p:txBody>
                <a:bodyPr lIns="90000" tIns="46800" rIns="90000" bIns="46800" anchor="ctr"/>
                <a:lstStyle/>
                <a:p>
                  <a:pPr defTabSz="912546"/>
                  <a:endParaRPr>
                    <a:solidFill>
                      <a:srgbClr val="000000"/>
                    </a:solidFill>
                  </a:endParaRPr>
                </a:p>
              </p:txBody>
            </p:sp>
          </p:grpSp>
        </p:grpSp>
        <p:grpSp>
          <p:nvGrpSpPr>
            <p:cNvPr id="265162" name="Group 929"/>
            <p:cNvGrpSpPr>
              <a:grpSpLocks/>
            </p:cNvGrpSpPr>
            <p:nvPr/>
          </p:nvGrpSpPr>
          <p:grpSpPr bwMode="gray">
            <a:xfrm>
              <a:off x="4490" y="2646"/>
              <a:ext cx="124" cy="408"/>
              <a:chOff x="2177" y="944"/>
              <a:chExt cx="360" cy="1298"/>
            </a:xfrm>
          </p:grpSpPr>
          <p:sp>
            <p:nvSpPr>
              <p:cNvPr id="441475" name="Freeform 930"/>
              <p:cNvSpPr>
                <a:spLocks/>
              </p:cNvSpPr>
              <p:nvPr/>
            </p:nvSpPr>
            <p:spPr bwMode="gray">
              <a:xfrm>
                <a:off x="2268" y="2102"/>
                <a:ext cx="207" cy="140"/>
              </a:xfrm>
              <a:custGeom>
                <a:avLst/>
                <a:gdLst>
                  <a:gd name="T0" fmla="*/ 24 w 207"/>
                  <a:gd name="T1" fmla="*/ 48 h 140"/>
                  <a:gd name="T2" fmla="*/ 4 w 207"/>
                  <a:gd name="T3" fmla="*/ 82 h 140"/>
                  <a:gd name="T4" fmla="*/ 20 w 207"/>
                  <a:gd name="T5" fmla="*/ 133 h 140"/>
                  <a:gd name="T6" fmla="*/ 41 w 207"/>
                  <a:gd name="T7" fmla="*/ 130 h 140"/>
                  <a:gd name="T8" fmla="*/ 65 w 207"/>
                  <a:gd name="T9" fmla="*/ 101 h 140"/>
                  <a:gd name="T10" fmla="*/ 70 w 207"/>
                  <a:gd name="T11" fmla="*/ 60 h 140"/>
                  <a:gd name="T12" fmla="*/ 96 w 207"/>
                  <a:gd name="T13" fmla="*/ 0 h 140"/>
                  <a:gd name="T14" fmla="*/ 107 w 207"/>
                  <a:gd name="T15" fmla="*/ 68 h 140"/>
                  <a:gd name="T16" fmla="*/ 126 w 207"/>
                  <a:gd name="T17" fmla="*/ 82 h 140"/>
                  <a:gd name="T18" fmla="*/ 173 w 207"/>
                  <a:gd name="T19" fmla="*/ 123 h 140"/>
                  <a:gd name="T20" fmla="*/ 197 w 207"/>
                  <a:gd name="T21" fmla="*/ 123 h 140"/>
                  <a:gd name="T22" fmla="*/ 187 w 207"/>
                  <a:gd name="T23" fmla="*/ 72 h 140"/>
                  <a:gd name="T24" fmla="*/ 169 w 207"/>
                  <a:gd name="T25" fmla="*/ 58 h 140"/>
                  <a:gd name="T26" fmla="*/ 160 w 207"/>
                  <a:gd name="T27" fmla="*/ 37 h 140"/>
                  <a:gd name="T28" fmla="*/ 140 w 207"/>
                  <a:gd name="T29" fmla="*/ 30 h 140"/>
                  <a:gd name="T30" fmla="*/ 24 w 207"/>
                  <a:gd name="T31" fmla="*/ 48 h 1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7"/>
                  <a:gd name="T49" fmla="*/ 0 h 140"/>
                  <a:gd name="T50" fmla="*/ 207 w 207"/>
                  <a:gd name="T51" fmla="*/ 140 h 1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7" h="140">
                    <a:moveTo>
                      <a:pt x="24" y="48"/>
                    </a:moveTo>
                    <a:cubicBezTo>
                      <a:pt x="19" y="57"/>
                      <a:pt x="6" y="71"/>
                      <a:pt x="4" y="82"/>
                    </a:cubicBezTo>
                    <a:cubicBezTo>
                      <a:pt x="0" y="140"/>
                      <a:pt x="16" y="124"/>
                      <a:pt x="20" y="133"/>
                    </a:cubicBezTo>
                    <a:cubicBezTo>
                      <a:pt x="23" y="133"/>
                      <a:pt x="29" y="132"/>
                      <a:pt x="41" y="130"/>
                    </a:cubicBezTo>
                    <a:cubicBezTo>
                      <a:pt x="56" y="115"/>
                      <a:pt x="58" y="115"/>
                      <a:pt x="65" y="101"/>
                    </a:cubicBezTo>
                    <a:cubicBezTo>
                      <a:pt x="71" y="77"/>
                      <a:pt x="67" y="77"/>
                      <a:pt x="70" y="60"/>
                    </a:cubicBezTo>
                    <a:cubicBezTo>
                      <a:pt x="84" y="60"/>
                      <a:pt x="96" y="0"/>
                      <a:pt x="96" y="0"/>
                    </a:cubicBezTo>
                    <a:cubicBezTo>
                      <a:pt x="99" y="12"/>
                      <a:pt x="96" y="60"/>
                      <a:pt x="107" y="68"/>
                    </a:cubicBezTo>
                    <a:cubicBezTo>
                      <a:pt x="124" y="66"/>
                      <a:pt x="127" y="70"/>
                      <a:pt x="126" y="82"/>
                    </a:cubicBezTo>
                    <a:cubicBezTo>
                      <a:pt x="136" y="109"/>
                      <a:pt x="156" y="119"/>
                      <a:pt x="173" y="123"/>
                    </a:cubicBezTo>
                    <a:cubicBezTo>
                      <a:pt x="190" y="128"/>
                      <a:pt x="176" y="125"/>
                      <a:pt x="197" y="123"/>
                    </a:cubicBezTo>
                    <a:cubicBezTo>
                      <a:pt x="207" y="113"/>
                      <a:pt x="196" y="82"/>
                      <a:pt x="187" y="72"/>
                    </a:cubicBezTo>
                    <a:cubicBezTo>
                      <a:pt x="178" y="60"/>
                      <a:pt x="180" y="74"/>
                      <a:pt x="169" y="58"/>
                    </a:cubicBezTo>
                    <a:cubicBezTo>
                      <a:pt x="165" y="52"/>
                      <a:pt x="164" y="43"/>
                      <a:pt x="160" y="37"/>
                    </a:cubicBezTo>
                    <a:cubicBezTo>
                      <a:pt x="156" y="31"/>
                      <a:pt x="146" y="31"/>
                      <a:pt x="140" y="30"/>
                    </a:cubicBezTo>
                    <a:cubicBezTo>
                      <a:pt x="116" y="33"/>
                      <a:pt x="47" y="39"/>
                      <a:pt x="24" y="48"/>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76" name="Freeform 931"/>
              <p:cNvSpPr>
                <a:spLocks/>
              </p:cNvSpPr>
              <p:nvPr/>
            </p:nvSpPr>
            <p:spPr bwMode="gray">
              <a:xfrm>
                <a:off x="2177" y="1093"/>
                <a:ext cx="360" cy="1069"/>
              </a:xfrm>
              <a:custGeom>
                <a:avLst/>
                <a:gdLst>
                  <a:gd name="T0" fmla="*/ 187 w 360"/>
                  <a:gd name="T1" fmla="*/ 9 h 1069"/>
                  <a:gd name="T2" fmla="*/ 103 w 360"/>
                  <a:gd name="T3" fmla="*/ 47 h 1069"/>
                  <a:gd name="T4" fmla="*/ 77 w 360"/>
                  <a:gd name="T5" fmla="*/ 61 h 1069"/>
                  <a:gd name="T6" fmla="*/ 33 w 360"/>
                  <a:gd name="T7" fmla="*/ 95 h 1069"/>
                  <a:gd name="T8" fmla="*/ 9 w 360"/>
                  <a:gd name="T9" fmla="*/ 277 h 1069"/>
                  <a:gd name="T10" fmla="*/ 9 w 360"/>
                  <a:gd name="T11" fmla="*/ 364 h 1069"/>
                  <a:gd name="T12" fmla="*/ 19 w 360"/>
                  <a:gd name="T13" fmla="*/ 493 h 1069"/>
                  <a:gd name="T14" fmla="*/ 50 w 360"/>
                  <a:gd name="T15" fmla="*/ 491 h 1069"/>
                  <a:gd name="T16" fmla="*/ 60 w 360"/>
                  <a:gd name="T17" fmla="*/ 522 h 1069"/>
                  <a:gd name="T18" fmla="*/ 53 w 360"/>
                  <a:gd name="T19" fmla="*/ 573 h 1069"/>
                  <a:gd name="T20" fmla="*/ 60 w 360"/>
                  <a:gd name="T21" fmla="*/ 642 h 1069"/>
                  <a:gd name="T22" fmla="*/ 65 w 360"/>
                  <a:gd name="T23" fmla="*/ 693 h 1069"/>
                  <a:gd name="T24" fmla="*/ 79 w 360"/>
                  <a:gd name="T25" fmla="*/ 887 h 1069"/>
                  <a:gd name="T26" fmla="*/ 103 w 360"/>
                  <a:gd name="T27" fmla="*/ 1024 h 1069"/>
                  <a:gd name="T28" fmla="*/ 120 w 360"/>
                  <a:gd name="T29" fmla="*/ 1069 h 1069"/>
                  <a:gd name="T30" fmla="*/ 139 w 360"/>
                  <a:gd name="T31" fmla="*/ 1065 h 1069"/>
                  <a:gd name="T32" fmla="*/ 165 w 360"/>
                  <a:gd name="T33" fmla="*/ 1055 h 1069"/>
                  <a:gd name="T34" fmla="*/ 180 w 360"/>
                  <a:gd name="T35" fmla="*/ 1036 h 1069"/>
                  <a:gd name="T36" fmla="*/ 177 w 360"/>
                  <a:gd name="T37" fmla="*/ 916 h 1069"/>
                  <a:gd name="T38" fmla="*/ 173 w 360"/>
                  <a:gd name="T39" fmla="*/ 738 h 1069"/>
                  <a:gd name="T40" fmla="*/ 177 w 360"/>
                  <a:gd name="T41" fmla="*/ 676 h 1069"/>
                  <a:gd name="T42" fmla="*/ 180 w 360"/>
                  <a:gd name="T43" fmla="*/ 558 h 1069"/>
                  <a:gd name="T44" fmla="*/ 185 w 360"/>
                  <a:gd name="T45" fmla="*/ 544 h 1069"/>
                  <a:gd name="T46" fmla="*/ 194 w 360"/>
                  <a:gd name="T47" fmla="*/ 705 h 1069"/>
                  <a:gd name="T48" fmla="*/ 194 w 360"/>
                  <a:gd name="T49" fmla="*/ 772 h 1069"/>
                  <a:gd name="T50" fmla="*/ 185 w 360"/>
                  <a:gd name="T51" fmla="*/ 873 h 1069"/>
                  <a:gd name="T52" fmla="*/ 187 w 360"/>
                  <a:gd name="T53" fmla="*/ 1041 h 1069"/>
                  <a:gd name="T54" fmla="*/ 254 w 360"/>
                  <a:gd name="T55" fmla="*/ 1062 h 1069"/>
                  <a:gd name="T56" fmla="*/ 271 w 360"/>
                  <a:gd name="T57" fmla="*/ 1021 h 1069"/>
                  <a:gd name="T58" fmla="*/ 273 w 360"/>
                  <a:gd name="T59" fmla="*/ 945 h 1069"/>
                  <a:gd name="T60" fmla="*/ 278 w 360"/>
                  <a:gd name="T61" fmla="*/ 906 h 1069"/>
                  <a:gd name="T62" fmla="*/ 288 w 360"/>
                  <a:gd name="T63" fmla="*/ 791 h 1069"/>
                  <a:gd name="T64" fmla="*/ 307 w 360"/>
                  <a:gd name="T65" fmla="*/ 640 h 1069"/>
                  <a:gd name="T66" fmla="*/ 312 w 360"/>
                  <a:gd name="T67" fmla="*/ 517 h 1069"/>
                  <a:gd name="T68" fmla="*/ 353 w 360"/>
                  <a:gd name="T69" fmla="*/ 489 h 1069"/>
                  <a:gd name="T70" fmla="*/ 357 w 360"/>
                  <a:gd name="T71" fmla="*/ 340 h 1069"/>
                  <a:gd name="T72" fmla="*/ 350 w 360"/>
                  <a:gd name="T73" fmla="*/ 294 h 1069"/>
                  <a:gd name="T74" fmla="*/ 341 w 360"/>
                  <a:gd name="T75" fmla="*/ 181 h 1069"/>
                  <a:gd name="T76" fmla="*/ 307 w 360"/>
                  <a:gd name="T77" fmla="*/ 64 h 1069"/>
                  <a:gd name="T78" fmla="*/ 247 w 360"/>
                  <a:gd name="T79" fmla="*/ 45 h 1069"/>
                  <a:gd name="T80" fmla="*/ 187 w 360"/>
                  <a:gd name="T81" fmla="*/ 9 h 106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0"/>
                  <a:gd name="T124" fmla="*/ 0 h 1069"/>
                  <a:gd name="T125" fmla="*/ 360 w 360"/>
                  <a:gd name="T126" fmla="*/ 1069 h 106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0" h="1069">
                    <a:moveTo>
                      <a:pt x="187" y="9"/>
                    </a:moveTo>
                    <a:cubicBezTo>
                      <a:pt x="167" y="0"/>
                      <a:pt x="128" y="42"/>
                      <a:pt x="103" y="47"/>
                    </a:cubicBezTo>
                    <a:cubicBezTo>
                      <a:pt x="94" y="52"/>
                      <a:pt x="86" y="57"/>
                      <a:pt x="77" y="61"/>
                    </a:cubicBezTo>
                    <a:cubicBezTo>
                      <a:pt x="64" y="74"/>
                      <a:pt x="47" y="83"/>
                      <a:pt x="33" y="95"/>
                    </a:cubicBezTo>
                    <a:cubicBezTo>
                      <a:pt x="22" y="127"/>
                      <a:pt x="14" y="233"/>
                      <a:pt x="9" y="277"/>
                    </a:cubicBezTo>
                    <a:cubicBezTo>
                      <a:pt x="0" y="311"/>
                      <a:pt x="13" y="329"/>
                      <a:pt x="9" y="364"/>
                    </a:cubicBezTo>
                    <a:cubicBezTo>
                      <a:pt x="13" y="409"/>
                      <a:pt x="1" y="450"/>
                      <a:pt x="19" y="493"/>
                    </a:cubicBezTo>
                    <a:cubicBezTo>
                      <a:pt x="30" y="490"/>
                      <a:pt x="38" y="494"/>
                      <a:pt x="50" y="491"/>
                    </a:cubicBezTo>
                    <a:cubicBezTo>
                      <a:pt x="61" y="494"/>
                      <a:pt x="55" y="510"/>
                      <a:pt x="60" y="522"/>
                    </a:cubicBezTo>
                    <a:cubicBezTo>
                      <a:pt x="58" y="540"/>
                      <a:pt x="55" y="555"/>
                      <a:pt x="53" y="573"/>
                    </a:cubicBezTo>
                    <a:cubicBezTo>
                      <a:pt x="54" y="604"/>
                      <a:pt x="54" y="616"/>
                      <a:pt x="60" y="642"/>
                    </a:cubicBezTo>
                    <a:cubicBezTo>
                      <a:pt x="56" y="656"/>
                      <a:pt x="64" y="679"/>
                      <a:pt x="65" y="693"/>
                    </a:cubicBezTo>
                    <a:cubicBezTo>
                      <a:pt x="58" y="762"/>
                      <a:pt x="66" y="822"/>
                      <a:pt x="79" y="887"/>
                    </a:cubicBezTo>
                    <a:cubicBezTo>
                      <a:pt x="81" y="937"/>
                      <a:pt x="74" y="983"/>
                      <a:pt x="103" y="1024"/>
                    </a:cubicBezTo>
                    <a:cubicBezTo>
                      <a:pt x="110" y="1054"/>
                      <a:pt x="114" y="1062"/>
                      <a:pt x="120" y="1069"/>
                    </a:cubicBezTo>
                    <a:cubicBezTo>
                      <a:pt x="128" y="1067"/>
                      <a:pt x="132" y="1068"/>
                      <a:pt x="139" y="1065"/>
                    </a:cubicBezTo>
                    <a:cubicBezTo>
                      <a:pt x="165" y="1054"/>
                      <a:pt x="107" y="1060"/>
                      <a:pt x="165" y="1055"/>
                    </a:cubicBezTo>
                    <a:cubicBezTo>
                      <a:pt x="178" y="1051"/>
                      <a:pt x="185" y="1045"/>
                      <a:pt x="180" y="1036"/>
                    </a:cubicBezTo>
                    <a:cubicBezTo>
                      <a:pt x="182" y="995"/>
                      <a:pt x="182" y="957"/>
                      <a:pt x="177" y="916"/>
                    </a:cubicBezTo>
                    <a:cubicBezTo>
                      <a:pt x="188" y="870"/>
                      <a:pt x="175" y="788"/>
                      <a:pt x="173" y="738"/>
                    </a:cubicBezTo>
                    <a:cubicBezTo>
                      <a:pt x="175" y="718"/>
                      <a:pt x="171" y="696"/>
                      <a:pt x="177" y="676"/>
                    </a:cubicBezTo>
                    <a:cubicBezTo>
                      <a:pt x="175" y="630"/>
                      <a:pt x="181" y="605"/>
                      <a:pt x="180" y="558"/>
                    </a:cubicBezTo>
                    <a:cubicBezTo>
                      <a:pt x="182" y="554"/>
                      <a:pt x="183" y="516"/>
                      <a:pt x="185" y="544"/>
                    </a:cubicBezTo>
                    <a:cubicBezTo>
                      <a:pt x="191" y="652"/>
                      <a:pt x="184" y="644"/>
                      <a:pt x="194" y="705"/>
                    </a:cubicBezTo>
                    <a:cubicBezTo>
                      <a:pt x="189" y="782"/>
                      <a:pt x="194" y="686"/>
                      <a:pt x="194" y="772"/>
                    </a:cubicBezTo>
                    <a:cubicBezTo>
                      <a:pt x="194" y="808"/>
                      <a:pt x="192" y="838"/>
                      <a:pt x="185" y="873"/>
                    </a:cubicBezTo>
                    <a:cubicBezTo>
                      <a:pt x="183" y="906"/>
                      <a:pt x="171" y="1012"/>
                      <a:pt x="187" y="1041"/>
                    </a:cubicBezTo>
                    <a:cubicBezTo>
                      <a:pt x="201" y="1056"/>
                      <a:pt x="240" y="1058"/>
                      <a:pt x="254" y="1062"/>
                    </a:cubicBezTo>
                    <a:cubicBezTo>
                      <a:pt x="265" y="1053"/>
                      <a:pt x="268" y="1040"/>
                      <a:pt x="271" y="1021"/>
                    </a:cubicBezTo>
                    <a:cubicBezTo>
                      <a:pt x="272" y="996"/>
                      <a:pt x="273" y="970"/>
                      <a:pt x="273" y="945"/>
                    </a:cubicBezTo>
                    <a:cubicBezTo>
                      <a:pt x="273" y="930"/>
                      <a:pt x="277" y="921"/>
                      <a:pt x="278" y="906"/>
                    </a:cubicBezTo>
                    <a:cubicBezTo>
                      <a:pt x="280" y="880"/>
                      <a:pt x="295" y="817"/>
                      <a:pt x="288" y="791"/>
                    </a:cubicBezTo>
                    <a:cubicBezTo>
                      <a:pt x="293" y="751"/>
                      <a:pt x="303" y="686"/>
                      <a:pt x="307" y="640"/>
                    </a:cubicBezTo>
                    <a:cubicBezTo>
                      <a:pt x="308" y="618"/>
                      <a:pt x="303" y="537"/>
                      <a:pt x="312" y="517"/>
                    </a:cubicBezTo>
                    <a:cubicBezTo>
                      <a:pt x="314" y="491"/>
                      <a:pt x="309" y="489"/>
                      <a:pt x="353" y="489"/>
                    </a:cubicBezTo>
                    <a:cubicBezTo>
                      <a:pt x="360" y="454"/>
                      <a:pt x="357" y="372"/>
                      <a:pt x="357" y="340"/>
                    </a:cubicBezTo>
                    <a:cubicBezTo>
                      <a:pt x="356" y="324"/>
                      <a:pt x="354" y="310"/>
                      <a:pt x="350" y="294"/>
                    </a:cubicBezTo>
                    <a:cubicBezTo>
                      <a:pt x="348" y="275"/>
                      <a:pt x="348" y="227"/>
                      <a:pt x="341" y="181"/>
                    </a:cubicBezTo>
                    <a:cubicBezTo>
                      <a:pt x="340" y="130"/>
                      <a:pt x="345" y="66"/>
                      <a:pt x="307" y="64"/>
                    </a:cubicBezTo>
                    <a:cubicBezTo>
                      <a:pt x="291" y="55"/>
                      <a:pt x="265" y="50"/>
                      <a:pt x="247" y="45"/>
                    </a:cubicBezTo>
                    <a:cubicBezTo>
                      <a:pt x="241" y="41"/>
                      <a:pt x="192" y="9"/>
                      <a:pt x="187" y="9"/>
                    </a:cubicBezTo>
                    <a:close/>
                  </a:path>
                </a:pathLst>
              </a:custGeom>
              <a:solidFill>
                <a:srgbClr val="474747"/>
              </a:solidFill>
              <a:ln w="6350">
                <a:noFill/>
                <a:round/>
                <a:headEnd/>
                <a:tailEnd/>
              </a:ln>
            </p:spPr>
            <p:txBody>
              <a:bodyPr lIns="45720" tIns="46800" rIns="45720" bIns="46800" anchor="ctr"/>
              <a:lstStyle/>
              <a:p>
                <a:pPr defTabSz="912546"/>
                <a:endParaRPr>
                  <a:solidFill>
                    <a:srgbClr val="000000"/>
                  </a:solidFill>
                </a:endParaRPr>
              </a:p>
            </p:txBody>
          </p:sp>
          <p:sp>
            <p:nvSpPr>
              <p:cNvPr id="441477" name="Freeform 932"/>
              <p:cNvSpPr>
                <a:spLocks/>
              </p:cNvSpPr>
              <p:nvPr/>
            </p:nvSpPr>
            <p:spPr bwMode="gray">
              <a:xfrm>
                <a:off x="2252" y="944"/>
                <a:ext cx="189" cy="229"/>
              </a:xfrm>
              <a:custGeom>
                <a:avLst/>
                <a:gdLst>
                  <a:gd name="T0" fmla="*/ 26 w 189"/>
                  <a:gd name="T1" fmla="*/ 222 h 229"/>
                  <a:gd name="T2" fmla="*/ 16 w 189"/>
                  <a:gd name="T3" fmla="*/ 189 h 229"/>
                  <a:gd name="T4" fmla="*/ 21 w 189"/>
                  <a:gd name="T5" fmla="*/ 162 h 229"/>
                  <a:gd name="T6" fmla="*/ 45 w 189"/>
                  <a:gd name="T7" fmla="*/ 35 h 229"/>
                  <a:gd name="T8" fmla="*/ 90 w 189"/>
                  <a:gd name="T9" fmla="*/ 2 h 229"/>
                  <a:gd name="T10" fmla="*/ 136 w 189"/>
                  <a:gd name="T11" fmla="*/ 16 h 229"/>
                  <a:gd name="T12" fmla="*/ 165 w 189"/>
                  <a:gd name="T13" fmla="*/ 62 h 229"/>
                  <a:gd name="T14" fmla="*/ 179 w 189"/>
                  <a:gd name="T15" fmla="*/ 126 h 229"/>
                  <a:gd name="T16" fmla="*/ 182 w 189"/>
                  <a:gd name="T17" fmla="*/ 213 h 229"/>
                  <a:gd name="T18" fmla="*/ 26 w 189"/>
                  <a:gd name="T19" fmla="*/ 222 h 2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9"/>
                  <a:gd name="T31" fmla="*/ 0 h 229"/>
                  <a:gd name="T32" fmla="*/ 189 w 189"/>
                  <a:gd name="T33" fmla="*/ 229 h 2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9" h="229">
                    <a:moveTo>
                      <a:pt x="26" y="222"/>
                    </a:moveTo>
                    <a:cubicBezTo>
                      <a:pt x="16" y="226"/>
                      <a:pt x="0" y="205"/>
                      <a:pt x="16" y="189"/>
                    </a:cubicBezTo>
                    <a:cubicBezTo>
                      <a:pt x="20" y="177"/>
                      <a:pt x="23" y="176"/>
                      <a:pt x="21" y="162"/>
                    </a:cubicBezTo>
                    <a:cubicBezTo>
                      <a:pt x="22" y="131"/>
                      <a:pt x="9" y="88"/>
                      <a:pt x="45" y="35"/>
                    </a:cubicBezTo>
                    <a:cubicBezTo>
                      <a:pt x="51" y="13"/>
                      <a:pt x="71" y="5"/>
                      <a:pt x="90" y="2"/>
                    </a:cubicBezTo>
                    <a:cubicBezTo>
                      <a:pt x="121" y="0"/>
                      <a:pt x="116" y="13"/>
                      <a:pt x="136" y="16"/>
                    </a:cubicBezTo>
                    <a:cubicBezTo>
                      <a:pt x="147" y="30"/>
                      <a:pt x="158" y="40"/>
                      <a:pt x="165" y="62"/>
                    </a:cubicBezTo>
                    <a:cubicBezTo>
                      <a:pt x="165" y="93"/>
                      <a:pt x="172" y="102"/>
                      <a:pt x="179" y="126"/>
                    </a:cubicBezTo>
                    <a:cubicBezTo>
                      <a:pt x="184" y="150"/>
                      <a:pt x="189" y="188"/>
                      <a:pt x="182" y="213"/>
                    </a:cubicBezTo>
                    <a:cubicBezTo>
                      <a:pt x="157" y="229"/>
                      <a:pt x="54" y="226"/>
                      <a:pt x="26" y="222"/>
                    </a:cubicBezTo>
                    <a:close/>
                  </a:path>
                </a:pathLst>
              </a:custGeom>
              <a:solidFill>
                <a:srgbClr val="45382D"/>
              </a:solidFill>
              <a:ln w="6350">
                <a:noFill/>
                <a:round/>
                <a:headEnd/>
                <a:tailEnd/>
              </a:ln>
            </p:spPr>
            <p:txBody>
              <a:bodyPr lIns="45720" tIns="46800" rIns="45720" bIns="46800" anchor="ctr"/>
              <a:lstStyle/>
              <a:p>
                <a:pPr defTabSz="912546"/>
                <a:endParaRPr>
                  <a:solidFill>
                    <a:srgbClr val="000000"/>
                  </a:solidFill>
                </a:endParaRPr>
              </a:p>
            </p:txBody>
          </p:sp>
          <p:sp>
            <p:nvSpPr>
              <p:cNvPr id="441478" name="Freeform 933"/>
              <p:cNvSpPr>
                <a:spLocks/>
              </p:cNvSpPr>
              <p:nvPr/>
            </p:nvSpPr>
            <p:spPr bwMode="gray">
              <a:xfrm>
                <a:off x="2289" y="1116"/>
                <a:ext cx="104" cy="202"/>
              </a:xfrm>
              <a:custGeom>
                <a:avLst/>
                <a:gdLst>
                  <a:gd name="T0" fmla="*/ 94 w 104"/>
                  <a:gd name="T1" fmla="*/ 0 h 202"/>
                  <a:gd name="T2" fmla="*/ 104 w 104"/>
                  <a:gd name="T3" fmla="*/ 17 h 202"/>
                  <a:gd name="T4" fmla="*/ 94 w 104"/>
                  <a:gd name="T5" fmla="*/ 53 h 202"/>
                  <a:gd name="T6" fmla="*/ 82 w 104"/>
                  <a:gd name="T7" fmla="*/ 108 h 202"/>
                  <a:gd name="T8" fmla="*/ 58 w 104"/>
                  <a:gd name="T9" fmla="*/ 202 h 202"/>
                  <a:gd name="T10" fmla="*/ 27 w 104"/>
                  <a:gd name="T11" fmla="*/ 96 h 202"/>
                  <a:gd name="T12" fmla="*/ 17 w 104"/>
                  <a:gd name="T13" fmla="*/ 26 h 202"/>
                  <a:gd name="T14" fmla="*/ 97 w 104"/>
                  <a:gd name="T15" fmla="*/ 5 h 202"/>
                  <a:gd name="T16" fmla="*/ 94 w 104"/>
                  <a:gd name="T17" fmla="*/ 0 h 2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202"/>
                  <a:gd name="T29" fmla="*/ 104 w 104"/>
                  <a:gd name="T30" fmla="*/ 202 h 2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202">
                    <a:moveTo>
                      <a:pt x="94" y="0"/>
                    </a:moveTo>
                    <a:cubicBezTo>
                      <a:pt x="100" y="6"/>
                      <a:pt x="104" y="8"/>
                      <a:pt x="104" y="17"/>
                    </a:cubicBezTo>
                    <a:cubicBezTo>
                      <a:pt x="104" y="26"/>
                      <a:pt x="97" y="45"/>
                      <a:pt x="94" y="53"/>
                    </a:cubicBezTo>
                    <a:cubicBezTo>
                      <a:pt x="86" y="73"/>
                      <a:pt x="93" y="90"/>
                      <a:pt x="82" y="108"/>
                    </a:cubicBezTo>
                    <a:cubicBezTo>
                      <a:pt x="74" y="134"/>
                      <a:pt x="66" y="197"/>
                      <a:pt x="58" y="202"/>
                    </a:cubicBezTo>
                    <a:cubicBezTo>
                      <a:pt x="48" y="201"/>
                      <a:pt x="31" y="125"/>
                      <a:pt x="27" y="96"/>
                    </a:cubicBezTo>
                    <a:cubicBezTo>
                      <a:pt x="26" y="88"/>
                      <a:pt x="0" y="33"/>
                      <a:pt x="17" y="26"/>
                    </a:cubicBezTo>
                    <a:cubicBezTo>
                      <a:pt x="31" y="11"/>
                      <a:pt x="84" y="9"/>
                      <a:pt x="97" y="5"/>
                    </a:cubicBezTo>
                    <a:cubicBezTo>
                      <a:pt x="99" y="6"/>
                      <a:pt x="95" y="2"/>
                      <a:pt x="94" y="0"/>
                    </a:cubicBezTo>
                    <a:close/>
                  </a:path>
                </a:pathLst>
              </a:custGeom>
              <a:solidFill>
                <a:srgbClr val="EBEDEF"/>
              </a:solidFill>
              <a:ln w="12700">
                <a:noFill/>
                <a:round/>
                <a:headEnd/>
                <a:tailEnd/>
              </a:ln>
            </p:spPr>
            <p:txBody>
              <a:bodyPr lIns="45720" tIns="46800" rIns="45720" bIns="46800" anchor="ctr"/>
              <a:lstStyle/>
              <a:p>
                <a:pPr defTabSz="912546"/>
                <a:endParaRPr>
                  <a:solidFill>
                    <a:srgbClr val="000000"/>
                  </a:solidFill>
                </a:endParaRPr>
              </a:p>
            </p:txBody>
          </p:sp>
          <p:sp>
            <p:nvSpPr>
              <p:cNvPr id="441479" name="Freeform 934"/>
              <p:cNvSpPr>
                <a:spLocks/>
              </p:cNvSpPr>
              <p:nvPr/>
            </p:nvSpPr>
            <p:spPr bwMode="gray">
              <a:xfrm>
                <a:off x="2297" y="957"/>
                <a:ext cx="106" cy="257"/>
              </a:xfrm>
              <a:custGeom>
                <a:avLst/>
                <a:gdLst>
                  <a:gd name="T0" fmla="*/ 41 w 106"/>
                  <a:gd name="T1" fmla="*/ 5 h 257"/>
                  <a:gd name="T2" fmla="*/ 19 w 106"/>
                  <a:gd name="T3" fmla="*/ 25 h 257"/>
                  <a:gd name="T4" fmla="*/ 2 w 106"/>
                  <a:gd name="T5" fmla="*/ 63 h 257"/>
                  <a:gd name="T6" fmla="*/ 12 w 106"/>
                  <a:gd name="T7" fmla="*/ 97 h 257"/>
                  <a:gd name="T8" fmla="*/ 29 w 106"/>
                  <a:gd name="T9" fmla="*/ 125 h 257"/>
                  <a:gd name="T10" fmla="*/ 19 w 106"/>
                  <a:gd name="T11" fmla="*/ 178 h 257"/>
                  <a:gd name="T12" fmla="*/ 17 w 106"/>
                  <a:gd name="T13" fmla="*/ 195 h 257"/>
                  <a:gd name="T14" fmla="*/ 48 w 106"/>
                  <a:gd name="T15" fmla="*/ 257 h 257"/>
                  <a:gd name="T16" fmla="*/ 81 w 106"/>
                  <a:gd name="T17" fmla="*/ 185 h 257"/>
                  <a:gd name="T18" fmla="*/ 86 w 106"/>
                  <a:gd name="T19" fmla="*/ 135 h 257"/>
                  <a:gd name="T20" fmla="*/ 103 w 106"/>
                  <a:gd name="T21" fmla="*/ 89 h 257"/>
                  <a:gd name="T22" fmla="*/ 93 w 106"/>
                  <a:gd name="T23" fmla="*/ 29 h 257"/>
                  <a:gd name="T24" fmla="*/ 41 w 106"/>
                  <a:gd name="T25" fmla="*/ 5 h 2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257"/>
                  <a:gd name="T41" fmla="*/ 106 w 106"/>
                  <a:gd name="T42" fmla="*/ 257 h 2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257">
                    <a:moveTo>
                      <a:pt x="41" y="5"/>
                    </a:moveTo>
                    <a:cubicBezTo>
                      <a:pt x="24" y="22"/>
                      <a:pt x="32" y="16"/>
                      <a:pt x="19" y="25"/>
                    </a:cubicBezTo>
                    <a:cubicBezTo>
                      <a:pt x="12" y="38"/>
                      <a:pt x="6" y="48"/>
                      <a:pt x="2" y="63"/>
                    </a:cubicBezTo>
                    <a:cubicBezTo>
                      <a:pt x="0" y="73"/>
                      <a:pt x="8" y="86"/>
                      <a:pt x="12" y="97"/>
                    </a:cubicBezTo>
                    <a:cubicBezTo>
                      <a:pt x="17" y="107"/>
                      <a:pt x="21" y="111"/>
                      <a:pt x="29" y="125"/>
                    </a:cubicBezTo>
                    <a:cubicBezTo>
                      <a:pt x="26" y="125"/>
                      <a:pt x="21" y="173"/>
                      <a:pt x="19" y="178"/>
                    </a:cubicBezTo>
                    <a:cubicBezTo>
                      <a:pt x="13" y="193"/>
                      <a:pt x="26" y="180"/>
                      <a:pt x="17" y="195"/>
                    </a:cubicBezTo>
                    <a:cubicBezTo>
                      <a:pt x="24" y="227"/>
                      <a:pt x="30" y="232"/>
                      <a:pt x="48" y="257"/>
                    </a:cubicBezTo>
                    <a:cubicBezTo>
                      <a:pt x="59" y="255"/>
                      <a:pt x="75" y="205"/>
                      <a:pt x="81" y="185"/>
                    </a:cubicBezTo>
                    <a:cubicBezTo>
                      <a:pt x="84" y="168"/>
                      <a:pt x="83" y="151"/>
                      <a:pt x="86" y="135"/>
                    </a:cubicBezTo>
                    <a:cubicBezTo>
                      <a:pt x="89" y="119"/>
                      <a:pt x="100" y="105"/>
                      <a:pt x="103" y="89"/>
                    </a:cubicBezTo>
                    <a:cubicBezTo>
                      <a:pt x="103" y="84"/>
                      <a:pt x="106" y="41"/>
                      <a:pt x="93" y="29"/>
                    </a:cubicBezTo>
                    <a:cubicBezTo>
                      <a:pt x="87" y="24"/>
                      <a:pt x="41" y="0"/>
                      <a:pt x="41" y="5"/>
                    </a:cubicBezTo>
                    <a:close/>
                  </a:path>
                </a:pathLst>
              </a:custGeom>
              <a:solidFill>
                <a:srgbClr val="C38557"/>
              </a:solidFill>
              <a:ln w="6350">
                <a:noFill/>
                <a:round/>
                <a:headEnd/>
                <a:tailEnd/>
              </a:ln>
            </p:spPr>
            <p:txBody>
              <a:bodyPr lIns="45720" tIns="46800" rIns="45720" bIns="46800" anchor="ctr"/>
              <a:lstStyle/>
              <a:p>
                <a:pPr defTabSz="912546"/>
                <a:endParaRPr>
                  <a:solidFill>
                    <a:srgbClr val="000000"/>
                  </a:solidFill>
                </a:endParaRPr>
              </a:p>
            </p:txBody>
          </p:sp>
          <p:sp>
            <p:nvSpPr>
              <p:cNvPr id="441480" name="Freeform 935"/>
              <p:cNvSpPr>
                <a:spLocks/>
              </p:cNvSpPr>
              <p:nvPr/>
            </p:nvSpPr>
            <p:spPr bwMode="gray">
              <a:xfrm>
                <a:off x="2458" y="1582"/>
                <a:ext cx="60" cy="125"/>
              </a:xfrm>
              <a:custGeom>
                <a:avLst/>
                <a:gdLst>
                  <a:gd name="T0" fmla="*/ 21 w 60"/>
                  <a:gd name="T1" fmla="*/ 7 h 125"/>
                  <a:gd name="T2" fmla="*/ 12 w 60"/>
                  <a:gd name="T3" fmla="*/ 33 h 125"/>
                  <a:gd name="T4" fmla="*/ 19 w 60"/>
                  <a:gd name="T5" fmla="*/ 91 h 125"/>
                  <a:gd name="T6" fmla="*/ 26 w 60"/>
                  <a:gd name="T7" fmla="*/ 57 h 125"/>
                  <a:gd name="T8" fmla="*/ 7 w 60"/>
                  <a:gd name="T9" fmla="*/ 110 h 125"/>
                  <a:gd name="T10" fmla="*/ 31 w 60"/>
                  <a:gd name="T11" fmla="*/ 120 h 125"/>
                  <a:gd name="T12" fmla="*/ 60 w 60"/>
                  <a:gd name="T13" fmla="*/ 76 h 125"/>
                  <a:gd name="T14" fmla="*/ 50 w 60"/>
                  <a:gd name="T15" fmla="*/ 0 h 125"/>
                  <a:gd name="T16" fmla="*/ 26 w 60"/>
                  <a:gd name="T17" fmla="*/ 2 h 125"/>
                  <a:gd name="T18" fmla="*/ 21 w 60"/>
                  <a:gd name="T19" fmla="*/ 7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125"/>
                  <a:gd name="T32" fmla="*/ 60 w 60"/>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125">
                    <a:moveTo>
                      <a:pt x="21" y="7"/>
                    </a:moveTo>
                    <a:cubicBezTo>
                      <a:pt x="19" y="18"/>
                      <a:pt x="15" y="23"/>
                      <a:pt x="12" y="33"/>
                    </a:cubicBezTo>
                    <a:cubicBezTo>
                      <a:pt x="12" y="37"/>
                      <a:pt x="0" y="125"/>
                      <a:pt x="19" y="91"/>
                    </a:cubicBezTo>
                    <a:cubicBezTo>
                      <a:pt x="21" y="79"/>
                      <a:pt x="24" y="69"/>
                      <a:pt x="26" y="57"/>
                    </a:cubicBezTo>
                    <a:cubicBezTo>
                      <a:pt x="38" y="82"/>
                      <a:pt x="32" y="103"/>
                      <a:pt x="7" y="110"/>
                    </a:cubicBezTo>
                    <a:cubicBezTo>
                      <a:pt x="11" y="124"/>
                      <a:pt x="17" y="122"/>
                      <a:pt x="31" y="120"/>
                    </a:cubicBezTo>
                    <a:cubicBezTo>
                      <a:pt x="47" y="108"/>
                      <a:pt x="50" y="92"/>
                      <a:pt x="60" y="76"/>
                    </a:cubicBezTo>
                    <a:cubicBezTo>
                      <a:pt x="58" y="46"/>
                      <a:pt x="57" y="27"/>
                      <a:pt x="50" y="0"/>
                    </a:cubicBezTo>
                    <a:cubicBezTo>
                      <a:pt x="42" y="1"/>
                      <a:pt x="34" y="0"/>
                      <a:pt x="26" y="2"/>
                    </a:cubicBezTo>
                    <a:cubicBezTo>
                      <a:pt x="24" y="3"/>
                      <a:pt x="19" y="9"/>
                      <a:pt x="21" y="7"/>
                    </a:cubicBezTo>
                    <a:close/>
                  </a:path>
                </a:pathLst>
              </a:custGeom>
              <a:solidFill>
                <a:srgbClr val="C38557"/>
              </a:solidFill>
              <a:ln w="12700">
                <a:noFill/>
                <a:round/>
                <a:headEnd/>
                <a:tailEnd/>
              </a:ln>
            </p:spPr>
            <p:txBody>
              <a:bodyPr lIns="45720" tIns="46800" rIns="45720" bIns="46800" anchor="ctr"/>
              <a:lstStyle/>
              <a:p>
                <a:pPr defTabSz="912546"/>
                <a:endParaRPr>
                  <a:solidFill>
                    <a:srgbClr val="000000"/>
                  </a:solidFill>
                </a:endParaRPr>
              </a:p>
            </p:txBody>
          </p:sp>
          <p:sp>
            <p:nvSpPr>
              <p:cNvPr id="441481" name="Freeform 936"/>
              <p:cNvSpPr>
                <a:spLocks/>
              </p:cNvSpPr>
              <p:nvPr/>
            </p:nvSpPr>
            <p:spPr bwMode="gray">
              <a:xfrm>
                <a:off x="2194" y="1594"/>
                <a:ext cx="60" cy="119"/>
              </a:xfrm>
              <a:custGeom>
                <a:avLst/>
                <a:gdLst>
                  <a:gd name="T0" fmla="*/ 43 w 60"/>
                  <a:gd name="T1" fmla="*/ 4 h 119"/>
                  <a:gd name="T2" fmla="*/ 60 w 60"/>
                  <a:gd name="T3" fmla="*/ 79 h 119"/>
                  <a:gd name="T4" fmla="*/ 52 w 60"/>
                  <a:gd name="T5" fmla="*/ 84 h 119"/>
                  <a:gd name="T6" fmla="*/ 48 w 60"/>
                  <a:gd name="T7" fmla="*/ 76 h 119"/>
                  <a:gd name="T8" fmla="*/ 33 w 60"/>
                  <a:gd name="T9" fmla="*/ 62 h 119"/>
                  <a:gd name="T10" fmla="*/ 52 w 60"/>
                  <a:gd name="T11" fmla="*/ 100 h 119"/>
                  <a:gd name="T12" fmla="*/ 48 w 60"/>
                  <a:gd name="T13" fmla="*/ 117 h 119"/>
                  <a:gd name="T14" fmla="*/ 43 w 60"/>
                  <a:gd name="T15" fmla="*/ 110 h 119"/>
                  <a:gd name="T16" fmla="*/ 26 w 60"/>
                  <a:gd name="T17" fmla="*/ 105 h 119"/>
                  <a:gd name="T18" fmla="*/ 19 w 60"/>
                  <a:gd name="T19" fmla="*/ 103 h 119"/>
                  <a:gd name="T20" fmla="*/ 2 w 60"/>
                  <a:gd name="T21" fmla="*/ 84 h 119"/>
                  <a:gd name="T22" fmla="*/ 12 w 60"/>
                  <a:gd name="T23" fmla="*/ 0 h 119"/>
                  <a:gd name="T24" fmla="*/ 43 w 60"/>
                  <a:gd name="T25" fmla="*/ 4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119"/>
                  <a:gd name="T41" fmla="*/ 60 w 60"/>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119">
                    <a:moveTo>
                      <a:pt x="43" y="4"/>
                    </a:moveTo>
                    <a:cubicBezTo>
                      <a:pt x="46" y="29"/>
                      <a:pt x="49" y="57"/>
                      <a:pt x="60" y="79"/>
                    </a:cubicBezTo>
                    <a:cubicBezTo>
                      <a:pt x="57" y="81"/>
                      <a:pt x="55" y="85"/>
                      <a:pt x="52" y="84"/>
                    </a:cubicBezTo>
                    <a:cubicBezTo>
                      <a:pt x="49" y="83"/>
                      <a:pt x="50" y="78"/>
                      <a:pt x="48" y="76"/>
                    </a:cubicBezTo>
                    <a:cubicBezTo>
                      <a:pt x="44" y="71"/>
                      <a:pt x="38" y="67"/>
                      <a:pt x="33" y="62"/>
                    </a:cubicBezTo>
                    <a:cubicBezTo>
                      <a:pt x="24" y="75"/>
                      <a:pt x="39" y="94"/>
                      <a:pt x="52" y="100"/>
                    </a:cubicBezTo>
                    <a:cubicBezTo>
                      <a:pt x="51" y="106"/>
                      <a:pt x="52" y="113"/>
                      <a:pt x="48" y="117"/>
                    </a:cubicBezTo>
                    <a:cubicBezTo>
                      <a:pt x="46" y="119"/>
                      <a:pt x="46" y="111"/>
                      <a:pt x="43" y="110"/>
                    </a:cubicBezTo>
                    <a:cubicBezTo>
                      <a:pt x="38" y="107"/>
                      <a:pt x="32" y="107"/>
                      <a:pt x="26" y="105"/>
                    </a:cubicBezTo>
                    <a:cubicBezTo>
                      <a:pt x="24" y="104"/>
                      <a:pt x="19" y="103"/>
                      <a:pt x="19" y="103"/>
                    </a:cubicBezTo>
                    <a:cubicBezTo>
                      <a:pt x="12" y="98"/>
                      <a:pt x="2" y="84"/>
                      <a:pt x="2" y="84"/>
                    </a:cubicBezTo>
                    <a:cubicBezTo>
                      <a:pt x="0" y="48"/>
                      <a:pt x="5" y="13"/>
                      <a:pt x="12" y="0"/>
                    </a:cubicBezTo>
                    <a:cubicBezTo>
                      <a:pt x="28" y="4"/>
                      <a:pt x="18" y="2"/>
                      <a:pt x="43" y="4"/>
                    </a:cubicBezTo>
                    <a:close/>
                  </a:path>
                </a:pathLst>
              </a:custGeom>
              <a:solidFill>
                <a:srgbClr val="C38557"/>
              </a:solidFill>
              <a:ln w="12700">
                <a:noFill/>
                <a:round/>
                <a:headEnd/>
                <a:tailEnd/>
              </a:ln>
            </p:spPr>
            <p:txBody>
              <a:bodyPr lIns="45720" tIns="46800" rIns="45720" bIns="46800" anchor="ctr"/>
              <a:lstStyle/>
              <a:p>
                <a:pPr defTabSz="912546"/>
                <a:endParaRPr>
                  <a:solidFill>
                    <a:srgbClr val="000000"/>
                  </a:solidFill>
                </a:endParaRPr>
              </a:p>
            </p:txBody>
          </p:sp>
          <p:sp>
            <p:nvSpPr>
              <p:cNvPr id="441482" name="Freeform 937"/>
              <p:cNvSpPr>
                <a:spLocks/>
              </p:cNvSpPr>
              <p:nvPr/>
            </p:nvSpPr>
            <p:spPr bwMode="gray">
              <a:xfrm>
                <a:off x="2314" y="1007"/>
                <a:ext cx="34" cy="33"/>
              </a:xfrm>
              <a:custGeom>
                <a:avLst/>
                <a:gdLst>
                  <a:gd name="T0" fmla="*/ 1 w 34"/>
                  <a:gd name="T1" fmla="*/ 3 h 33"/>
                  <a:gd name="T2" fmla="*/ 28 w 34"/>
                  <a:gd name="T3" fmla="*/ 8 h 33"/>
                  <a:gd name="T4" fmla="*/ 23 w 34"/>
                  <a:gd name="T5" fmla="*/ 18 h 33"/>
                  <a:gd name="T6" fmla="*/ 1 w 34"/>
                  <a:gd name="T7" fmla="*/ 18 h 33"/>
                  <a:gd name="T8" fmla="*/ 4 w 34"/>
                  <a:gd name="T9" fmla="*/ 8 h 33"/>
                  <a:gd name="T10" fmla="*/ 11 w 34"/>
                  <a:gd name="T11" fmla="*/ 6 h 33"/>
                  <a:gd name="T12" fmla="*/ 1 w 34"/>
                  <a:gd name="T13" fmla="*/ 1 h 33"/>
                  <a:gd name="T14" fmla="*/ 1 w 34"/>
                  <a:gd name="T15" fmla="*/ 3 h 33"/>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33"/>
                  <a:gd name="T26" fmla="*/ 34 w 34"/>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33">
                    <a:moveTo>
                      <a:pt x="1" y="3"/>
                    </a:moveTo>
                    <a:cubicBezTo>
                      <a:pt x="12" y="0"/>
                      <a:pt x="19" y="2"/>
                      <a:pt x="28" y="8"/>
                    </a:cubicBezTo>
                    <a:cubicBezTo>
                      <a:pt x="29" y="15"/>
                      <a:pt x="34" y="33"/>
                      <a:pt x="23" y="18"/>
                    </a:cubicBezTo>
                    <a:cubicBezTo>
                      <a:pt x="13" y="25"/>
                      <a:pt x="12" y="21"/>
                      <a:pt x="1" y="18"/>
                    </a:cubicBezTo>
                    <a:cubicBezTo>
                      <a:pt x="2" y="15"/>
                      <a:pt x="2" y="11"/>
                      <a:pt x="4" y="8"/>
                    </a:cubicBezTo>
                    <a:cubicBezTo>
                      <a:pt x="6" y="6"/>
                      <a:pt x="12" y="8"/>
                      <a:pt x="11" y="6"/>
                    </a:cubicBezTo>
                    <a:cubicBezTo>
                      <a:pt x="10" y="3"/>
                      <a:pt x="5" y="2"/>
                      <a:pt x="1" y="1"/>
                    </a:cubicBezTo>
                    <a:cubicBezTo>
                      <a:pt x="0" y="1"/>
                      <a:pt x="1" y="2"/>
                      <a:pt x="1" y="3"/>
                    </a:cubicBezTo>
                    <a:close/>
                  </a:path>
                </a:pathLst>
              </a:custGeom>
              <a:solidFill>
                <a:srgbClr val="AD7047"/>
              </a:solidFill>
              <a:ln w="12700">
                <a:noFill/>
                <a:round/>
                <a:headEnd/>
                <a:tailEnd/>
              </a:ln>
            </p:spPr>
            <p:txBody>
              <a:bodyPr lIns="45720" tIns="46800" rIns="45720" bIns="46800" anchor="ctr"/>
              <a:lstStyle/>
              <a:p>
                <a:pPr defTabSz="912546"/>
                <a:endParaRPr>
                  <a:solidFill>
                    <a:srgbClr val="000000"/>
                  </a:solidFill>
                </a:endParaRPr>
              </a:p>
            </p:txBody>
          </p:sp>
          <p:sp>
            <p:nvSpPr>
              <p:cNvPr id="441483" name="Freeform 938"/>
              <p:cNvSpPr>
                <a:spLocks/>
              </p:cNvSpPr>
              <p:nvPr/>
            </p:nvSpPr>
            <p:spPr bwMode="gray">
              <a:xfrm>
                <a:off x="2360" y="1005"/>
                <a:ext cx="27" cy="30"/>
              </a:xfrm>
              <a:custGeom>
                <a:avLst/>
                <a:gdLst>
                  <a:gd name="T0" fmla="*/ 27 w 27"/>
                  <a:gd name="T1" fmla="*/ 0 h 30"/>
                  <a:gd name="T2" fmla="*/ 0 w 27"/>
                  <a:gd name="T3" fmla="*/ 19 h 30"/>
                  <a:gd name="T4" fmla="*/ 27 w 27"/>
                  <a:gd name="T5" fmla="*/ 14 h 30"/>
                  <a:gd name="T6" fmla="*/ 27 w 27"/>
                  <a:gd name="T7" fmla="*/ 0 h 30"/>
                  <a:gd name="T8" fmla="*/ 0 60000 65536"/>
                  <a:gd name="T9" fmla="*/ 0 60000 65536"/>
                  <a:gd name="T10" fmla="*/ 0 60000 65536"/>
                  <a:gd name="T11" fmla="*/ 0 60000 65536"/>
                  <a:gd name="T12" fmla="*/ 0 w 27"/>
                  <a:gd name="T13" fmla="*/ 0 h 30"/>
                  <a:gd name="T14" fmla="*/ 27 w 27"/>
                  <a:gd name="T15" fmla="*/ 30 h 30"/>
                </a:gdLst>
                <a:ahLst/>
                <a:cxnLst>
                  <a:cxn ang="T8">
                    <a:pos x="T0" y="T1"/>
                  </a:cxn>
                  <a:cxn ang="T9">
                    <a:pos x="T2" y="T3"/>
                  </a:cxn>
                  <a:cxn ang="T10">
                    <a:pos x="T4" y="T5"/>
                  </a:cxn>
                  <a:cxn ang="T11">
                    <a:pos x="T6" y="T7"/>
                  </a:cxn>
                </a:cxnLst>
                <a:rect l="T12" t="T13" r="T14" b="T15"/>
                <a:pathLst>
                  <a:path w="27" h="30">
                    <a:moveTo>
                      <a:pt x="27" y="0"/>
                    </a:moveTo>
                    <a:cubicBezTo>
                      <a:pt x="12" y="5"/>
                      <a:pt x="6" y="5"/>
                      <a:pt x="0" y="19"/>
                    </a:cubicBezTo>
                    <a:cubicBezTo>
                      <a:pt x="5" y="30"/>
                      <a:pt x="12" y="18"/>
                      <a:pt x="27" y="14"/>
                    </a:cubicBezTo>
                    <a:cubicBezTo>
                      <a:pt x="20" y="5"/>
                      <a:pt x="20" y="9"/>
                      <a:pt x="27" y="0"/>
                    </a:cubicBezTo>
                    <a:close/>
                  </a:path>
                </a:pathLst>
              </a:custGeom>
              <a:solidFill>
                <a:srgbClr val="AD7047"/>
              </a:solidFill>
              <a:ln w="12700">
                <a:noFill/>
                <a:round/>
                <a:headEnd/>
                <a:tailEnd/>
              </a:ln>
            </p:spPr>
            <p:txBody>
              <a:bodyPr lIns="45720" tIns="46800" rIns="45720" bIns="46800" anchor="ctr"/>
              <a:lstStyle/>
              <a:p>
                <a:pPr defTabSz="912546"/>
                <a:endParaRPr>
                  <a:solidFill>
                    <a:srgbClr val="000000"/>
                  </a:solidFill>
                </a:endParaRPr>
              </a:p>
            </p:txBody>
          </p:sp>
          <p:sp>
            <p:nvSpPr>
              <p:cNvPr id="441484" name="Freeform 939"/>
              <p:cNvSpPr>
                <a:spLocks/>
              </p:cNvSpPr>
              <p:nvPr/>
            </p:nvSpPr>
            <p:spPr bwMode="gray">
              <a:xfrm>
                <a:off x="2318" y="1085"/>
                <a:ext cx="74" cy="57"/>
              </a:xfrm>
              <a:custGeom>
                <a:avLst/>
                <a:gdLst>
                  <a:gd name="T0" fmla="*/ 63 w 74"/>
                  <a:gd name="T1" fmla="*/ 2 h 57"/>
                  <a:gd name="T2" fmla="*/ 10 w 74"/>
                  <a:gd name="T3" fmla="*/ 0 h 57"/>
                  <a:gd name="T4" fmla="*/ 3 w 74"/>
                  <a:gd name="T5" fmla="*/ 43 h 57"/>
                  <a:gd name="T6" fmla="*/ 1 w 74"/>
                  <a:gd name="T7" fmla="*/ 55 h 57"/>
                  <a:gd name="T8" fmla="*/ 3 w 74"/>
                  <a:gd name="T9" fmla="*/ 48 h 57"/>
                  <a:gd name="T10" fmla="*/ 8 w 74"/>
                  <a:gd name="T11" fmla="*/ 38 h 57"/>
                  <a:gd name="T12" fmla="*/ 49 w 74"/>
                  <a:gd name="T13" fmla="*/ 17 h 57"/>
                  <a:gd name="T14" fmla="*/ 63 w 74"/>
                  <a:gd name="T15" fmla="*/ 2 h 57"/>
                  <a:gd name="T16" fmla="*/ 0 60000 65536"/>
                  <a:gd name="T17" fmla="*/ 0 60000 65536"/>
                  <a:gd name="T18" fmla="*/ 0 60000 65536"/>
                  <a:gd name="T19" fmla="*/ 0 60000 65536"/>
                  <a:gd name="T20" fmla="*/ 0 60000 65536"/>
                  <a:gd name="T21" fmla="*/ 0 60000 65536"/>
                  <a:gd name="T22" fmla="*/ 0 60000 65536"/>
                  <a:gd name="T23" fmla="*/ 0 60000 65536"/>
                  <a:gd name="T24" fmla="*/ 0 w 74"/>
                  <a:gd name="T25" fmla="*/ 0 h 57"/>
                  <a:gd name="T26" fmla="*/ 74 w 74"/>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 h="57">
                    <a:moveTo>
                      <a:pt x="63" y="2"/>
                    </a:moveTo>
                    <a:cubicBezTo>
                      <a:pt x="47" y="18"/>
                      <a:pt x="28" y="4"/>
                      <a:pt x="10" y="0"/>
                    </a:cubicBezTo>
                    <a:cubicBezTo>
                      <a:pt x="0" y="7"/>
                      <a:pt x="4" y="34"/>
                      <a:pt x="3" y="43"/>
                    </a:cubicBezTo>
                    <a:cubicBezTo>
                      <a:pt x="2" y="47"/>
                      <a:pt x="1" y="51"/>
                      <a:pt x="1" y="55"/>
                    </a:cubicBezTo>
                    <a:cubicBezTo>
                      <a:pt x="1" y="57"/>
                      <a:pt x="2" y="50"/>
                      <a:pt x="3" y="48"/>
                    </a:cubicBezTo>
                    <a:cubicBezTo>
                      <a:pt x="4" y="45"/>
                      <a:pt x="6" y="41"/>
                      <a:pt x="8" y="38"/>
                    </a:cubicBezTo>
                    <a:cubicBezTo>
                      <a:pt x="19" y="22"/>
                      <a:pt x="32" y="19"/>
                      <a:pt x="49" y="17"/>
                    </a:cubicBezTo>
                    <a:cubicBezTo>
                      <a:pt x="52" y="16"/>
                      <a:pt x="74" y="2"/>
                      <a:pt x="63" y="2"/>
                    </a:cubicBezTo>
                    <a:close/>
                  </a:path>
                </a:pathLst>
              </a:custGeom>
              <a:solidFill>
                <a:srgbClr val="AD7047"/>
              </a:solidFill>
              <a:ln w="12700">
                <a:noFill/>
                <a:round/>
                <a:headEnd/>
                <a:tailEnd/>
              </a:ln>
            </p:spPr>
            <p:txBody>
              <a:bodyPr lIns="45720" tIns="46800" rIns="45720" bIns="46800" anchor="ctr"/>
              <a:lstStyle/>
              <a:p>
                <a:pPr defTabSz="912546"/>
                <a:endParaRPr>
                  <a:solidFill>
                    <a:srgbClr val="000000"/>
                  </a:solidFill>
                </a:endParaRPr>
              </a:p>
            </p:txBody>
          </p:sp>
          <p:sp>
            <p:nvSpPr>
              <p:cNvPr id="441485" name="Freeform 940"/>
              <p:cNvSpPr>
                <a:spLocks/>
              </p:cNvSpPr>
              <p:nvPr/>
            </p:nvSpPr>
            <p:spPr bwMode="gray">
              <a:xfrm>
                <a:off x="2308" y="1126"/>
                <a:ext cx="37" cy="94"/>
              </a:xfrm>
              <a:custGeom>
                <a:avLst/>
                <a:gdLst>
                  <a:gd name="T0" fmla="*/ 13 w 37"/>
                  <a:gd name="T1" fmla="*/ 0 h 94"/>
                  <a:gd name="T2" fmla="*/ 30 w 37"/>
                  <a:gd name="T3" fmla="*/ 45 h 94"/>
                  <a:gd name="T4" fmla="*/ 37 w 37"/>
                  <a:gd name="T5" fmla="*/ 72 h 94"/>
                  <a:gd name="T6" fmla="*/ 32 w 37"/>
                  <a:gd name="T7" fmla="*/ 84 h 94"/>
                  <a:gd name="T8" fmla="*/ 8 w 37"/>
                  <a:gd name="T9" fmla="*/ 45 h 94"/>
                  <a:gd name="T10" fmla="*/ 13 w 37"/>
                  <a:gd name="T11" fmla="*/ 0 h 94"/>
                  <a:gd name="T12" fmla="*/ 0 60000 65536"/>
                  <a:gd name="T13" fmla="*/ 0 60000 65536"/>
                  <a:gd name="T14" fmla="*/ 0 60000 65536"/>
                  <a:gd name="T15" fmla="*/ 0 60000 65536"/>
                  <a:gd name="T16" fmla="*/ 0 60000 65536"/>
                  <a:gd name="T17" fmla="*/ 0 60000 65536"/>
                  <a:gd name="T18" fmla="*/ 0 w 37"/>
                  <a:gd name="T19" fmla="*/ 0 h 94"/>
                  <a:gd name="T20" fmla="*/ 37 w 37"/>
                  <a:gd name="T21" fmla="*/ 94 h 94"/>
                </a:gdLst>
                <a:ahLst/>
                <a:cxnLst>
                  <a:cxn ang="T12">
                    <a:pos x="T0" y="T1"/>
                  </a:cxn>
                  <a:cxn ang="T13">
                    <a:pos x="T2" y="T3"/>
                  </a:cxn>
                  <a:cxn ang="T14">
                    <a:pos x="T4" y="T5"/>
                  </a:cxn>
                  <a:cxn ang="T15">
                    <a:pos x="T6" y="T7"/>
                  </a:cxn>
                  <a:cxn ang="T16">
                    <a:pos x="T8" y="T9"/>
                  </a:cxn>
                  <a:cxn ang="T17">
                    <a:pos x="T10" y="T11"/>
                  </a:cxn>
                </a:cxnLst>
                <a:rect l="T18" t="T19" r="T20" b="T21"/>
                <a:pathLst>
                  <a:path w="37" h="94">
                    <a:moveTo>
                      <a:pt x="13" y="0"/>
                    </a:moveTo>
                    <a:cubicBezTo>
                      <a:pt x="7" y="18"/>
                      <a:pt x="23" y="29"/>
                      <a:pt x="30" y="45"/>
                    </a:cubicBezTo>
                    <a:cubicBezTo>
                      <a:pt x="34" y="54"/>
                      <a:pt x="34" y="63"/>
                      <a:pt x="37" y="72"/>
                    </a:cubicBezTo>
                    <a:cubicBezTo>
                      <a:pt x="29" y="94"/>
                      <a:pt x="37" y="76"/>
                      <a:pt x="32" y="84"/>
                    </a:cubicBezTo>
                    <a:cubicBezTo>
                      <a:pt x="30" y="73"/>
                      <a:pt x="13" y="55"/>
                      <a:pt x="8" y="45"/>
                    </a:cubicBezTo>
                    <a:cubicBezTo>
                      <a:pt x="5" y="30"/>
                      <a:pt x="0" y="11"/>
                      <a:pt x="13" y="0"/>
                    </a:cubicBezTo>
                    <a:close/>
                  </a:path>
                </a:pathLst>
              </a:custGeom>
              <a:solidFill>
                <a:srgbClr val="AD7047"/>
              </a:solidFill>
              <a:ln w="12700">
                <a:noFill/>
                <a:round/>
                <a:headEnd/>
                <a:tailEnd/>
              </a:ln>
            </p:spPr>
            <p:txBody>
              <a:bodyPr lIns="45720" tIns="46800" rIns="45720" bIns="46800" anchor="ctr"/>
              <a:lstStyle/>
              <a:p>
                <a:pPr defTabSz="912546"/>
                <a:endParaRPr>
                  <a:solidFill>
                    <a:srgbClr val="000000"/>
                  </a:solidFill>
                </a:endParaRPr>
              </a:p>
            </p:txBody>
          </p:sp>
          <p:sp>
            <p:nvSpPr>
              <p:cNvPr id="441486" name="Freeform 941"/>
              <p:cNvSpPr>
                <a:spLocks/>
              </p:cNvSpPr>
              <p:nvPr/>
            </p:nvSpPr>
            <p:spPr bwMode="gray">
              <a:xfrm>
                <a:off x="2468" y="1577"/>
                <a:ext cx="57" cy="26"/>
              </a:xfrm>
              <a:custGeom>
                <a:avLst/>
                <a:gdLst>
                  <a:gd name="T0" fmla="*/ 57 w 57"/>
                  <a:gd name="T1" fmla="*/ 0 h 26"/>
                  <a:gd name="T2" fmla="*/ 14 w 57"/>
                  <a:gd name="T3" fmla="*/ 14 h 26"/>
                  <a:gd name="T4" fmla="*/ 18 w 57"/>
                  <a:gd name="T5" fmla="*/ 2 h 26"/>
                  <a:gd name="T6" fmla="*/ 57 w 57"/>
                  <a:gd name="T7" fmla="*/ 0 h 26"/>
                  <a:gd name="T8" fmla="*/ 0 60000 65536"/>
                  <a:gd name="T9" fmla="*/ 0 60000 65536"/>
                  <a:gd name="T10" fmla="*/ 0 60000 65536"/>
                  <a:gd name="T11" fmla="*/ 0 60000 65536"/>
                  <a:gd name="T12" fmla="*/ 0 w 57"/>
                  <a:gd name="T13" fmla="*/ 0 h 26"/>
                  <a:gd name="T14" fmla="*/ 57 w 57"/>
                  <a:gd name="T15" fmla="*/ 26 h 26"/>
                </a:gdLst>
                <a:ahLst/>
                <a:cxnLst>
                  <a:cxn ang="T8">
                    <a:pos x="T0" y="T1"/>
                  </a:cxn>
                  <a:cxn ang="T9">
                    <a:pos x="T2" y="T3"/>
                  </a:cxn>
                  <a:cxn ang="T10">
                    <a:pos x="T4" y="T5"/>
                  </a:cxn>
                  <a:cxn ang="T11">
                    <a:pos x="T6" y="T7"/>
                  </a:cxn>
                </a:cxnLst>
                <a:rect l="T12" t="T13" r="T14" b="T15"/>
                <a:pathLst>
                  <a:path w="57" h="26">
                    <a:moveTo>
                      <a:pt x="57" y="0"/>
                    </a:moveTo>
                    <a:cubicBezTo>
                      <a:pt x="51" y="26"/>
                      <a:pt x="44" y="17"/>
                      <a:pt x="14" y="14"/>
                    </a:cubicBezTo>
                    <a:cubicBezTo>
                      <a:pt x="0" y="11"/>
                      <a:pt x="9" y="3"/>
                      <a:pt x="18" y="2"/>
                    </a:cubicBezTo>
                    <a:cubicBezTo>
                      <a:pt x="31" y="1"/>
                      <a:pt x="44" y="1"/>
                      <a:pt x="57" y="0"/>
                    </a:cubicBezTo>
                    <a:close/>
                  </a:path>
                </a:pathLst>
              </a:custGeom>
              <a:solidFill>
                <a:srgbClr val="EBEDEF"/>
              </a:solidFill>
              <a:ln w="12700">
                <a:noFill/>
                <a:round/>
                <a:headEnd/>
                <a:tailEnd/>
              </a:ln>
            </p:spPr>
            <p:txBody>
              <a:bodyPr lIns="45720" tIns="46800" rIns="45720" bIns="46800" anchor="ctr"/>
              <a:lstStyle/>
              <a:p>
                <a:pPr defTabSz="912546"/>
                <a:endParaRPr>
                  <a:solidFill>
                    <a:srgbClr val="000000"/>
                  </a:solidFill>
                </a:endParaRPr>
              </a:p>
            </p:txBody>
          </p:sp>
          <p:sp>
            <p:nvSpPr>
              <p:cNvPr id="441487" name="Freeform 942"/>
              <p:cNvSpPr>
                <a:spLocks/>
              </p:cNvSpPr>
              <p:nvPr/>
            </p:nvSpPr>
            <p:spPr bwMode="gray">
              <a:xfrm>
                <a:off x="2188" y="1580"/>
                <a:ext cx="59" cy="21"/>
              </a:xfrm>
              <a:custGeom>
                <a:avLst/>
                <a:gdLst>
                  <a:gd name="T0" fmla="*/ 15 w 59"/>
                  <a:gd name="T1" fmla="*/ 4 h 21"/>
                  <a:gd name="T2" fmla="*/ 44 w 59"/>
                  <a:gd name="T3" fmla="*/ 21 h 21"/>
                  <a:gd name="T4" fmla="*/ 15 w 59"/>
                  <a:gd name="T5" fmla="*/ 4 h 21"/>
                  <a:gd name="T6" fmla="*/ 0 60000 65536"/>
                  <a:gd name="T7" fmla="*/ 0 60000 65536"/>
                  <a:gd name="T8" fmla="*/ 0 60000 65536"/>
                  <a:gd name="T9" fmla="*/ 0 w 59"/>
                  <a:gd name="T10" fmla="*/ 0 h 21"/>
                  <a:gd name="T11" fmla="*/ 59 w 59"/>
                  <a:gd name="T12" fmla="*/ 21 h 21"/>
                </a:gdLst>
                <a:ahLst/>
                <a:cxnLst>
                  <a:cxn ang="T6">
                    <a:pos x="T0" y="T1"/>
                  </a:cxn>
                  <a:cxn ang="T7">
                    <a:pos x="T2" y="T3"/>
                  </a:cxn>
                  <a:cxn ang="T8">
                    <a:pos x="T4" y="T5"/>
                  </a:cxn>
                </a:cxnLst>
                <a:rect l="T9" t="T10" r="T11" b="T12"/>
                <a:pathLst>
                  <a:path w="59" h="21">
                    <a:moveTo>
                      <a:pt x="15" y="4"/>
                    </a:moveTo>
                    <a:cubicBezTo>
                      <a:pt x="32" y="5"/>
                      <a:pt x="59" y="0"/>
                      <a:pt x="44" y="21"/>
                    </a:cubicBezTo>
                    <a:cubicBezTo>
                      <a:pt x="35" y="19"/>
                      <a:pt x="0" y="19"/>
                      <a:pt x="15" y="4"/>
                    </a:cubicBezTo>
                    <a:close/>
                  </a:path>
                </a:pathLst>
              </a:custGeom>
              <a:solidFill>
                <a:srgbClr val="EBEDEF"/>
              </a:solidFill>
              <a:ln w="12700">
                <a:noFill/>
                <a:round/>
                <a:headEnd/>
                <a:tailEnd/>
              </a:ln>
            </p:spPr>
            <p:txBody>
              <a:bodyPr lIns="45720" tIns="46800" rIns="45720" bIns="46800" anchor="ctr"/>
              <a:lstStyle/>
              <a:p>
                <a:pPr defTabSz="912546"/>
                <a:endParaRPr>
                  <a:solidFill>
                    <a:srgbClr val="000000"/>
                  </a:solidFill>
                </a:endParaRPr>
              </a:p>
            </p:txBody>
          </p:sp>
          <p:sp>
            <p:nvSpPr>
              <p:cNvPr id="441488" name="Freeform 943"/>
              <p:cNvSpPr>
                <a:spLocks/>
              </p:cNvSpPr>
              <p:nvPr/>
            </p:nvSpPr>
            <p:spPr bwMode="gray">
              <a:xfrm>
                <a:off x="2347" y="1162"/>
                <a:ext cx="89" cy="342"/>
              </a:xfrm>
              <a:custGeom>
                <a:avLst/>
                <a:gdLst>
                  <a:gd name="T0" fmla="*/ 70 w 89"/>
                  <a:gd name="T1" fmla="*/ 0 h 342"/>
                  <a:gd name="T2" fmla="*/ 89 w 89"/>
                  <a:gd name="T3" fmla="*/ 24 h 342"/>
                  <a:gd name="T4" fmla="*/ 77 w 89"/>
                  <a:gd name="T5" fmla="*/ 52 h 342"/>
                  <a:gd name="T6" fmla="*/ 51 w 89"/>
                  <a:gd name="T7" fmla="*/ 103 h 342"/>
                  <a:gd name="T8" fmla="*/ 36 w 89"/>
                  <a:gd name="T9" fmla="*/ 129 h 342"/>
                  <a:gd name="T10" fmla="*/ 24 w 89"/>
                  <a:gd name="T11" fmla="*/ 160 h 342"/>
                  <a:gd name="T12" fmla="*/ 5 w 89"/>
                  <a:gd name="T13" fmla="*/ 218 h 342"/>
                  <a:gd name="T14" fmla="*/ 0 w 89"/>
                  <a:gd name="T15" fmla="*/ 324 h 342"/>
                  <a:gd name="T16" fmla="*/ 3 w 89"/>
                  <a:gd name="T17" fmla="*/ 271 h 342"/>
                  <a:gd name="T18" fmla="*/ 12 w 89"/>
                  <a:gd name="T19" fmla="*/ 182 h 342"/>
                  <a:gd name="T20" fmla="*/ 27 w 89"/>
                  <a:gd name="T21" fmla="*/ 151 h 342"/>
                  <a:gd name="T22" fmla="*/ 48 w 89"/>
                  <a:gd name="T23" fmla="*/ 105 h 342"/>
                  <a:gd name="T24" fmla="*/ 82 w 89"/>
                  <a:gd name="T25" fmla="*/ 52 h 342"/>
                  <a:gd name="T26" fmla="*/ 75 w 89"/>
                  <a:gd name="T27" fmla="*/ 38 h 342"/>
                  <a:gd name="T28" fmla="*/ 89 w 89"/>
                  <a:gd name="T29" fmla="*/ 28 h 342"/>
                  <a:gd name="T30" fmla="*/ 70 w 89"/>
                  <a:gd name="T31" fmla="*/ 0 h 3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342"/>
                  <a:gd name="T50" fmla="*/ 89 w 89"/>
                  <a:gd name="T51" fmla="*/ 342 h 3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342">
                    <a:moveTo>
                      <a:pt x="70" y="0"/>
                    </a:moveTo>
                    <a:cubicBezTo>
                      <a:pt x="80" y="6"/>
                      <a:pt x="83" y="15"/>
                      <a:pt x="89" y="24"/>
                    </a:cubicBezTo>
                    <a:cubicBezTo>
                      <a:pt x="49" y="29"/>
                      <a:pt x="58" y="27"/>
                      <a:pt x="77" y="52"/>
                    </a:cubicBezTo>
                    <a:cubicBezTo>
                      <a:pt x="67" y="68"/>
                      <a:pt x="60" y="86"/>
                      <a:pt x="51" y="103"/>
                    </a:cubicBezTo>
                    <a:cubicBezTo>
                      <a:pt x="46" y="112"/>
                      <a:pt x="36" y="129"/>
                      <a:pt x="36" y="129"/>
                    </a:cubicBezTo>
                    <a:cubicBezTo>
                      <a:pt x="34" y="140"/>
                      <a:pt x="28" y="150"/>
                      <a:pt x="24" y="160"/>
                    </a:cubicBezTo>
                    <a:cubicBezTo>
                      <a:pt x="20" y="180"/>
                      <a:pt x="9" y="198"/>
                      <a:pt x="5" y="218"/>
                    </a:cubicBezTo>
                    <a:cubicBezTo>
                      <a:pt x="1" y="258"/>
                      <a:pt x="0" y="269"/>
                      <a:pt x="0" y="324"/>
                    </a:cubicBezTo>
                    <a:cubicBezTo>
                      <a:pt x="0" y="342"/>
                      <a:pt x="2" y="289"/>
                      <a:pt x="3" y="271"/>
                    </a:cubicBezTo>
                    <a:cubicBezTo>
                      <a:pt x="5" y="242"/>
                      <a:pt x="6" y="210"/>
                      <a:pt x="12" y="182"/>
                    </a:cubicBezTo>
                    <a:cubicBezTo>
                      <a:pt x="15" y="171"/>
                      <a:pt x="27" y="151"/>
                      <a:pt x="27" y="151"/>
                    </a:cubicBezTo>
                    <a:cubicBezTo>
                      <a:pt x="30" y="135"/>
                      <a:pt x="36" y="117"/>
                      <a:pt x="48" y="105"/>
                    </a:cubicBezTo>
                    <a:cubicBezTo>
                      <a:pt x="56" y="87"/>
                      <a:pt x="71" y="69"/>
                      <a:pt x="82" y="52"/>
                    </a:cubicBezTo>
                    <a:cubicBezTo>
                      <a:pt x="81" y="51"/>
                      <a:pt x="73" y="41"/>
                      <a:pt x="75" y="38"/>
                    </a:cubicBezTo>
                    <a:cubicBezTo>
                      <a:pt x="78" y="33"/>
                      <a:pt x="89" y="28"/>
                      <a:pt x="89" y="28"/>
                    </a:cubicBezTo>
                    <a:cubicBezTo>
                      <a:pt x="87" y="16"/>
                      <a:pt x="84" y="0"/>
                      <a:pt x="70" y="0"/>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89" name="Freeform 944"/>
              <p:cNvSpPr>
                <a:spLocks/>
              </p:cNvSpPr>
              <p:nvPr/>
            </p:nvSpPr>
            <p:spPr bwMode="gray">
              <a:xfrm>
                <a:off x="2261" y="1164"/>
                <a:ext cx="90" cy="176"/>
              </a:xfrm>
              <a:custGeom>
                <a:avLst/>
                <a:gdLst>
                  <a:gd name="T0" fmla="*/ 24 w 90"/>
                  <a:gd name="T1" fmla="*/ 0 h 176"/>
                  <a:gd name="T2" fmla="*/ 12 w 90"/>
                  <a:gd name="T3" fmla="*/ 29 h 176"/>
                  <a:gd name="T4" fmla="*/ 9 w 90"/>
                  <a:gd name="T5" fmla="*/ 38 h 176"/>
                  <a:gd name="T6" fmla="*/ 19 w 90"/>
                  <a:gd name="T7" fmla="*/ 36 h 176"/>
                  <a:gd name="T8" fmla="*/ 26 w 90"/>
                  <a:gd name="T9" fmla="*/ 38 h 176"/>
                  <a:gd name="T10" fmla="*/ 14 w 90"/>
                  <a:gd name="T11" fmla="*/ 60 h 176"/>
                  <a:gd name="T12" fmla="*/ 29 w 90"/>
                  <a:gd name="T13" fmla="*/ 89 h 176"/>
                  <a:gd name="T14" fmla="*/ 45 w 90"/>
                  <a:gd name="T15" fmla="*/ 110 h 176"/>
                  <a:gd name="T16" fmla="*/ 62 w 90"/>
                  <a:gd name="T17" fmla="*/ 134 h 176"/>
                  <a:gd name="T18" fmla="*/ 69 w 90"/>
                  <a:gd name="T19" fmla="*/ 161 h 176"/>
                  <a:gd name="T20" fmla="*/ 62 w 90"/>
                  <a:gd name="T21" fmla="*/ 154 h 176"/>
                  <a:gd name="T22" fmla="*/ 31 w 90"/>
                  <a:gd name="T23" fmla="*/ 103 h 176"/>
                  <a:gd name="T24" fmla="*/ 5 w 90"/>
                  <a:gd name="T25" fmla="*/ 74 h 176"/>
                  <a:gd name="T26" fmla="*/ 17 w 90"/>
                  <a:gd name="T27" fmla="*/ 48 h 176"/>
                  <a:gd name="T28" fmla="*/ 9 w 90"/>
                  <a:gd name="T29" fmla="*/ 46 h 176"/>
                  <a:gd name="T30" fmla="*/ 0 w 90"/>
                  <a:gd name="T31" fmla="*/ 48 h 176"/>
                  <a:gd name="T32" fmla="*/ 24 w 90"/>
                  <a:gd name="T33" fmla="*/ 0 h 17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176"/>
                  <a:gd name="T53" fmla="*/ 90 w 90"/>
                  <a:gd name="T54" fmla="*/ 176 h 17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176">
                    <a:moveTo>
                      <a:pt x="24" y="0"/>
                    </a:moveTo>
                    <a:cubicBezTo>
                      <a:pt x="8" y="31"/>
                      <a:pt x="18" y="8"/>
                      <a:pt x="12" y="29"/>
                    </a:cubicBezTo>
                    <a:cubicBezTo>
                      <a:pt x="11" y="32"/>
                      <a:pt x="7" y="36"/>
                      <a:pt x="9" y="38"/>
                    </a:cubicBezTo>
                    <a:cubicBezTo>
                      <a:pt x="11" y="40"/>
                      <a:pt x="16" y="37"/>
                      <a:pt x="19" y="36"/>
                    </a:cubicBezTo>
                    <a:cubicBezTo>
                      <a:pt x="21" y="37"/>
                      <a:pt x="26" y="36"/>
                      <a:pt x="26" y="38"/>
                    </a:cubicBezTo>
                    <a:cubicBezTo>
                      <a:pt x="27" y="41"/>
                      <a:pt x="16" y="57"/>
                      <a:pt x="14" y="60"/>
                    </a:cubicBezTo>
                    <a:cubicBezTo>
                      <a:pt x="10" y="73"/>
                      <a:pt x="19" y="83"/>
                      <a:pt x="29" y="89"/>
                    </a:cubicBezTo>
                    <a:cubicBezTo>
                      <a:pt x="33" y="99"/>
                      <a:pt x="36" y="105"/>
                      <a:pt x="45" y="110"/>
                    </a:cubicBezTo>
                    <a:cubicBezTo>
                      <a:pt x="51" y="119"/>
                      <a:pt x="55" y="127"/>
                      <a:pt x="62" y="134"/>
                    </a:cubicBezTo>
                    <a:cubicBezTo>
                      <a:pt x="65" y="142"/>
                      <a:pt x="90" y="176"/>
                      <a:pt x="69" y="161"/>
                    </a:cubicBezTo>
                    <a:cubicBezTo>
                      <a:pt x="66" y="159"/>
                      <a:pt x="64" y="156"/>
                      <a:pt x="62" y="154"/>
                    </a:cubicBezTo>
                    <a:cubicBezTo>
                      <a:pt x="58" y="139"/>
                      <a:pt x="42" y="114"/>
                      <a:pt x="31" y="103"/>
                    </a:cubicBezTo>
                    <a:cubicBezTo>
                      <a:pt x="28" y="92"/>
                      <a:pt x="14" y="82"/>
                      <a:pt x="5" y="74"/>
                    </a:cubicBezTo>
                    <a:cubicBezTo>
                      <a:pt x="8" y="51"/>
                      <a:pt x="10" y="64"/>
                      <a:pt x="17" y="48"/>
                    </a:cubicBezTo>
                    <a:cubicBezTo>
                      <a:pt x="14" y="47"/>
                      <a:pt x="12" y="46"/>
                      <a:pt x="9" y="46"/>
                    </a:cubicBezTo>
                    <a:cubicBezTo>
                      <a:pt x="6" y="46"/>
                      <a:pt x="0" y="51"/>
                      <a:pt x="0" y="48"/>
                    </a:cubicBezTo>
                    <a:cubicBezTo>
                      <a:pt x="0" y="37"/>
                      <a:pt x="15" y="9"/>
                      <a:pt x="24" y="0"/>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90" name="Freeform 945"/>
              <p:cNvSpPr>
                <a:spLocks/>
              </p:cNvSpPr>
              <p:nvPr/>
            </p:nvSpPr>
            <p:spPr bwMode="gray">
              <a:xfrm>
                <a:off x="2345" y="1180"/>
                <a:ext cx="168" cy="413"/>
              </a:xfrm>
              <a:custGeom>
                <a:avLst/>
                <a:gdLst>
                  <a:gd name="T0" fmla="*/ 134 w 168"/>
                  <a:gd name="T1" fmla="*/ 15 h 413"/>
                  <a:gd name="T2" fmla="*/ 139 w 168"/>
                  <a:gd name="T3" fmla="*/ 121 h 413"/>
                  <a:gd name="T4" fmla="*/ 141 w 168"/>
                  <a:gd name="T5" fmla="*/ 123 h 413"/>
                  <a:gd name="T6" fmla="*/ 132 w 168"/>
                  <a:gd name="T7" fmla="*/ 154 h 413"/>
                  <a:gd name="T8" fmla="*/ 139 w 168"/>
                  <a:gd name="T9" fmla="*/ 224 h 413"/>
                  <a:gd name="T10" fmla="*/ 161 w 168"/>
                  <a:gd name="T11" fmla="*/ 212 h 413"/>
                  <a:gd name="T12" fmla="*/ 168 w 168"/>
                  <a:gd name="T13" fmla="*/ 214 h 413"/>
                  <a:gd name="T14" fmla="*/ 146 w 168"/>
                  <a:gd name="T15" fmla="*/ 243 h 413"/>
                  <a:gd name="T16" fmla="*/ 129 w 168"/>
                  <a:gd name="T17" fmla="*/ 286 h 413"/>
                  <a:gd name="T18" fmla="*/ 120 w 168"/>
                  <a:gd name="T19" fmla="*/ 339 h 413"/>
                  <a:gd name="T20" fmla="*/ 122 w 168"/>
                  <a:gd name="T21" fmla="*/ 409 h 413"/>
                  <a:gd name="T22" fmla="*/ 129 w 168"/>
                  <a:gd name="T23" fmla="*/ 411 h 413"/>
                  <a:gd name="T24" fmla="*/ 79 w 168"/>
                  <a:gd name="T25" fmla="*/ 397 h 413"/>
                  <a:gd name="T26" fmla="*/ 55 w 168"/>
                  <a:gd name="T27" fmla="*/ 363 h 413"/>
                  <a:gd name="T28" fmla="*/ 17 w 168"/>
                  <a:gd name="T29" fmla="*/ 325 h 413"/>
                  <a:gd name="T30" fmla="*/ 26 w 168"/>
                  <a:gd name="T31" fmla="*/ 327 h 413"/>
                  <a:gd name="T32" fmla="*/ 41 w 168"/>
                  <a:gd name="T33" fmla="*/ 339 h 413"/>
                  <a:gd name="T34" fmla="*/ 105 w 168"/>
                  <a:gd name="T35" fmla="*/ 390 h 413"/>
                  <a:gd name="T36" fmla="*/ 122 w 168"/>
                  <a:gd name="T37" fmla="*/ 267 h 413"/>
                  <a:gd name="T38" fmla="*/ 117 w 168"/>
                  <a:gd name="T39" fmla="*/ 226 h 413"/>
                  <a:gd name="T40" fmla="*/ 125 w 168"/>
                  <a:gd name="T41" fmla="*/ 222 h 413"/>
                  <a:gd name="T42" fmla="*/ 120 w 168"/>
                  <a:gd name="T43" fmla="*/ 207 h 413"/>
                  <a:gd name="T44" fmla="*/ 122 w 168"/>
                  <a:gd name="T45" fmla="*/ 104 h 413"/>
                  <a:gd name="T46" fmla="*/ 113 w 168"/>
                  <a:gd name="T47" fmla="*/ 123 h 413"/>
                  <a:gd name="T48" fmla="*/ 69 w 168"/>
                  <a:gd name="T49" fmla="*/ 157 h 413"/>
                  <a:gd name="T50" fmla="*/ 96 w 168"/>
                  <a:gd name="T51" fmla="*/ 157 h 413"/>
                  <a:gd name="T52" fmla="*/ 120 w 168"/>
                  <a:gd name="T53" fmla="*/ 118 h 413"/>
                  <a:gd name="T54" fmla="*/ 127 w 168"/>
                  <a:gd name="T55" fmla="*/ 70 h 413"/>
                  <a:gd name="T56" fmla="*/ 134 w 168"/>
                  <a:gd name="T57" fmla="*/ 22 h 413"/>
                  <a:gd name="T58" fmla="*/ 144 w 168"/>
                  <a:gd name="T59" fmla="*/ 8 h 413"/>
                  <a:gd name="T60" fmla="*/ 134 w 168"/>
                  <a:gd name="T61" fmla="*/ 15 h 41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413"/>
                  <a:gd name="T95" fmla="*/ 168 w 168"/>
                  <a:gd name="T96" fmla="*/ 413 h 41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413">
                    <a:moveTo>
                      <a:pt x="134" y="15"/>
                    </a:moveTo>
                    <a:cubicBezTo>
                      <a:pt x="145" y="31"/>
                      <a:pt x="136" y="95"/>
                      <a:pt x="139" y="121"/>
                    </a:cubicBezTo>
                    <a:cubicBezTo>
                      <a:pt x="143" y="89"/>
                      <a:pt x="153" y="102"/>
                      <a:pt x="141" y="123"/>
                    </a:cubicBezTo>
                    <a:cubicBezTo>
                      <a:pt x="139" y="135"/>
                      <a:pt x="134" y="142"/>
                      <a:pt x="132" y="154"/>
                    </a:cubicBezTo>
                    <a:cubicBezTo>
                      <a:pt x="134" y="200"/>
                      <a:pt x="133" y="195"/>
                      <a:pt x="139" y="224"/>
                    </a:cubicBezTo>
                    <a:cubicBezTo>
                      <a:pt x="152" y="221"/>
                      <a:pt x="149" y="215"/>
                      <a:pt x="161" y="212"/>
                    </a:cubicBezTo>
                    <a:cubicBezTo>
                      <a:pt x="163" y="213"/>
                      <a:pt x="168" y="212"/>
                      <a:pt x="168" y="214"/>
                    </a:cubicBezTo>
                    <a:cubicBezTo>
                      <a:pt x="168" y="216"/>
                      <a:pt x="148" y="240"/>
                      <a:pt x="146" y="243"/>
                    </a:cubicBezTo>
                    <a:cubicBezTo>
                      <a:pt x="142" y="258"/>
                      <a:pt x="136" y="273"/>
                      <a:pt x="129" y="286"/>
                    </a:cubicBezTo>
                    <a:cubicBezTo>
                      <a:pt x="126" y="304"/>
                      <a:pt x="124" y="321"/>
                      <a:pt x="120" y="339"/>
                    </a:cubicBezTo>
                    <a:cubicBezTo>
                      <a:pt x="121" y="362"/>
                      <a:pt x="119" y="386"/>
                      <a:pt x="122" y="409"/>
                    </a:cubicBezTo>
                    <a:cubicBezTo>
                      <a:pt x="122" y="411"/>
                      <a:pt x="130" y="413"/>
                      <a:pt x="129" y="411"/>
                    </a:cubicBezTo>
                    <a:cubicBezTo>
                      <a:pt x="121" y="399"/>
                      <a:pt x="90" y="400"/>
                      <a:pt x="79" y="397"/>
                    </a:cubicBezTo>
                    <a:cubicBezTo>
                      <a:pt x="73" y="384"/>
                      <a:pt x="63" y="375"/>
                      <a:pt x="55" y="363"/>
                    </a:cubicBezTo>
                    <a:cubicBezTo>
                      <a:pt x="51" y="349"/>
                      <a:pt x="28" y="333"/>
                      <a:pt x="17" y="325"/>
                    </a:cubicBezTo>
                    <a:cubicBezTo>
                      <a:pt x="0" y="312"/>
                      <a:pt x="23" y="325"/>
                      <a:pt x="26" y="327"/>
                    </a:cubicBezTo>
                    <a:cubicBezTo>
                      <a:pt x="41" y="340"/>
                      <a:pt x="25" y="329"/>
                      <a:pt x="41" y="339"/>
                    </a:cubicBezTo>
                    <a:cubicBezTo>
                      <a:pt x="58" y="363"/>
                      <a:pt x="77" y="381"/>
                      <a:pt x="105" y="390"/>
                    </a:cubicBezTo>
                    <a:cubicBezTo>
                      <a:pt x="134" y="367"/>
                      <a:pt x="117" y="306"/>
                      <a:pt x="122" y="267"/>
                    </a:cubicBezTo>
                    <a:cubicBezTo>
                      <a:pt x="120" y="253"/>
                      <a:pt x="116" y="240"/>
                      <a:pt x="117" y="226"/>
                    </a:cubicBezTo>
                    <a:cubicBezTo>
                      <a:pt x="117" y="223"/>
                      <a:pt x="124" y="225"/>
                      <a:pt x="125" y="222"/>
                    </a:cubicBezTo>
                    <a:cubicBezTo>
                      <a:pt x="127" y="217"/>
                      <a:pt x="121" y="212"/>
                      <a:pt x="120" y="207"/>
                    </a:cubicBezTo>
                    <a:cubicBezTo>
                      <a:pt x="118" y="174"/>
                      <a:pt x="113" y="137"/>
                      <a:pt x="122" y="104"/>
                    </a:cubicBezTo>
                    <a:cubicBezTo>
                      <a:pt x="117" y="86"/>
                      <a:pt x="116" y="117"/>
                      <a:pt x="113" y="123"/>
                    </a:cubicBezTo>
                    <a:cubicBezTo>
                      <a:pt x="104" y="142"/>
                      <a:pt x="86" y="147"/>
                      <a:pt x="69" y="157"/>
                    </a:cubicBezTo>
                    <a:cubicBezTo>
                      <a:pt x="65" y="172"/>
                      <a:pt x="87" y="159"/>
                      <a:pt x="96" y="157"/>
                    </a:cubicBezTo>
                    <a:cubicBezTo>
                      <a:pt x="114" y="144"/>
                      <a:pt x="110" y="138"/>
                      <a:pt x="120" y="118"/>
                    </a:cubicBezTo>
                    <a:cubicBezTo>
                      <a:pt x="117" y="98"/>
                      <a:pt x="118" y="87"/>
                      <a:pt x="127" y="70"/>
                    </a:cubicBezTo>
                    <a:cubicBezTo>
                      <a:pt x="130" y="55"/>
                      <a:pt x="129" y="36"/>
                      <a:pt x="134" y="22"/>
                    </a:cubicBezTo>
                    <a:cubicBezTo>
                      <a:pt x="136" y="17"/>
                      <a:pt x="144" y="8"/>
                      <a:pt x="144" y="8"/>
                    </a:cubicBezTo>
                    <a:cubicBezTo>
                      <a:pt x="134" y="1"/>
                      <a:pt x="138" y="0"/>
                      <a:pt x="134" y="15"/>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91" name="Freeform 946"/>
              <p:cNvSpPr>
                <a:spLocks/>
              </p:cNvSpPr>
              <p:nvPr/>
            </p:nvSpPr>
            <p:spPr bwMode="gray">
              <a:xfrm>
                <a:off x="2216" y="1189"/>
                <a:ext cx="115" cy="405"/>
              </a:xfrm>
              <a:custGeom>
                <a:avLst/>
                <a:gdLst>
                  <a:gd name="T0" fmla="*/ 6 w 115"/>
                  <a:gd name="T1" fmla="*/ 9 h 405"/>
                  <a:gd name="T2" fmla="*/ 18 w 115"/>
                  <a:gd name="T3" fmla="*/ 28 h 405"/>
                  <a:gd name="T4" fmla="*/ 28 w 115"/>
                  <a:gd name="T5" fmla="*/ 42 h 405"/>
                  <a:gd name="T6" fmla="*/ 40 w 115"/>
                  <a:gd name="T7" fmla="*/ 78 h 405"/>
                  <a:gd name="T8" fmla="*/ 86 w 115"/>
                  <a:gd name="T9" fmla="*/ 155 h 405"/>
                  <a:gd name="T10" fmla="*/ 45 w 115"/>
                  <a:gd name="T11" fmla="*/ 141 h 405"/>
                  <a:gd name="T12" fmla="*/ 76 w 115"/>
                  <a:gd name="T13" fmla="*/ 220 h 405"/>
                  <a:gd name="T14" fmla="*/ 54 w 115"/>
                  <a:gd name="T15" fmla="*/ 222 h 405"/>
                  <a:gd name="T16" fmla="*/ 40 w 115"/>
                  <a:gd name="T17" fmla="*/ 201 h 405"/>
                  <a:gd name="T18" fmla="*/ 33 w 115"/>
                  <a:gd name="T19" fmla="*/ 311 h 405"/>
                  <a:gd name="T20" fmla="*/ 38 w 115"/>
                  <a:gd name="T21" fmla="*/ 361 h 405"/>
                  <a:gd name="T22" fmla="*/ 81 w 115"/>
                  <a:gd name="T23" fmla="*/ 342 h 405"/>
                  <a:gd name="T24" fmla="*/ 102 w 115"/>
                  <a:gd name="T25" fmla="*/ 328 h 405"/>
                  <a:gd name="T26" fmla="*/ 107 w 115"/>
                  <a:gd name="T27" fmla="*/ 321 h 405"/>
                  <a:gd name="T28" fmla="*/ 90 w 115"/>
                  <a:gd name="T29" fmla="*/ 345 h 405"/>
                  <a:gd name="T30" fmla="*/ 38 w 115"/>
                  <a:gd name="T31" fmla="*/ 373 h 405"/>
                  <a:gd name="T32" fmla="*/ 33 w 115"/>
                  <a:gd name="T33" fmla="*/ 402 h 405"/>
                  <a:gd name="T34" fmla="*/ 28 w 115"/>
                  <a:gd name="T35" fmla="*/ 395 h 405"/>
                  <a:gd name="T36" fmla="*/ 18 w 115"/>
                  <a:gd name="T37" fmla="*/ 390 h 405"/>
                  <a:gd name="T38" fmla="*/ 26 w 115"/>
                  <a:gd name="T39" fmla="*/ 369 h 405"/>
                  <a:gd name="T40" fmla="*/ 33 w 115"/>
                  <a:gd name="T41" fmla="*/ 270 h 405"/>
                  <a:gd name="T42" fmla="*/ 21 w 115"/>
                  <a:gd name="T43" fmla="*/ 241 h 405"/>
                  <a:gd name="T44" fmla="*/ 26 w 115"/>
                  <a:gd name="T45" fmla="*/ 227 h 405"/>
                  <a:gd name="T46" fmla="*/ 9 w 115"/>
                  <a:gd name="T47" fmla="*/ 196 h 405"/>
                  <a:gd name="T48" fmla="*/ 16 w 115"/>
                  <a:gd name="T49" fmla="*/ 186 h 405"/>
                  <a:gd name="T50" fmla="*/ 26 w 115"/>
                  <a:gd name="T51" fmla="*/ 169 h 405"/>
                  <a:gd name="T52" fmla="*/ 28 w 115"/>
                  <a:gd name="T53" fmla="*/ 112 h 405"/>
                  <a:gd name="T54" fmla="*/ 30 w 115"/>
                  <a:gd name="T55" fmla="*/ 105 h 405"/>
                  <a:gd name="T56" fmla="*/ 11 w 115"/>
                  <a:gd name="T57" fmla="*/ 30 h 405"/>
                  <a:gd name="T58" fmla="*/ 6 w 115"/>
                  <a:gd name="T59" fmla="*/ 9 h 4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5"/>
                  <a:gd name="T91" fmla="*/ 0 h 405"/>
                  <a:gd name="T92" fmla="*/ 115 w 115"/>
                  <a:gd name="T93" fmla="*/ 405 h 40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5" h="405">
                    <a:moveTo>
                      <a:pt x="6" y="9"/>
                    </a:moveTo>
                    <a:cubicBezTo>
                      <a:pt x="10" y="19"/>
                      <a:pt x="11" y="20"/>
                      <a:pt x="18" y="28"/>
                    </a:cubicBezTo>
                    <a:cubicBezTo>
                      <a:pt x="22" y="32"/>
                      <a:pt x="28" y="42"/>
                      <a:pt x="28" y="42"/>
                    </a:cubicBezTo>
                    <a:cubicBezTo>
                      <a:pt x="32" y="54"/>
                      <a:pt x="37" y="65"/>
                      <a:pt x="40" y="78"/>
                    </a:cubicBezTo>
                    <a:cubicBezTo>
                      <a:pt x="32" y="119"/>
                      <a:pt x="53" y="138"/>
                      <a:pt x="86" y="155"/>
                    </a:cubicBezTo>
                    <a:cubicBezTo>
                      <a:pt x="72" y="159"/>
                      <a:pt x="58" y="147"/>
                      <a:pt x="45" y="141"/>
                    </a:cubicBezTo>
                    <a:cubicBezTo>
                      <a:pt x="48" y="180"/>
                      <a:pt x="55" y="189"/>
                      <a:pt x="76" y="220"/>
                    </a:cubicBezTo>
                    <a:cubicBezTo>
                      <a:pt x="73" y="235"/>
                      <a:pt x="65" y="228"/>
                      <a:pt x="54" y="222"/>
                    </a:cubicBezTo>
                    <a:cubicBezTo>
                      <a:pt x="52" y="212"/>
                      <a:pt x="51" y="204"/>
                      <a:pt x="40" y="201"/>
                    </a:cubicBezTo>
                    <a:cubicBezTo>
                      <a:pt x="42" y="242"/>
                      <a:pt x="44" y="272"/>
                      <a:pt x="33" y="311"/>
                    </a:cubicBezTo>
                    <a:cubicBezTo>
                      <a:pt x="31" y="327"/>
                      <a:pt x="20" y="352"/>
                      <a:pt x="38" y="361"/>
                    </a:cubicBezTo>
                    <a:cubicBezTo>
                      <a:pt x="54" y="356"/>
                      <a:pt x="66" y="350"/>
                      <a:pt x="81" y="342"/>
                    </a:cubicBezTo>
                    <a:cubicBezTo>
                      <a:pt x="89" y="338"/>
                      <a:pt x="93" y="331"/>
                      <a:pt x="102" y="328"/>
                    </a:cubicBezTo>
                    <a:cubicBezTo>
                      <a:pt x="104" y="326"/>
                      <a:pt x="104" y="321"/>
                      <a:pt x="107" y="321"/>
                    </a:cubicBezTo>
                    <a:cubicBezTo>
                      <a:pt x="115" y="321"/>
                      <a:pt x="92" y="344"/>
                      <a:pt x="90" y="345"/>
                    </a:cubicBezTo>
                    <a:cubicBezTo>
                      <a:pt x="73" y="359"/>
                      <a:pt x="60" y="368"/>
                      <a:pt x="38" y="373"/>
                    </a:cubicBezTo>
                    <a:cubicBezTo>
                      <a:pt x="35" y="382"/>
                      <a:pt x="37" y="393"/>
                      <a:pt x="33" y="402"/>
                    </a:cubicBezTo>
                    <a:cubicBezTo>
                      <a:pt x="32" y="405"/>
                      <a:pt x="30" y="397"/>
                      <a:pt x="28" y="395"/>
                    </a:cubicBezTo>
                    <a:cubicBezTo>
                      <a:pt x="25" y="393"/>
                      <a:pt x="21" y="392"/>
                      <a:pt x="18" y="390"/>
                    </a:cubicBezTo>
                    <a:cubicBezTo>
                      <a:pt x="29" y="374"/>
                      <a:pt x="30" y="382"/>
                      <a:pt x="26" y="369"/>
                    </a:cubicBezTo>
                    <a:cubicBezTo>
                      <a:pt x="27" y="337"/>
                      <a:pt x="25" y="301"/>
                      <a:pt x="33" y="270"/>
                    </a:cubicBezTo>
                    <a:cubicBezTo>
                      <a:pt x="27" y="243"/>
                      <a:pt x="35" y="251"/>
                      <a:pt x="21" y="241"/>
                    </a:cubicBezTo>
                    <a:cubicBezTo>
                      <a:pt x="16" y="232"/>
                      <a:pt x="12" y="223"/>
                      <a:pt x="26" y="227"/>
                    </a:cubicBezTo>
                    <a:cubicBezTo>
                      <a:pt x="30" y="208"/>
                      <a:pt x="30" y="201"/>
                      <a:pt x="9" y="196"/>
                    </a:cubicBezTo>
                    <a:cubicBezTo>
                      <a:pt x="3" y="187"/>
                      <a:pt x="4" y="177"/>
                      <a:pt x="16" y="186"/>
                    </a:cubicBezTo>
                    <a:cubicBezTo>
                      <a:pt x="18" y="180"/>
                      <a:pt x="25" y="176"/>
                      <a:pt x="26" y="169"/>
                    </a:cubicBezTo>
                    <a:cubicBezTo>
                      <a:pt x="29" y="150"/>
                      <a:pt x="27" y="131"/>
                      <a:pt x="28" y="112"/>
                    </a:cubicBezTo>
                    <a:cubicBezTo>
                      <a:pt x="28" y="110"/>
                      <a:pt x="29" y="107"/>
                      <a:pt x="30" y="105"/>
                    </a:cubicBezTo>
                    <a:cubicBezTo>
                      <a:pt x="29" y="84"/>
                      <a:pt x="31" y="44"/>
                      <a:pt x="11" y="30"/>
                    </a:cubicBezTo>
                    <a:cubicBezTo>
                      <a:pt x="10" y="27"/>
                      <a:pt x="0" y="0"/>
                      <a:pt x="6" y="9"/>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92" name="Freeform 947"/>
              <p:cNvSpPr>
                <a:spLocks/>
              </p:cNvSpPr>
              <p:nvPr/>
            </p:nvSpPr>
            <p:spPr bwMode="gray">
              <a:xfrm>
                <a:off x="2407" y="1432"/>
                <a:ext cx="64" cy="31"/>
              </a:xfrm>
              <a:custGeom>
                <a:avLst/>
                <a:gdLst>
                  <a:gd name="T0" fmla="*/ 55 w 64"/>
                  <a:gd name="T1" fmla="*/ 3 h 31"/>
                  <a:gd name="T2" fmla="*/ 0 w 64"/>
                  <a:gd name="T3" fmla="*/ 22 h 31"/>
                  <a:gd name="T4" fmla="*/ 58 w 64"/>
                  <a:gd name="T5" fmla="*/ 15 h 31"/>
                  <a:gd name="T6" fmla="*/ 63 w 64"/>
                  <a:gd name="T7" fmla="*/ 6 h 31"/>
                  <a:gd name="T8" fmla="*/ 55 w 64"/>
                  <a:gd name="T9" fmla="*/ 3 h 31"/>
                  <a:gd name="T10" fmla="*/ 0 60000 65536"/>
                  <a:gd name="T11" fmla="*/ 0 60000 65536"/>
                  <a:gd name="T12" fmla="*/ 0 60000 65536"/>
                  <a:gd name="T13" fmla="*/ 0 60000 65536"/>
                  <a:gd name="T14" fmla="*/ 0 60000 65536"/>
                  <a:gd name="T15" fmla="*/ 0 w 64"/>
                  <a:gd name="T16" fmla="*/ 0 h 31"/>
                  <a:gd name="T17" fmla="*/ 64 w 64"/>
                  <a:gd name="T18" fmla="*/ 31 h 31"/>
                </a:gdLst>
                <a:ahLst/>
                <a:cxnLst>
                  <a:cxn ang="T10">
                    <a:pos x="T0" y="T1"/>
                  </a:cxn>
                  <a:cxn ang="T11">
                    <a:pos x="T2" y="T3"/>
                  </a:cxn>
                  <a:cxn ang="T12">
                    <a:pos x="T4" y="T5"/>
                  </a:cxn>
                  <a:cxn ang="T13">
                    <a:pos x="T6" y="T7"/>
                  </a:cxn>
                  <a:cxn ang="T14">
                    <a:pos x="T8" y="T9"/>
                  </a:cxn>
                </a:cxnLst>
                <a:rect l="T15" t="T16" r="T17" b="T18"/>
                <a:pathLst>
                  <a:path w="64" h="31">
                    <a:moveTo>
                      <a:pt x="55" y="3"/>
                    </a:moveTo>
                    <a:cubicBezTo>
                      <a:pt x="33" y="20"/>
                      <a:pt x="31" y="20"/>
                      <a:pt x="0" y="22"/>
                    </a:cubicBezTo>
                    <a:cubicBezTo>
                      <a:pt x="17" y="31"/>
                      <a:pt x="40" y="23"/>
                      <a:pt x="58" y="15"/>
                    </a:cubicBezTo>
                    <a:cubicBezTo>
                      <a:pt x="60" y="12"/>
                      <a:pt x="64" y="9"/>
                      <a:pt x="63" y="6"/>
                    </a:cubicBezTo>
                    <a:cubicBezTo>
                      <a:pt x="62" y="3"/>
                      <a:pt x="55" y="0"/>
                      <a:pt x="55" y="3"/>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93" name="Freeform 948"/>
              <p:cNvSpPr>
                <a:spLocks/>
              </p:cNvSpPr>
              <p:nvPr/>
            </p:nvSpPr>
            <p:spPr bwMode="gray">
              <a:xfrm>
                <a:off x="2324" y="1601"/>
                <a:ext cx="73" cy="129"/>
              </a:xfrm>
              <a:custGeom>
                <a:avLst/>
                <a:gdLst>
                  <a:gd name="T0" fmla="*/ 66 w 73"/>
                  <a:gd name="T1" fmla="*/ 0 h 129"/>
                  <a:gd name="T2" fmla="*/ 45 w 73"/>
                  <a:gd name="T3" fmla="*/ 24 h 129"/>
                  <a:gd name="T4" fmla="*/ 47 w 73"/>
                  <a:gd name="T5" fmla="*/ 98 h 129"/>
                  <a:gd name="T6" fmla="*/ 26 w 73"/>
                  <a:gd name="T7" fmla="*/ 17 h 129"/>
                  <a:gd name="T8" fmla="*/ 9 w 73"/>
                  <a:gd name="T9" fmla="*/ 2 h 129"/>
                  <a:gd name="T10" fmla="*/ 2 w 73"/>
                  <a:gd name="T11" fmla="*/ 0 h 129"/>
                  <a:gd name="T12" fmla="*/ 18 w 73"/>
                  <a:gd name="T13" fmla="*/ 2 h 129"/>
                  <a:gd name="T14" fmla="*/ 64 w 73"/>
                  <a:gd name="T15" fmla="*/ 9 h 129"/>
                  <a:gd name="T16" fmla="*/ 66 w 73"/>
                  <a:gd name="T17" fmla="*/ 0 h 1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129"/>
                  <a:gd name="T29" fmla="*/ 73 w 73"/>
                  <a:gd name="T30" fmla="*/ 129 h 1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129">
                    <a:moveTo>
                      <a:pt x="66" y="0"/>
                    </a:moveTo>
                    <a:cubicBezTo>
                      <a:pt x="59" y="9"/>
                      <a:pt x="52" y="15"/>
                      <a:pt x="45" y="24"/>
                    </a:cubicBezTo>
                    <a:cubicBezTo>
                      <a:pt x="51" y="51"/>
                      <a:pt x="38" y="129"/>
                      <a:pt x="47" y="98"/>
                    </a:cubicBezTo>
                    <a:cubicBezTo>
                      <a:pt x="41" y="78"/>
                      <a:pt x="47" y="23"/>
                      <a:pt x="26" y="17"/>
                    </a:cubicBezTo>
                    <a:cubicBezTo>
                      <a:pt x="20" y="12"/>
                      <a:pt x="15" y="6"/>
                      <a:pt x="9" y="2"/>
                    </a:cubicBezTo>
                    <a:cubicBezTo>
                      <a:pt x="7" y="1"/>
                      <a:pt x="0" y="0"/>
                      <a:pt x="2" y="0"/>
                    </a:cubicBezTo>
                    <a:cubicBezTo>
                      <a:pt x="7" y="0"/>
                      <a:pt x="13" y="1"/>
                      <a:pt x="18" y="2"/>
                    </a:cubicBezTo>
                    <a:cubicBezTo>
                      <a:pt x="35" y="17"/>
                      <a:pt x="42" y="13"/>
                      <a:pt x="64" y="9"/>
                    </a:cubicBezTo>
                    <a:cubicBezTo>
                      <a:pt x="73" y="4"/>
                      <a:pt x="73" y="7"/>
                      <a:pt x="66" y="0"/>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sp>
            <p:nvSpPr>
              <p:cNvPr id="441494" name="Freeform 949"/>
              <p:cNvSpPr>
                <a:spLocks/>
              </p:cNvSpPr>
              <p:nvPr/>
            </p:nvSpPr>
            <p:spPr bwMode="gray">
              <a:xfrm>
                <a:off x="2246" y="1774"/>
                <a:ext cx="60" cy="363"/>
              </a:xfrm>
              <a:custGeom>
                <a:avLst/>
                <a:gdLst>
                  <a:gd name="T0" fmla="*/ 5 w 60"/>
                  <a:gd name="T1" fmla="*/ 7 h 363"/>
                  <a:gd name="T2" fmla="*/ 27 w 60"/>
                  <a:gd name="T3" fmla="*/ 70 h 363"/>
                  <a:gd name="T4" fmla="*/ 22 w 60"/>
                  <a:gd name="T5" fmla="*/ 77 h 363"/>
                  <a:gd name="T6" fmla="*/ 12 w 60"/>
                  <a:gd name="T7" fmla="*/ 63 h 363"/>
                  <a:gd name="T8" fmla="*/ 5 w 60"/>
                  <a:gd name="T9" fmla="*/ 72 h 363"/>
                  <a:gd name="T10" fmla="*/ 22 w 60"/>
                  <a:gd name="T11" fmla="*/ 175 h 363"/>
                  <a:gd name="T12" fmla="*/ 31 w 60"/>
                  <a:gd name="T13" fmla="*/ 168 h 363"/>
                  <a:gd name="T14" fmla="*/ 22 w 60"/>
                  <a:gd name="T15" fmla="*/ 190 h 363"/>
                  <a:gd name="T16" fmla="*/ 39 w 60"/>
                  <a:gd name="T17" fmla="*/ 315 h 363"/>
                  <a:gd name="T18" fmla="*/ 55 w 60"/>
                  <a:gd name="T19" fmla="*/ 329 h 363"/>
                  <a:gd name="T20" fmla="*/ 46 w 60"/>
                  <a:gd name="T21" fmla="*/ 363 h 363"/>
                  <a:gd name="T22" fmla="*/ 17 w 60"/>
                  <a:gd name="T23" fmla="*/ 305 h 363"/>
                  <a:gd name="T24" fmla="*/ 15 w 60"/>
                  <a:gd name="T25" fmla="*/ 247 h 363"/>
                  <a:gd name="T26" fmla="*/ 7 w 60"/>
                  <a:gd name="T27" fmla="*/ 219 h 363"/>
                  <a:gd name="T28" fmla="*/ 0 w 60"/>
                  <a:gd name="T29" fmla="*/ 113 h 363"/>
                  <a:gd name="T30" fmla="*/ 0 w 60"/>
                  <a:gd name="T31" fmla="*/ 39 h 363"/>
                  <a:gd name="T32" fmla="*/ 5 w 60"/>
                  <a:gd name="T33" fmla="*/ 7 h 363"/>
                  <a:gd name="T34" fmla="*/ 0 w 60"/>
                  <a:gd name="T35" fmla="*/ 0 h 363"/>
                  <a:gd name="T36" fmla="*/ 5 w 60"/>
                  <a:gd name="T37" fmla="*/ 7 h 3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363"/>
                  <a:gd name="T59" fmla="*/ 60 w 60"/>
                  <a:gd name="T60" fmla="*/ 363 h 3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363">
                    <a:moveTo>
                      <a:pt x="5" y="7"/>
                    </a:moveTo>
                    <a:cubicBezTo>
                      <a:pt x="17" y="26"/>
                      <a:pt x="17" y="50"/>
                      <a:pt x="27" y="70"/>
                    </a:cubicBezTo>
                    <a:cubicBezTo>
                      <a:pt x="25" y="72"/>
                      <a:pt x="25" y="78"/>
                      <a:pt x="22" y="77"/>
                    </a:cubicBezTo>
                    <a:cubicBezTo>
                      <a:pt x="17" y="75"/>
                      <a:pt x="12" y="63"/>
                      <a:pt x="12" y="63"/>
                    </a:cubicBezTo>
                    <a:cubicBezTo>
                      <a:pt x="8" y="47"/>
                      <a:pt x="8" y="35"/>
                      <a:pt x="5" y="72"/>
                    </a:cubicBezTo>
                    <a:cubicBezTo>
                      <a:pt x="7" y="108"/>
                      <a:pt x="11" y="141"/>
                      <a:pt x="22" y="175"/>
                    </a:cubicBezTo>
                    <a:cubicBezTo>
                      <a:pt x="27" y="168"/>
                      <a:pt x="27" y="155"/>
                      <a:pt x="31" y="168"/>
                    </a:cubicBezTo>
                    <a:cubicBezTo>
                      <a:pt x="29" y="177"/>
                      <a:pt x="27" y="183"/>
                      <a:pt x="22" y="190"/>
                    </a:cubicBezTo>
                    <a:cubicBezTo>
                      <a:pt x="24" y="232"/>
                      <a:pt x="16" y="278"/>
                      <a:pt x="39" y="315"/>
                    </a:cubicBezTo>
                    <a:cubicBezTo>
                      <a:pt x="42" y="325"/>
                      <a:pt x="47" y="323"/>
                      <a:pt x="55" y="329"/>
                    </a:cubicBezTo>
                    <a:cubicBezTo>
                      <a:pt x="60" y="341"/>
                      <a:pt x="52" y="352"/>
                      <a:pt x="46" y="363"/>
                    </a:cubicBezTo>
                    <a:cubicBezTo>
                      <a:pt x="42" y="342"/>
                      <a:pt x="27" y="325"/>
                      <a:pt x="17" y="305"/>
                    </a:cubicBezTo>
                    <a:cubicBezTo>
                      <a:pt x="12" y="278"/>
                      <a:pt x="12" y="288"/>
                      <a:pt x="15" y="247"/>
                    </a:cubicBezTo>
                    <a:cubicBezTo>
                      <a:pt x="13" y="237"/>
                      <a:pt x="10" y="228"/>
                      <a:pt x="7" y="219"/>
                    </a:cubicBezTo>
                    <a:cubicBezTo>
                      <a:pt x="11" y="186"/>
                      <a:pt x="10" y="145"/>
                      <a:pt x="0" y="113"/>
                    </a:cubicBezTo>
                    <a:cubicBezTo>
                      <a:pt x="3" y="87"/>
                      <a:pt x="8" y="64"/>
                      <a:pt x="0" y="39"/>
                    </a:cubicBezTo>
                    <a:cubicBezTo>
                      <a:pt x="2" y="29"/>
                      <a:pt x="6" y="17"/>
                      <a:pt x="5" y="7"/>
                    </a:cubicBezTo>
                    <a:cubicBezTo>
                      <a:pt x="5" y="4"/>
                      <a:pt x="0" y="0"/>
                      <a:pt x="0" y="0"/>
                    </a:cubicBezTo>
                    <a:cubicBezTo>
                      <a:pt x="0" y="0"/>
                      <a:pt x="3" y="5"/>
                      <a:pt x="5" y="7"/>
                    </a:cubicBezTo>
                    <a:close/>
                  </a:path>
                </a:pathLst>
              </a:custGeom>
              <a:solidFill>
                <a:srgbClr val="2B2B2B"/>
              </a:solidFill>
              <a:ln w="12700">
                <a:noFill/>
                <a:round/>
                <a:headEnd/>
                <a:tailEnd/>
              </a:ln>
            </p:spPr>
            <p:txBody>
              <a:bodyPr lIns="45720" tIns="46800" rIns="45720" bIns="46800" anchor="ctr"/>
              <a:lstStyle/>
              <a:p>
                <a:pPr defTabSz="912546"/>
                <a:endParaRPr>
                  <a:solidFill>
                    <a:srgbClr val="000000"/>
                  </a:solidFill>
                </a:endParaRPr>
              </a:p>
            </p:txBody>
          </p:sp>
        </p:grpSp>
      </p:grpSp>
      <p:grpSp>
        <p:nvGrpSpPr>
          <p:cNvPr id="265163" name="Group 950"/>
          <p:cNvGrpSpPr>
            <a:grpSpLocks/>
          </p:cNvGrpSpPr>
          <p:nvPr/>
        </p:nvGrpSpPr>
        <p:grpSpPr bwMode="gray">
          <a:xfrm>
            <a:off x="609600" y="2719002"/>
            <a:ext cx="1485900" cy="642938"/>
            <a:chOff x="2107" y="2248"/>
            <a:chExt cx="1020" cy="473"/>
          </a:xfrm>
        </p:grpSpPr>
        <p:sp>
          <p:nvSpPr>
            <p:cNvPr id="441468" name="Oval 951"/>
            <p:cNvSpPr>
              <a:spLocks noChangeArrowheads="1"/>
            </p:cNvSpPr>
            <p:nvPr/>
          </p:nvSpPr>
          <p:spPr bwMode="gray">
            <a:xfrm>
              <a:off x="2107" y="2296"/>
              <a:ext cx="1020" cy="425"/>
            </a:xfrm>
            <a:prstGeom prst="ellipse">
              <a:avLst/>
            </a:prstGeom>
            <a:gradFill rotWithShape="1">
              <a:gsLst>
                <a:gs pos="0">
                  <a:srgbClr val="4D4D4D"/>
                </a:gs>
                <a:gs pos="100000">
                  <a:srgbClr val="8F8F8F">
                    <a:alpha val="0"/>
                  </a:srgbClr>
                </a:gs>
              </a:gsLst>
              <a:path path="shape">
                <a:fillToRect l="50000" t="50000" r="50000" b="50000"/>
              </a:path>
            </a:gradFill>
            <a:ln w="9525">
              <a:noFill/>
              <a:round/>
              <a:headEnd/>
              <a:tailEnd/>
            </a:ln>
          </p:spPr>
          <p:txBody>
            <a:bodyPr wrap="none" anchor="ctr"/>
            <a:lstStyle/>
            <a:p>
              <a:pPr algn="ctr" defTabSz="912546"/>
              <a:endParaRPr>
                <a:solidFill>
                  <a:srgbClr val="000000"/>
                </a:solidFill>
              </a:endParaRPr>
            </a:p>
          </p:txBody>
        </p:sp>
        <p:sp>
          <p:nvSpPr>
            <p:cNvPr id="441469" name="Oval 952"/>
            <p:cNvSpPr>
              <a:spLocks noChangeArrowheads="1"/>
            </p:cNvSpPr>
            <p:nvPr/>
          </p:nvSpPr>
          <p:spPr bwMode="gray">
            <a:xfrm>
              <a:off x="2206" y="2276"/>
              <a:ext cx="794" cy="331"/>
            </a:xfrm>
            <a:prstGeom prst="ellipse">
              <a:avLst/>
            </a:prstGeom>
            <a:gradFill rotWithShape="1">
              <a:gsLst>
                <a:gs pos="0">
                  <a:srgbClr val="235091"/>
                </a:gs>
                <a:gs pos="50000">
                  <a:srgbClr val="5D7EAE"/>
                </a:gs>
                <a:gs pos="100000">
                  <a:srgbClr val="235091"/>
                </a:gs>
              </a:gsLst>
              <a:lin ang="0" scaled="1"/>
            </a:gradFill>
            <a:ln w="9525">
              <a:noFill/>
              <a:round/>
              <a:headEnd/>
              <a:tailEnd/>
            </a:ln>
          </p:spPr>
          <p:txBody>
            <a:bodyPr wrap="none" anchor="ctr"/>
            <a:lstStyle/>
            <a:p>
              <a:pPr algn="ctr" defTabSz="912546"/>
              <a:endParaRPr>
                <a:solidFill>
                  <a:srgbClr val="000000"/>
                </a:solidFill>
              </a:endParaRPr>
            </a:p>
          </p:txBody>
        </p:sp>
        <p:sp>
          <p:nvSpPr>
            <p:cNvPr id="441470" name="Oval 953"/>
            <p:cNvSpPr>
              <a:spLocks noChangeArrowheads="1"/>
            </p:cNvSpPr>
            <p:nvPr/>
          </p:nvSpPr>
          <p:spPr bwMode="gray">
            <a:xfrm>
              <a:off x="2206" y="2248"/>
              <a:ext cx="794" cy="331"/>
            </a:xfrm>
            <a:prstGeom prst="ellipse">
              <a:avLst/>
            </a:prstGeom>
            <a:gradFill rotWithShape="1">
              <a:gsLst>
                <a:gs pos="0">
                  <a:srgbClr val="235091"/>
                </a:gs>
                <a:gs pos="50000">
                  <a:srgbClr val="97ACCB"/>
                </a:gs>
                <a:gs pos="100000">
                  <a:srgbClr val="235091"/>
                </a:gs>
              </a:gsLst>
              <a:lin ang="18900000" scaled="1"/>
            </a:gradFill>
            <a:ln w="9525">
              <a:noFill/>
              <a:round/>
              <a:headEnd/>
              <a:tailEnd/>
            </a:ln>
          </p:spPr>
          <p:txBody>
            <a:bodyPr wrap="none" anchor="ctr"/>
            <a:lstStyle/>
            <a:p>
              <a:pPr algn="ctr" defTabSz="912546"/>
              <a:endParaRPr>
                <a:solidFill>
                  <a:srgbClr val="000000"/>
                </a:solidFill>
              </a:endParaRPr>
            </a:p>
          </p:txBody>
        </p:sp>
      </p:grpSp>
      <p:grpSp>
        <p:nvGrpSpPr>
          <p:cNvPr id="265164" name="Group 954"/>
          <p:cNvGrpSpPr>
            <a:grpSpLocks/>
          </p:cNvGrpSpPr>
          <p:nvPr/>
        </p:nvGrpSpPr>
        <p:grpSpPr bwMode="gray">
          <a:xfrm>
            <a:off x="838201" y="2642802"/>
            <a:ext cx="949325" cy="493713"/>
            <a:chOff x="336" y="1056"/>
            <a:chExt cx="598" cy="311"/>
          </a:xfrm>
        </p:grpSpPr>
        <p:sp>
          <p:nvSpPr>
            <p:cNvPr id="265147" name="Freeform 955"/>
            <p:cNvSpPr>
              <a:spLocks/>
            </p:cNvSpPr>
            <p:nvPr/>
          </p:nvSpPr>
          <p:spPr bwMode="gray">
            <a:xfrm rot="-9163">
              <a:off x="456" y="1228"/>
              <a:ext cx="478" cy="139"/>
            </a:xfrm>
            <a:custGeom>
              <a:avLst/>
              <a:gdLst/>
              <a:ahLst/>
              <a:cxnLst>
                <a:cxn ang="0">
                  <a:pos x="6" y="254"/>
                </a:cxn>
                <a:cxn ang="0">
                  <a:pos x="68" y="214"/>
                </a:cxn>
                <a:cxn ang="0">
                  <a:pos x="876" y="54"/>
                </a:cxn>
                <a:cxn ang="0">
                  <a:pos x="884" y="0"/>
                </a:cxn>
                <a:cxn ang="0">
                  <a:pos x="1064" y="102"/>
                </a:cxn>
                <a:cxn ang="0">
                  <a:pos x="60" y="310"/>
                </a:cxn>
                <a:cxn ang="0">
                  <a:pos x="6" y="254"/>
                </a:cxn>
              </a:cxnLst>
              <a:rect l="0" t="0" r="r" b="b"/>
              <a:pathLst>
                <a:path w="1064" h="310">
                  <a:moveTo>
                    <a:pt x="6" y="254"/>
                  </a:moveTo>
                  <a:cubicBezTo>
                    <a:pt x="0" y="214"/>
                    <a:pt x="36" y="214"/>
                    <a:pt x="68" y="214"/>
                  </a:cubicBezTo>
                  <a:lnTo>
                    <a:pt x="876" y="54"/>
                  </a:lnTo>
                  <a:lnTo>
                    <a:pt x="884" y="0"/>
                  </a:lnTo>
                  <a:lnTo>
                    <a:pt x="1064" y="102"/>
                  </a:lnTo>
                  <a:lnTo>
                    <a:pt x="60" y="310"/>
                  </a:lnTo>
                  <a:lnTo>
                    <a:pt x="6" y="254"/>
                  </a:lnTo>
                  <a:close/>
                </a:path>
              </a:pathLst>
            </a:custGeom>
            <a:gradFill rotWithShape="1">
              <a:gsLst>
                <a:gs pos="0">
                  <a:schemeClr val="bg2">
                    <a:gamma/>
                    <a:shade val="76078"/>
                    <a:invGamma/>
                  </a:schemeClr>
                </a:gs>
                <a:gs pos="100000">
                  <a:schemeClr val="bg2"/>
                </a:gs>
              </a:gsLst>
              <a:lin ang="2700000" scaled="1"/>
            </a:gradFill>
            <a:ln w="9525" cap="flat" cmpd="sng">
              <a:noFill/>
              <a:prstDash val="solid"/>
              <a:round/>
              <a:headEnd/>
              <a:tailEnd/>
            </a:ln>
            <a:effectLst/>
          </p:spPr>
          <p:txBody>
            <a:bodyPr wrap="none" anchor="ctr"/>
            <a:lstStyle/>
            <a:p>
              <a:pPr defTabSz="912546">
                <a:defRPr/>
              </a:pPr>
              <a:endParaRPr lang="en-US" dirty="0">
                <a:solidFill>
                  <a:srgbClr val="000000"/>
                </a:solidFill>
              </a:endParaRPr>
            </a:p>
          </p:txBody>
        </p:sp>
        <p:sp>
          <p:nvSpPr>
            <p:cNvPr id="441383" name="Freeform 956"/>
            <p:cNvSpPr>
              <a:spLocks/>
            </p:cNvSpPr>
            <p:nvPr/>
          </p:nvSpPr>
          <p:spPr bwMode="gray">
            <a:xfrm rot="-9163">
              <a:off x="336" y="1202"/>
              <a:ext cx="158" cy="136"/>
            </a:xfrm>
            <a:custGeom>
              <a:avLst/>
              <a:gdLst>
                <a:gd name="T0" fmla="*/ 0 w 350"/>
                <a:gd name="T1" fmla="*/ 0 h 304"/>
                <a:gd name="T2" fmla="*/ 0 w 350"/>
                <a:gd name="T3" fmla="*/ 0 h 304"/>
                <a:gd name="T4" fmla="*/ 0 w 350"/>
                <a:gd name="T5" fmla="*/ 0 h 304"/>
                <a:gd name="T6" fmla="*/ 0 w 350"/>
                <a:gd name="T7" fmla="*/ 0 h 304"/>
                <a:gd name="T8" fmla="*/ 0 w 350"/>
                <a:gd name="T9" fmla="*/ 0 h 304"/>
                <a:gd name="T10" fmla="*/ 0 w 350"/>
                <a:gd name="T11" fmla="*/ 0 h 304"/>
                <a:gd name="T12" fmla="*/ 0 w 350"/>
                <a:gd name="T13" fmla="*/ 0 h 304"/>
                <a:gd name="T14" fmla="*/ 0 w 350"/>
                <a:gd name="T15" fmla="*/ 0 h 304"/>
                <a:gd name="T16" fmla="*/ 0 w 350"/>
                <a:gd name="T17" fmla="*/ 0 h 3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0"/>
                <a:gd name="T28" fmla="*/ 0 h 304"/>
                <a:gd name="T29" fmla="*/ 350 w 350"/>
                <a:gd name="T30" fmla="*/ 304 h 3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0" h="304">
                  <a:moveTo>
                    <a:pt x="198" y="0"/>
                  </a:moveTo>
                  <a:cubicBezTo>
                    <a:pt x="188" y="1"/>
                    <a:pt x="178" y="1"/>
                    <a:pt x="168" y="2"/>
                  </a:cubicBezTo>
                  <a:cubicBezTo>
                    <a:pt x="165" y="2"/>
                    <a:pt x="160" y="4"/>
                    <a:pt x="160" y="4"/>
                  </a:cubicBezTo>
                  <a:lnTo>
                    <a:pt x="68" y="28"/>
                  </a:lnTo>
                  <a:lnTo>
                    <a:pt x="0" y="42"/>
                  </a:lnTo>
                  <a:lnTo>
                    <a:pt x="276" y="304"/>
                  </a:lnTo>
                  <a:lnTo>
                    <a:pt x="350" y="284"/>
                  </a:lnTo>
                  <a:lnTo>
                    <a:pt x="322" y="262"/>
                  </a:lnTo>
                  <a:lnTo>
                    <a:pt x="198"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grpSp>
          <p:nvGrpSpPr>
            <p:cNvPr id="265165" name="Group 957"/>
            <p:cNvGrpSpPr>
              <a:grpSpLocks/>
            </p:cNvGrpSpPr>
            <p:nvPr/>
          </p:nvGrpSpPr>
          <p:grpSpPr bwMode="gray">
            <a:xfrm rot="-9163">
              <a:off x="344" y="1056"/>
              <a:ext cx="541" cy="270"/>
              <a:chOff x="762" y="1732"/>
              <a:chExt cx="1204" cy="604"/>
            </a:xfrm>
          </p:grpSpPr>
          <p:sp>
            <p:nvSpPr>
              <p:cNvPr id="441454" name="Freeform 958"/>
              <p:cNvSpPr>
                <a:spLocks/>
              </p:cNvSpPr>
              <p:nvPr/>
            </p:nvSpPr>
            <p:spPr bwMode="gray">
              <a:xfrm>
                <a:off x="796" y="1834"/>
                <a:ext cx="286" cy="502"/>
              </a:xfrm>
              <a:custGeom>
                <a:avLst/>
                <a:gdLst>
                  <a:gd name="T0" fmla="*/ 12 w 286"/>
                  <a:gd name="T1" fmla="*/ 254 h 502"/>
                  <a:gd name="T2" fmla="*/ 286 w 286"/>
                  <a:gd name="T3" fmla="*/ 502 h 502"/>
                  <a:gd name="T4" fmla="*/ 272 w 286"/>
                  <a:gd name="T5" fmla="*/ 176 h 502"/>
                  <a:gd name="T6" fmla="*/ 0 w 286"/>
                  <a:gd name="T7" fmla="*/ 0 h 502"/>
                  <a:gd name="T8" fmla="*/ 12 w 286"/>
                  <a:gd name="T9" fmla="*/ 254 h 502"/>
                  <a:gd name="T10" fmla="*/ 0 60000 65536"/>
                  <a:gd name="T11" fmla="*/ 0 60000 65536"/>
                  <a:gd name="T12" fmla="*/ 0 60000 65536"/>
                  <a:gd name="T13" fmla="*/ 0 60000 65536"/>
                  <a:gd name="T14" fmla="*/ 0 60000 65536"/>
                  <a:gd name="T15" fmla="*/ 0 w 286"/>
                  <a:gd name="T16" fmla="*/ 0 h 502"/>
                  <a:gd name="T17" fmla="*/ 286 w 286"/>
                  <a:gd name="T18" fmla="*/ 502 h 502"/>
                </a:gdLst>
                <a:ahLst/>
                <a:cxnLst>
                  <a:cxn ang="T10">
                    <a:pos x="T0" y="T1"/>
                  </a:cxn>
                  <a:cxn ang="T11">
                    <a:pos x="T2" y="T3"/>
                  </a:cxn>
                  <a:cxn ang="T12">
                    <a:pos x="T4" y="T5"/>
                  </a:cxn>
                  <a:cxn ang="T13">
                    <a:pos x="T6" y="T7"/>
                  </a:cxn>
                  <a:cxn ang="T14">
                    <a:pos x="T8" y="T9"/>
                  </a:cxn>
                </a:cxnLst>
                <a:rect l="T15" t="T16" r="T17" b="T18"/>
                <a:pathLst>
                  <a:path w="286" h="502">
                    <a:moveTo>
                      <a:pt x="12" y="254"/>
                    </a:moveTo>
                    <a:lnTo>
                      <a:pt x="286" y="502"/>
                    </a:lnTo>
                    <a:lnTo>
                      <a:pt x="272" y="176"/>
                    </a:lnTo>
                    <a:lnTo>
                      <a:pt x="0" y="0"/>
                    </a:lnTo>
                    <a:lnTo>
                      <a:pt x="12" y="254"/>
                    </a:lnTo>
                    <a:close/>
                  </a:path>
                </a:pathLst>
              </a:custGeom>
              <a:solidFill>
                <a:srgbClr val="9FB3CD"/>
              </a:solidFill>
              <a:ln w="9525">
                <a:noFill/>
                <a:round/>
                <a:headEnd/>
                <a:tailEnd/>
              </a:ln>
            </p:spPr>
            <p:txBody>
              <a:bodyPr wrap="none" anchor="ctr"/>
              <a:lstStyle/>
              <a:p>
                <a:pPr defTabSz="912546"/>
                <a:endParaRPr>
                  <a:solidFill>
                    <a:srgbClr val="000000"/>
                  </a:solidFill>
                </a:endParaRPr>
              </a:p>
            </p:txBody>
          </p:sp>
          <p:sp>
            <p:nvSpPr>
              <p:cNvPr id="441455" name="Freeform 959"/>
              <p:cNvSpPr>
                <a:spLocks/>
              </p:cNvSpPr>
              <p:nvPr/>
            </p:nvSpPr>
            <p:spPr bwMode="gray">
              <a:xfrm>
                <a:off x="1068" y="1890"/>
                <a:ext cx="846" cy="446"/>
              </a:xfrm>
              <a:custGeom>
                <a:avLst/>
                <a:gdLst>
                  <a:gd name="T0" fmla="*/ 846 w 846"/>
                  <a:gd name="T1" fmla="*/ 0 h 446"/>
                  <a:gd name="T2" fmla="*/ 826 w 846"/>
                  <a:gd name="T3" fmla="*/ 284 h 446"/>
                  <a:gd name="T4" fmla="*/ 12 w 846"/>
                  <a:gd name="T5" fmla="*/ 446 h 446"/>
                  <a:gd name="T6" fmla="*/ 0 w 846"/>
                  <a:gd name="T7" fmla="*/ 120 h 446"/>
                  <a:gd name="T8" fmla="*/ 846 w 846"/>
                  <a:gd name="T9" fmla="*/ 0 h 446"/>
                  <a:gd name="T10" fmla="*/ 0 60000 65536"/>
                  <a:gd name="T11" fmla="*/ 0 60000 65536"/>
                  <a:gd name="T12" fmla="*/ 0 60000 65536"/>
                  <a:gd name="T13" fmla="*/ 0 60000 65536"/>
                  <a:gd name="T14" fmla="*/ 0 60000 65536"/>
                  <a:gd name="T15" fmla="*/ 0 w 846"/>
                  <a:gd name="T16" fmla="*/ 0 h 446"/>
                  <a:gd name="T17" fmla="*/ 846 w 846"/>
                  <a:gd name="T18" fmla="*/ 446 h 446"/>
                </a:gdLst>
                <a:ahLst/>
                <a:cxnLst>
                  <a:cxn ang="T10">
                    <a:pos x="T0" y="T1"/>
                  </a:cxn>
                  <a:cxn ang="T11">
                    <a:pos x="T2" y="T3"/>
                  </a:cxn>
                  <a:cxn ang="T12">
                    <a:pos x="T4" y="T5"/>
                  </a:cxn>
                  <a:cxn ang="T13">
                    <a:pos x="T6" y="T7"/>
                  </a:cxn>
                  <a:cxn ang="T14">
                    <a:pos x="T8" y="T9"/>
                  </a:cxn>
                </a:cxnLst>
                <a:rect l="T15" t="T16" r="T17" b="T18"/>
                <a:pathLst>
                  <a:path w="846" h="446">
                    <a:moveTo>
                      <a:pt x="846" y="0"/>
                    </a:moveTo>
                    <a:lnTo>
                      <a:pt x="826" y="284"/>
                    </a:lnTo>
                    <a:lnTo>
                      <a:pt x="12" y="446"/>
                    </a:lnTo>
                    <a:lnTo>
                      <a:pt x="0" y="120"/>
                    </a:lnTo>
                    <a:lnTo>
                      <a:pt x="846" y="0"/>
                    </a:lnTo>
                    <a:close/>
                  </a:path>
                </a:pathLst>
              </a:custGeom>
              <a:solidFill>
                <a:srgbClr val="7E99BC"/>
              </a:solidFill>
              <a:ln w="9525">
                <a:noFill/>
                <a:round/>
                <a:headEnd/>
                <a:tailEnd/>
              </a:ln>
            </p:spPr>
            <p:txBody>
              <a:bodyPr wrap="none" anchor="ctr"/>
              <a:lstStyle/>
              <a:p>
                <a:pPr defTabSz="912546"/>
                <a:endParaRPr>
                  <a:solidFill>
                    <a:srgbClr val="000000"/>
                  </a:solidFill>
                </a:endParaRPr>
              </a:p>
            </p:txBody>
          </p:sp>
          <p:sp>
            <p:nvSpPr>
              <p:cNvPr id="441456" name="Freeform 960"/>
              <p:cNvSpPr>
                <a:spLocks/>
              </p:cNvSpPr>
              <p:nvPr/>
            </p:nvSpPr>
            <p:spPr bwMode="gray">
              <a:xfrm>
                <a:off x="1146" y="1922"/>
                <a:ext cx="710" cy="222"/>
              </a:xfrm>
              <a:custGeom>
                <a:avLst/>
                <a:gdLst>
                  <a:gd name="T0" fmla="*/ 2 w 710"/>
                  <a:gd name="T1" fmla="*/ 222 h 222"/>
                  <a:gd name="T2" fmla="*/ 702 w 710"/>
                  <a:gd name="T3" fmla="*/ 102 h 222"/>
                  <a:gd name="T4" fmla="*/ 710 w 710"/>
                  <a:gd name="T5" fmla="*/ 0 h 222"/>
                  <a:gd name="T6" fmla="*/ 0 w 710"/>
                  <a:gd name="T7" fmla="*/ 106 h 222"/>
                  <a:gd name="T8" fmla="*/ 2 w 710"/>
                  <a:gd name="T9" fmla="*/ 222 h 222"/>
                  <a:gd name="T10" fmla="*/ 0 60000 65536"/>
                  <a:gd name="T11" fmla="*/ 0 60000 65536"/>
                  <a:gd name="T12" fmla="*/ 0 60000 65536"/>
                  <a:gd name="T13" fmla="*/ 0 60000 65536"/>
                  <a:gd name="T14" fmla="*/ 0 60000 65536"/>
                  <a:gd name="T15" fmla="*/ 0 w 710"/>
                  <a:gd name="T16" fmla="*/ 0 h 222"/>
                  <a:gd name="T17" fmla="*/ 710 w 710"/>
                  <a:gd name="T18" fmla="*/ 222 h 222"/>
                </a:gdLst>
                <a:ahLst/>
                <a:cxnLst>
                  <a:cxn ang="T10">
                    <a:pos x="T0" y="T1"/>
                  </a:cxn>
                  <a:cxn ang="T11">
                    <a:pos x="T2" y="T3"/>
                  </a:cxn>
                  <a:cxn ang="T12">
                    <a:pos x="T4" y="T5"/>
                  </a:cxn>
                  <a:cxn ang="T13">
                    <a:pos x="T6" y="T7"/>
                  </a:cxn>
                  <a:cxn ang="T14">
                    <a:pos x="T8" y="T9"/>
                  </a:cxn>
                </a:cxnLst>
                <a:rect l="T15" t="T16" r="T17" b="T18"/>
                <a:pathLst>
                  <a:path w="710" h="222">
                    <a:moveTo>
                      <a:pt x="2" y="222"/>
                    </a:moveTo>
                    <a:lnTo>
                      <a:pt x="702" y="102"/>
                    </a:lnTo>
                    <a:lnTo>
                      <a:pt x="710" y="0"/>
                    </a:lnTo>
                    <a:lnTo>
                      <a:pt x="0" y="106"/>
                    </a:lnTo>
                    <a:lnTo>
                      <a:pt x="2" y="222"/>
                    </a:lnTo>
                    <a:close/>
                  </a:path>
                </a:pathLst>
              </a:custGeom>
              <a:gradFill rotWithShape="1">
                <a:gsLst>
                  <a:gs pos="0">
                    <a:srgbClr val="526D7A"/>
                  </a:gs>
                  <a:gs pos="100000">
                    <a:srgbClr val="7E929C"/>
                  </a:gs>
                </a:gsLst>
                <a:lin ang="18900000" scaled="1"/>
              </a:gradFill>
              <a:ln w="9525">
                <a:noFill/>
                <a:round/>
                <a:headEnd/>
                <a:tailEnd/>
              </a:ln>
            </p:spPr>
            <p:txBody>
              <a:bodyPr wrap="none" anchor="ctr"/>
              <a:lstStyle/>
              <a:p>
                <a:pPr defTabSz="912546"/>
                <a:endParaRPr>
                  <a:solidFill>
                    <a:srgbClr val="000000"/>
                  </a:solidFill>
                </a:endParaRPr>
              </a:p>
            </p:txBody>
          </p:sp>
          <p:sp>
            <p:nvSpPr>
              <p:cNvPr id="441457" name="Freeform 961"/>
              <p:cNvSpPr>
                <a:spLocks/>
              </p:cNvSpPr>
              <p:nvPr/>
            </p:nvSpPr>
            <p:spPr bwMode="gray">
              <a:xfrm>
                <a:off x="1210" y="1930"/>
                <a:ext cx="590" cy="232"/>
              </a:xfrm>
              <a:custGeom>
                <a:avLst/>
                <a:gdLst>
                  <a:gd name="T0" fmla="*/ 0 w 590"/>
                  <a:gd name="T1" fmla="*/ 96 h 232"/>
                  <a:gd name="T2" fmla="*/ 2 w 590"/>
                  <a:gd name="T3" fmla="*/ 222 h 232"/>
                  <a:gd name="T4" fmla="*/ 12 w 590"/>
                  <a:gd name="T5" fmla="*/ 232 h 232"/>
                  <a:gd name="T6" fmla="*/ 10 w 590"/>
                  <a:gd name="T7" fmla="*/ 90 h 232"/>
                  <a:gd name="T8" fmla="*/ 74 w 590"/>
                  <a:gd name="T9" fmla="*/ 84 h 232"/>
                  <a:gd name="T10" fmla="*/ 72 w 590"/>
                  <a:gd name="T11" fmla="*/ 208 h 232"/>
                  <a:gd name="T12" fmla="*/ 82 w 590"/>
                  <a:gd name="T13" fmla="*/ 218 h 232"/>
                  <a:gd name="T14" fmla="*/ 84 w 590"/>
                  <a:gd name="T15" fmla="*/ 78 h 232"/>
                  <a:gd name="T16" fmla="*/ 152 w 590"/>
                  <a:gd name="T17" fmla="*/ 70 h 232"/>
                  <a:gd name="T18" fmla="*/ 148 w 590"/>
                  <a:gd name="T19" fmla="*/ 198 h 232"/>
                  <a:gd name="T20" fmla="*/ 158 w 590"/>
                  <a:gd name="T21" fmla="*/ 206 h 232"/>
                  <a:gd name="T22" fmla="*/ 162 w 590"/>
                  <a:gd name="T23" fmla="*/ 68 h 232"/>
                  <a:gd name="T24" fmla="*/ 224 w 590"/>
                  <a:gd name="T25" fmla="*/ 56 h 232"/>
                  <a:gd name="T26" fmla="*/ 222 w 590"/>
                  <a:gd name="T27" fmla="*/ 184 h 232"/>
                  <a:gd name="T28" fmla="*/ 230 w 590"/>
                  <a:gd name="T29" fmla="*/ 190 h 232"/>
                  <a:gd name="T30" fmla="*/ 236 w 590"/>
                  <a:gd name="T31" fmla="*/ 54 h 232"/>
                  <a:gd name="T32" fmla="*/ 300 w 590"/>
                  <a:gd name="T33" fmla="*/ 44 h 232"/>
                  <a:gd name="T34" fmla="*/ 296 w 590"/>
                  <a:gd name="T35" fmla="*/ 170 h 232"/>
                  <a:gd name="T36" fmla="*/ 310 w 590"/>
                  <a:gd name="T37" fmla="*/ 180 h 232"/>
                  <a:gd name="T38" fmla="*/ 304 w 590"/>
                  <a:gd name="T39" fmla="*/ 168 h 232"/>
                  <a:gd name="T40" fmla="*/ 310 w 590"/>
                  <a:gd name="T41" fmla="*/ 44 h 232"/>
                  <a:gd name="T42" fmla="*/ 370 w 590"/>
                  <a:gd name="T43" fmla="*/ 34 h 232"/>
                  <a:gd name="T44" fmla="*/ 366 w 590"/>
                  <a:gd name="T45" fmla="*/ 154 h 232"/>
                  <a:gd name="T46" fmla="*/ 376 w 590"/>
                  <a:gd name="T47" fmla="*/ 160 h 232"/>
                  <a:gd name="T48" fmla="*/ 382 w 590"/>
                  <a:gd name="T49" fmla="*/ 34 h 232"/>
                  <a:gd name="T50" fmla="*/ 448 w 590"/>
                  <a:gd name="T51" fmla="*/ 22 h 232"/>
                  <a:gd name="T52" fmla="*/ 440 w 590"/>
                  <a:gd name="T53" fmla="*/ 154 h 232"/>
                  <a:gd name="T54" fmla="*/ 450 w 590"/>
                  <a:gd name="T55" fmla="*/ 162 h 232"/>
                  <a:gd name="T56" fmla="*/ 458 w 590"/>
                  <a:gd name="T57" fmla="*/ 22 h 232"/>
                  <a:gd name="T58" fmla="*/ 514 w 590"/>
                  <a:gd name="T59" fmla="*/ 16 h 232"/>
                  <a:gd name="T60" fmla="*/ 508 w 590"/>
                  <a:gd name="T61" fmla="*/ 138 h 232"/>
                  <a:gd name="T62" fmla="*/ 518 w 590"/>
                  <a:gd name="T63" fmla="*/ 152 h 232"/>
                  <a:gd name="T64" fmla="*/ 526 w 590"/>
                  <a:gd name="T65" fmla="*/ 10 h 232"/>
                  <a:gd name="T66" fmla="*/ 580 w 590"/>
                  <a:gd name="T67" fmla="*/ 4 h 232"/>
                  <a:gd name="T68" fmla="*/ 572 w 590"/>
                  <a:gd name="T69" fmla="*/ 140 h 232"/>
                  <a:gd name="T70" fmla="*/ 582 w 590"/>
                  <a:gd name="T71" fmla="*/ 142 h 232"/>
                  <a:gd name="T72" fmla="*/ 590 w 590"/>
                  <a:gd name="T73" fmla="*/ 0 h 232"/>
                  <a:gd name="T74" fmla="*/ 6 w 590"/>
                  <a:gd name="T75" fmla="*/ 94 h 232"/>
                  <a:gd name="T76" fmla="*/ 0 w 590"/>
                  <a:gd name="T77" fmla="*/ 96 h 2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90"/>
                  <a:gd name="T118" fmla="*/ 0 h 232"/>
                  <a:gd name="T119" fmla="*/ 590 w 590"/>
                  <a:gd name="T120" fmla="*/ 232 h 2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90" h="232">
                    <a:moveTo>
                      <a:pt x="0" y="96"/>
                    </a:moveTo>
                    <a:lnTo>
                      <a:pt x="2" y="222"/>
                    </a:lnTo>
                    <a:lnTo>
                      <a:pt x="12" y="232"/>
                    </a:lnTo>
                    <a:lnTo>
                      <a:pt x="10" y="90"/>
                    </a:lnTo>
                    <a:lnTo>
                      <a:pt x="74" y="84"/>
                    </a:lnTo>
                    <a:lnTo>
                      <a:pt x="72" y="208"/>
                    </a:lnTo>
                    <a:lnTo>
                      <a:pt x="82" y="218"/>
                    </a:lnTo>
                    <a:lnTo>
                      <a:pt x="84" y="78"/>
                    </a:lnTo>
                    <a:lnTo>
                      <a:pt x="152" y="70"/>
                    </a:lnTo>
                    <a:lnTo>
                      <a:pt x="148" y="198"/>
                    </a:lnTo>
                    <a:lnTo>
                      <a:pt x="158" y="206"/>
                    </a:lnTo>
                    <a:lnTo>
                      <a:pt x="162" y="68"/>
                    </a:lnTo>
                    <a:lnTo>
                      <a:pt x="224" y="56"/>
                    </a:lnTo>
                    <a:lnTo>
                      <a:pt x="222" y="184"/>
                    </a:lnTo>
                    <a:lnTo>
                      <a:pt x="230" y="190"/>
                    </a:lnTo>
                    <a:lnTo>
                      <a:pt x="236" y="54"/>
                    </a:lnTo>
                    <a:lnTo>
                      <a:pt x="300" y="44"/>
                    </a:lnTo>
                    <a:lnTo>
                      <a:pt x="296" y="170"/>
                    </a:lnTo>
                    <a:lnTo>
                      <a:pt x="310" y="180"/>
                    </a:lnTo>
                    <a:lnTo>
                      <a:pt x="304" y="168"/>
                    </a:lnTo>
                    <a:lnTo>
                      <a:pt x="310" y="44"/>
                    </a:lnTo>
                    <a:lnTo>
                      <a:pt x="370" y="34"/>
                    </a:lnTo>
                    <a:lnTo>
                      <a:pt x="366" y="154"/>
                    </a:lnTo>
                    <a:lnTo>
                      <a:pt x="376" y="160"/>
                    </a:lnTo>
                    <a:lnTo>
                      <a:pt x="382" y="34"/>
                    </a:lnTo>
                    <a:lnTo>
                      <a:pt x="448" y="22"/>
                    </a:lnTo>
                    <a:lnTo>
                      <a:pt x="440" y="154"/>
                    </a:lnTo>
                    <a:lnTo>
                      <a:pt x="450" y="162"/>
                    </a:lnTo>
                    <a:lnTo>
                      <a:pt x="458" y="22"/>
                    </a:lnTo>
                    <a:lnTo>
                      <a:pt x="514" y="16"/>
                    </a:lnTo>
                    <a:lnTo>
                      <a:pt x="508" y="138"/>
                    </a:lnTo>
                    <a:lnTo>
                      <a:pt x="518" y="152"/>
                    </a:lnTo>
                    <a:lnTo>
                      <a:pt x="526" y="10"/>
                    </a:lnTo>
                    <a:lnTo>
                      <a:pt x="580" y="4"/>
                    </a:lnTo>
                    <a:lnTo>
                      <a:pt x="572" y="140"/>
                    </a:lnTo>
                    <a:lnTo>
                      <a:pt x="582" y="142"/>
                    </a:lnTo>
                    <a:lnTo>
                      <a:pt x="590" y="0"/>
                    </a:lnTo>
                    <a:lnTo>
                      <a:pt x="6" y="94"/>
                    </a:lnTo>
                    <a:lnTo>
                      <a:pt x="0" y="96"/>
                    </a:lnTo>
                    <a:close/>
                  </a:path>
                </a:pathLst>
              </a:custGeom>
              <a:solidFill>
                <a:srgbClr val="7E99BC"/>
              </a:solidFill>
              <a:ln w="9525">
                <a:noFill/>
                <a:round/>
                <a:headEnd/>
                <a:tailEnd/>
              </a:ln>
            </p:spPr>
            <p:txBody>
              <a:bodyPr wrap="none" anchor="ctr"/>
              <a:lstStyle/>
              <a:p>
                <a:pPr defTabSz="912546"/>
                <a:endParaRPr>
                  <a:solidFill>
                    <a:srgbClr val="000000"/>
                  </a:solidFill>
                </a:endParaRPr>
              </a:p>
            </p:txBody>
          </p:sp>
          <p:sp>
            <p:nvSpPr>
              <p:cNvPr id="441458" name="Freeform 962"/>
              <p:cNvSpPr>
                <a:spLocks/>
              </p:cNvSpPr>
              <p:nvPr/>
            </p:nvSpPr>
            <p:spPr bwMode="gray">
              <a:xfrm>
                <a:off x="762" y="1732"/>
                <a:ext cx="1204" cy="322"/>
              </a:xfrm>
              <a:custGeom>
                <a:avLst/>
                <a:gdLst>
                  <a:gd name="T0" fmla="*/ 0 w 1204"/>
                  <a:gd name="T1" fmla="*/ 98 h 322"/>
                  <a:gd name="T2" fmla="*/ 2 w 1204"/>
                  <a:gd name="T3" fmla="*/ 116 h 322"/>
                  <a:gd name="T4" fmla="*/ 302 w 1204"/>
                  <a:gd name="T5" fmla="*/ 322 h 322"/>
                  <a:gd name="T6" fmla="*/ 1204 w 1204"/>
                  <a:gd name="T7" fmla="*/ 182 h 322"/>
                  <a:gd name="T8" fmla="*/ 1204 w 1204"/>
                  <a:gd name="T9" fmla="*/ 164 h 322"/>
                  <a:gd name="T10" fmla="*/ 852 w 1204"/>
                  <a:gd name="T11" fmla="*/ 0 h 322"/>
                  <a:gd name="T12" fmla="*/ 0 w 1204"/>
                  <a:gd name="T13" fmla="*/ 98 h 322"/>
                  <a:gd name="T14" fmla="*/ 0 60000 65536"/>
                  <a:gd name="T15" fmla="*/ 0 60000 65536"/>
                  <a:gd name="T16" fmla="*/ 0 60000 65536"/>
                  <a:gd name="T17" fmla="*/ 0 60000 65536"/>
                  <a:gd name="T18" fmla="*/ 0 60000 65536"/>
                  <a:gd name="T19" fmla="*/ 0 60000 65536"/>
                  <a:gd name="T20" fmla="*/ 0 60000 65536"/>
                  <a:gd name="T21" fmla="*/ 0 w 1204"/>
                  <a:gd name="T22" fmla="*/ 0 h 322"/>
                  <a:gd name="T23" fmla="*/ 1204 w 1204"/>
                  <a:gd name="T24" fmla="*/ 322 h 3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04" h="322">
                    <a:moveTo>
                      <a:pt x="0" y="98"/>
                    </a:moveTo>
                    <a:lnTo>
                      <a:pt x="2" y="116"/>
                    </a:lnTo>
                    <a:lnTo>
                      <a:pt x="302" y="322"/>
                    </a:lnTo>
                    <a:lnTo>
                      <a:pt x="1204" y="182"/>
                    </a:lnTo>
                    <a:lnTo>
                      <a:pt x="1204" y="164"/>
                    </a:lnTo>
                    <a:lnTo>
                      <a:pt x="852" y="0"/>
                    </a:lnTo>
                    <a:lnTo>
                      <a:pt x="0" y="98"/>
                    </a:lnTo>
                    <a:close/>
                  </a:path>
                </a:pathLst>
              </a:custGeom>
              <a:gradFill rotWithShape="1">
                <a:gsLst>
                  <a:gs pos="0">
                    <a:srgbClr val="A37852"/>
                  </a:gs>
                  <a:gs pos="100000">
                    <a:srgbClr val="D69E6C"/>
                  </a:gs>
                </a:gsLst>
                <a:lin ang="2700000" scaled="1"/>
              </a:gradFill>
              <a:ln w="9525">
                <a:noFill/>
                <a:round/>
                <a:headEnd/>
                <a:tailEnd/>
              </a:ln>
            </p:spPr>
            <p:txBody>
              <a:bodyPr wrap="none" anchor="ctr"/>
              <a:lstStyle/>
              <a:p>
                <a:pPr defTabSz="912546"/>
                <a:endParaRPr>
                  <a:solidFill>
                    <a:srgbClr val="000000"/>
                  </a:solidFill>
                </a:endParaRPr>
              </a:p>
            </p:txBody>
          </p:sp>
          <p:sp>
            <p:nvSpPr>
              <p:cNvPr id="441459" name="Freeform 963"/>
              <p:cNvSpPr>
                <a:spLocks/>
              </p:cNvSpPr>
              <p:nvPr/>
            </p:nvSpPr>
            <p:spPr bwMode="gray">
              <a:xfrm>
                <a:off x="762" y="1732"/>
                <a:ext cx="1204" cy="304"/>
              </a:xfrm>
              <a:custGeom>
                <a:avLst/>
                <a:gdLst>
                  <a:gd name="T0" fmla="*/ 0 w 1204"/>
                  <a:gd name="T1" fmla="*/ 98 h 304"/>
                  <a:gd name="T2" fmla="*/ 302 w 1204"/>
                  <a:gd name="T3" fmla="*/ 304 h 304"/>
                  <a:gd name="T4" fmla="*/ 1204 w 1204"/>
                  <a:gd name="T5" fmla="*/ 164 h 304"/>
                  <a:gd name="T6" fmla="*/ 852 w 1204"/>
                  <a:gd name="T7" fmla="*/ 0 h 304"/>
                  <a:gd name="T8" fmla="*/ 0 w 1204"/>
                  <a:gd name="T9" fmla="*/ 98 h 304"/>
                  <a:gd name="T10" fmla="*/ 0 60000 65536"/>
                  <a:gd name="T11" fmla="*/ 0 60000 65536"/>
                  <a:gd name="T12" fmla="*/ 0 60000 65536"/>
                  <a:gd name="T13" fmla="*/ 0 60000 65536"/>
                  <a:gd name="T14" fmla="*/ 0 60000 65536"/>
                  <a:gd name="T15" fmla="*/ 0 w 1204"/>
                  <a:gd name="T16" fmla="*/ 0 h 304"/>
                  <a:gd name="T17" fmla="*/ 1204 w 1204"/>
                  <a:gd name="T18" fmla="*/ 304 h 304"/>
                </a:gdLst>
                <a:ahLst/>
                <a:cxnLst>
                  <a:cxn ang="T10">
                    <a:pos x="T0" y="T1"/>
                  </a:cxn>
                  <a:cxn ang="T11">
                    <a:pos x="T2" y="T3"/>
                  </a:cxn>
                  <a:cxn ang="T12">
                    <a:pos x="T4" y="T5"/>
                  </a:cxn>
                  <a:cxn ang="T13">
                    <a:pos x="T6" y="T7"/>
                  </a:cxn>
                  <a:cxn ang="T14">
                    <a:pos x="T8" y="T9"/>
                  </a:cxn>
                </a:cxnLst>
                <a:rect l="T15" t="T16" r="T17" b="T18"/>
                <a:pathLst>
                  <a:path w="1204" h="304">
                    <a:moveTo>
                      <a:pt x="0" y="98"/>
                    </a:moveTo>
                    <a:lnTo>
                      <a:pt x="302" y="304"/>
                    </a:lnTo>
                    <a:lnTo>
                      <a:pt x="1204" y="164"/>
                    </a:lnTo>
                    <a:lnTo>
                      <a:pt x="852" y="0"/>
                    </a:lnTo>
                    <a:lnTo>
                      <a:pt x="0" y="98"/>
                    </a:lnTo>
                    <a:close/>
                  </a:path>
                </a:pathLst>
              </a:custGeom>
              <a:gradFill rotWithShape="1">
                <a:gsLst>
                  <a:gs pos="0">
                    <a:srgbClr val="D69E6C"/>
                  </a:gs>
                  <a:gs pos="100000">
                    <a:srgbClr val="E1B793"/>
                  </a:gs>
                </a:gsLst>
                <a:lin ang="2700000" scaled="1"/>
              </a:gradFill>
              <a:ln w="9525">
                <a:noFill/>
                <a:round/>
                <a:headEnd/>
                <a:tailEnd/>
              </a:ln>
            </p:spPr>
            <p:txBody>
              <a:bodyPr wrap="none" anchor="ctr"/>
              <a:lstStyle/>
              <a:p>
                <a:pPr defTabSz="912546"/>
                <a:endParaRPr>
                  <a:solidFill>
                    <a:srgbClr val="000000"/>
                  </a:solidFill>
                </a:endParaRPr>
              </a:p>
            </p:txBody>
          </p:sp>
          <p:sp>
            <p:nvSpPr>
              <p:cNvPr id="441460" name="Freeform 964"/>
              <p:cNvSpPr>
                <a:spLocks/>
              </p:cNvSpPr>
              <p:nvPr/>
            </p:nvSpPr>
            <p:spPr bwMode="gray">
              <a:xfrm>
                <a:off x="998" y="1826"/>
                <a:ext cx="230" cy="64"/>
              </a:xfrm>
              <a:custGeom>
                <a:avLst/>
                <a:gdLst>
                  <a:gd name="T0" fmla="*/ 2 w 230"/>
                  <a:gd name="T1" fmla="*/ 40 h 64"/>
                  <a:gd name="T2" fmla="*/ 38 w 230"/>
                  <a:gd name="T3" fmla="*/ 64 h 64"/>
                  <a:gd name="T4" fmla="*/ 230 w 230"/>
                  <a:gd name="T5" fmla="*/ 36 h 64"/>
                  <a:gd name="T6" fmla="*/ 230 w 230"/>
                  <a:gd name="T7" fmla="*/ 26 h 64"/>
                  <a:gd name="T8" fmla="*/ 182 w 230"/>
                  <a:gd name="T9" fmla="*/ 0 h 64"/>
                  <a:gd name="T10" fmla="*/ 0 w 230"/>
                  <a:gd name="T11" fmla="*/ 24 h 64"/>
                  <a:gd name="T12" fmla="*/ 2 w 230"/>
                  <a:gd name="T13" fmla="*/ 40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61" name="Freeform 965"/>
              <p:cNvSpPr>
                <a:spLocks/>
              </p:cNvSpPr>
              <p:nvPr/>
            </p:nvSpPr>
            <p:spPr bwMode="gray">
              <a:xfrm>
                <a:off x="994" y="1824"/>
                <a:ext cx="230" cy="52"/>
              </a:xfrm>
              <a:custGeom>
                <a:avLst/>
                <a:gdLst>
                  <a:gd name="T0" fmla="*/ 42 w 230"/>
                  <a:gd name="T1" fmla="*/ 52 h 52"/>
                  <a:gd name="T2" fmla="*/ 230 w 230"/>
                  <a:gd name="T3" fmla="*/ 26 h 52"/>
                  <a:gd name="T4" fmla="*/ 182 w 230"/>
                  <a:gd name="T5" fmla="*/ 0 h 52"/>
                  <a:gd name="T6" fmla="*/ 0 w 230"/>
                  <a:gd name="T7" fmla="*/ 26 h 52"/>
                  <a:gd name="T8" fmla="*/ 42 w 230"/>
                  <a:gd name="T9" fmla="*/ 52 h 52"/>
                  <a:gd name="T10" fmla="*/ 0 60000 65536"/>
                  <a:gd name="T11" fmla="*/ 0 60000 65536"/>
                  <a:gd name="T12" fmla="*/ 0 60000 65536"/>
                  <a:gd name="T13" fmla="*/ 0 60000 65536"/>
                  <a:gd name="T14" fmla="*/ 0 60000 65536"/>
                  <a:gd name="T15" fmla="*/ 0 w 230"/>
                  <a:gd name="T16" fmla="*/ 0 h 52"/>
                  <a:gd name="T17" fmla="*/ 230 w 230"/>
                  <a:gd name="T18" fmla="*/ 52 h 52"/>
                </a:gdLst>
                <a:ahLst/>
                <a:cxnLst>
                  <a:cxn ang="T10">
                    <a:pos x="T0" y="T1"/>
                  </a:cxn>
                  <a:cxn ang="T11">
                    <a:pos x="T2" y="T3"/>
                  </a:cxn>
                  <a:cxn ang="T12">
                    <a:pos x="T4" y="T5"/>
                  </a:cxn>
                  <a:cxn ang="T13">
                    <a:pos x="T6" y="T7"/>
                  </a:cxn>
                  <a:cxn ang="T14">
                    <a:pos x="T8" y="T9"/>
                  </a:cxn>
                </a:cxnLst>
                <a:rect l="T15" t="T16" r="T17" b="T18"/>
                <a:pathLst>
                  <a:path w="230" h="52">
                    <a:moveTo>
                      <a:pt x="42" y="52"/>
                    </a:moveTo>
                    <a:lnTo>
                      <a:pt x="230" y="26"/>
                    </a:lnTo>
                    <a:lnTo>
                      <a:pt x="182" y="0"/>
                    </a:lnTo>
                    <a:lnTo>
                      <a:pt x="0" y="26"/>
                    </a:lnTo>
                    <a:lnTo>
                      <a:pt x="42" y="52"/>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62" name="Freeform 966"/>
              <p:cNvSpPr>
                <a:spLocks/>
              </p:cNvSpPr>
              <p:nvPr/>
            </p:nvSpPr>
            <p:spPr bwMode="gray">
              <a:xfrm>
                <a:off x="1220" y="1800"/>
                <a:ext cx="210" cy="58"/>
              </a:xfrm>
              <a:custGeom>
                <a:avLst/>
                <a:gdLst>
                  <a:gd name="T0" fmla="*/ 2 w 230"/>
                  <a:gd name="T1" fmla="*/ 12 h 64"/>
                  <a:gd name="T2" fmla="*/ 12 w 230"/>
                  <a:gd name="T3" fmla="*/ 18 h 64"/>
                  <a:gd name="T4" fmla="*/ 69 w 230"/>
                  <a:gd name="T5" fmla="*/ 11 h 64"/>
                  <a:gd name="T6" fmla="*/ 69 w 230"/>
                  <a:gd name="T7" fmla="*/ 8 h 64"/>
                  <a:gd name="T8" fmla="*/ 57 w 230"/>
                  <a:gd name="T9" fmla="*/ 0 h 64"/>
                  <a:gd name="T10" fmla="*/ 0 w 230"/>
                  <a:gd name="T11" fmla="*/ 7 h 64"/>
                  <a:gd name="T12" fmla="*/ 2 w 230"/>
                  <a:gd name="T13" fmla="*/ 12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63" name="Freeform 967"/>
              <p:cNvSpPr>
                <a:spLocks/>
              </p:cNvSpPr>
              <p:nvPr/>
            </p:nvSpPr>
            <p:spPr bwMode="gray">
              <a:xfrm>
                <a:off x="1216" y="1796"/>
                <a:ext cx="210" cy="48"/>
              </a:xfrm>
              <a:custGeom>
                <a:avLst/>
                <a:gdLst>
                  <a:gd name="T0" fmla="*/ 38 w 210"/>
                  <a:gd name="T1" fmla="*/ 48 h 48"/>
                  <a:gd name="T2" fmla="*/ 210 w 210"/>
                  <a:gd name="T3" fmla="*/ 24 h 48"/>
                  <a:gd name="T4" fmla="*/ 168 w 210"/>
                  <a:gd name="T5" fmla="*/ 0 h 48"/>
                  <a:gd name="T6" fmla="*/ 0 w 210"/>
                  <a:gd name="T7" fmla="*/ 24 h 48"/>
                  <a:gd name="T8" fmla="*/ 38 w 210"/>
                  <a:gd name="T9" fmla="*/ 48 h 48"/>
                  <a:gd name="T10" fmla="*/ 0 60000 65536"/>
                  <a:gd name="T11" fmla="*/ 0 60000 65536"/>
                  <a:gd name="T12" fmla="*/ 0 60000 65536"/>
                  <a:gd name="T13" fmla="*/ 0 60000 65536"/>
                  <a:gd name="T14" fmla="*/ 0 60000 65536"/>
                  <a:gd name="T15" fmla="*/ 0 w 210"/>
                  <a:gd name="T16" fmla="*/ 0 h 48"/>
                  <a:gd name="T17" fmla="*/ 210 w 210"/>
                  <a:gd name="T18" fmla="*/ 48 h 48"/>
                </a:gdLst>
                <a:ahLst/>
                <a:cxnLst>
                  <a:cxn ang="T10">
                    <a:pos x="T0" y="T1"/>
                  </a:cxn>
                  <a:cxn ang="T11">
                    <a:pos x="T2" y="T3"/>
                  </a:cxn>
                  <a:cxn ang="T12">
                    <a:pos x="T4" y="T5"/>
                  </a:cxn>
                  <a:cxn ang="T13">
                    <a:pos x="T6" y="T7"/>
                  </a:cxn>
                  <a:cxn ang="T14">
                    <a:pos x="T8" y="T9"/>
                  </a:cxn>
                </a:cxnLst>
                <a:rect l="T15" t="T16" r="T17" b="T18"/>
                <a:pathLst>
                  <a:path w="210" h="48">
                    <a:moveTo>
                      <a:pt x="38" y="48"/>
                    </a:moveTo>
                    <a:lnTo>
                      <a:pt x="210" y="24"/>
                    </a:lnTo>
                    <a:lnTo>
                      <a:pt x="168" y="0"/>
                    </a:lnTo>
                    <a:lnTo>
                      <a:pt x="0" y="24"/>
                    </a:lnTo>
                    <a:lnTo>
                      <a:pt x="38" y="48"/>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64" name="Freeform 968"/>
              <p:cNvSpPr>
                <a:spLocks/>
              </p:cNvSpPr>
              <p:nvPr/>
            </p:nvSpPr>
            <p:spPr bwMode="gray">
              <a:xfrm>
                <a:off x="1422" y="1777"/>
                <a:ext cx="198" cy="55"/>
              </a:xfrm>
              <a:custGeom>
                <a:avLst/>
                <a:gdLst>
                  <a:gd name="T0" fmla="*/ 2 w 230"/>
                  <a:gd name="T1" fmla="*/ 5 h 64"/>
                  <a:gd name="T2" fmla="*/ 5 w 230"/>
                  <a:gd name="T3" fmla="*/ 8 h 64"/>
                  <a:gd name="T4" fmla="*/ 33 w 230"/>
                  <a:gd name="T5" fmla="*/ 5 h 64"/>
                  <a:gd name="T6" fmla="*/ 33 w 230"/>
                  <a:gd name="T7" fmla="*/ 3 h 64"/>
                  <a:gd name="T8" fmla="*/ 25 w 230"/>
                  <a:gd name="T9" fmla="*/ 0 h 64"/>
                  <a:gd name="T10" fmla="*/ 0 w 230"/>
                  <a:gd name="T11" fmla="*/ 3 h 64"/>
                  <a:gd name="T12" fmla="*/ 2 w 230"/>
                  <a:gd name="T13" fmla="*/ 5 h 64"/>
                  <a:gd name="T14" fmla="*/ 0 60000 65536"/>
                  <a:gd name="T15" fmla="*/ 0 60000 65536"/>
                  <a:gd name="T16" fmla="*/ 0 60000 65536"/>
                  <a:gd name="T17" fmla="*/ 0 60000 65536"/>
                  <a:gd name="T18" fmla="*/ 0 60000 65536"/>
                  <a:gd name="T19" fmla="*/ 0 60000 65536"/>
                  <a:gd name="T20" fmla="*/ 0 60000 65536"/>
                  <a:gd name="T21" fmla="*/ 0 w 230"/>
                  <a:gd name="T22" fmla="*/ 0 h 64"/>
                  <a:gd name="T23" fmla="*/ 230 w 2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0" h="64">
                    <a:moveTo>
                      <a:pt x="2" y="40"/>
                    </a:moveTo>
                    <a:lnTo>
                      <a:pt x="38" y="64"/>
                    </a:lnTo>
                    <a:lnTo>
                      <a:pt x="230" y="36"/>
                    </a:lnTo>
                    <a:lnTo>
                      <a:pt x="230" y="26"/>
                    </a:lnTo>
                    <a:lnTo>
                      <a:pt x="182" y="0"/>
                    </a:lnTo>
                    <a:lnTo>
                      <a:pt x="0" y="24"/>
                    </a:lnTo>
                    <a:lnTo>
                      <a:pt x="2" y="4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65" name="Freeform 969"/>
              <p:cNvSpPr>
                <a:spLocks/>
              </p:cNvSpPr>
              <p:nvPr/>
            </p:nvSpPr>
            <p:spPr bwMode="gray">
              <a:xfrm>
                <a:off x="1418" y="1774"/>
                <a:ext cx="198" cy="44"/>
              </a:xfrm>
              <a:custGeom>
                <a:avLst/>
                <a:gdLst>
                  <a:gd name="T0" fmla="*/ 36 w 198"/>
                  <a:gd name="T1" fmla="*/ 44 h 44"/>
                  <a:gd name="T2" fmla="*/ 198 w 198"/>
                  <a:gd name="T3" fmla="*/ 22 h 44"/>
                  <a:gd name="T4" fmla="*/ 156 w 198"/>
                  <a:gd name="T5" fmla="*/ 0 h 44"/>
                  <a:gd name="T6" fmla="*/ 0 w 198"/>
                  <a:gd name="T7" fmla="*/ 22 h 44"/>
                  <a:gd name="T8" fmla="*/ 36 w 198"/>
                  <a:gd name="T9" fmla="*/ 44 h 44"/>
                  <a:gd name="T10" fmla="*/ 0 60000 65536"/>
                  <a:gd name="T11" fmla="*/ 0 60000 65536"/>
                  <a:gd name="T12" fmla="*/ 0 60000 65536"/>
                  <a:gd name="T13" fmla="*/ 0 60000 65536"/>
                  <a:gd name="T14" fmla="*/ 0 60000 65536"/>
                  <a:gd name="T15" fmla="*/ 0 w 198"/>
                  <a:gd name="T16" fmla="*/ 0 h 44"/>
                  <a:gd name="T17" fmla="*/ 198 w 198"/>
                  <a:gd name="T18" fmla="*/ 44 h 44"/>
                </a:gdLst>
                <a:ahLst/>
                <a:cxnLst>
                  <a:cxn ang="T10">
                    <a:pos x="T0" y="T1"/>
                  </a:cxn>
                  <a:cxn ang="T11">
                    <a:pos x="T2" y="T3"/>
                  </a:cxn>
                  <a:cxn ang="T12">
                    <a:pos x="T4" y="T5"/>
                  </a:cxn>
                  <a:cxn ang="T13">
                    <a:pos x="T6" y="T7"/>
                  </a:cxn>
                  <a:cxn ang="T14">
                    <a:pos x="T8" y="T9"/>
                  </a:cxn>
                </a:cxnLst>
                <a:rect l="T15" t="T16" r="T17" b="T18"/>
                <a:pathLst>
                  <a:path w="198" h="44">
                    <a:moveTo>
                      <a:pt x="36" y="44"/>
                    </a:moveTo>
                    <a:lnTo>
                      <a:pt x="198" y="22"/>
                    </a:lnTo>
                    <a:lnTo>
                      <a:pt x="156" y="0"/>
                    </a:lnTo>
                    <a:lnTo>
                      <a:pt x="0" y="22"/>
                    </a:lnTo>
                    <a:lnTo>
                      <a:pt x="36" y="44"/>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66" name="Freeform 970"/>
              <p:cNvSpPr>
                <a:spLocks/>
              </p:cNvSpPr>
              <p:nvPr/>
            </p:nvSpPr>
            <p:spPr bwMode="gray">
              <a:xfrm>
                <a:off x="1122" y="1968"/>
                <a:ext cx="752" cy="124"/>
              </a:xfrm>
              <a:custGeom>
                <a:avLst/>
                <a:gdLst>
                  <a:gd name="T0" fmla="*/ 0 w 752"/>
                  <a:gd name="T1" fmla="*/ 116 h 124"/>
                  <a:gd name="T2" fmla="*/ 736 w 752"/>
                  <a:gd name="T3" fmla="*/ 0 h 124"/>
                  <a:gd name="T4" fmla="*/ 752 w 752"/>
                  <a:gd name="T5" fmla="*/ 6 h 124"/>
                  <a:gd name="T6" fmla="*/ 0 w 752"/>
                  <a:gd name="T7" fmla="*/ 124 h 124"/>
                  <a:gd name="T8" fmla="*/ 0 w 752"/>
                  <a:gd name="T9" fmla="*/ 116 h 124"/>
                  <a:gd name="T10" fmla="*/ 0 60000 65536"/>
                  <a:gd name="T11" fmla="*/ 0 60000 65536"/>
                  <a:gd name="T12" fmla="*/ 0 60000 65536"/>
                  <a:gd name="T13" fmla="*/ 0 60000 65536"/>
                  <a:gd name="T14" fmla="*/ 0 60000 65536"/>
                  <a:gd name="T15" fmla="*/ 0 w 752"/>
                  <a:gd name="T16" fmla="*/ 0 h 124"/>
                  <a:gd name="T17" fmla="*/ 752 w 752"/>
                  <a:gd name="T18" fmla="*/ 124 h 124"/>
                </a:gdLst>
                <a:ahLst/>
                <a:cxnLst>
                  <a:cxn ang="T10">
                    <a:pos x="T0" y="T1"/>
                  </a:cxn>
                  <a:cxn ang="T11">
                    <a:pos x="T2" y="T3"/>
                  </a:cxn>
                  <a:cxn ang="T12">
                    <a:pos x="T4" y="T5"/>
                  </a:cxn>
                  <a:cxn ang="T13">
                    <a:pos x="T6" y="T7"/>
                  </a:cxn>
                  <a:cxn ang="T14">
                    <a:pos x="T8" y="T9"/>
                  </a:cxn>
                </a:cxnLst>
                <a:rect l="T15" t="T16" r="T17" b="T18"/>
                <a:pathLst>
                  <a:path w="752" h="124">
                    <a:moveTo>
                      <a:pt x="0" y="116"/>
                    </a:moveTo>
                    <a:lnTo>
                      <a:pt x="736" y="0"/>
                    </a:lnTo>
                    <a:lnTo>
                      <a:pt x="752" y="6"/>
                    </a:lnTo>
                    <a:lnTo>
                      <a:pt x="0" y="124"/>
                    </a:lnTo>
                    <a:lnTo>
                      <a:pt x="0" y="116"/>
                    </a:lnTo>
                    <a:close/>
                  </a:path>
                </a:pathLst>
              </a:custGeom>
              <a:solidFill>
                <a:srgbClr val="7E99BC"/>
              </a:solidFill>
              <a:ln w="9525">
                <a:noFill/>
                <a:round/>
                <a:headEnd/>
                <a:tailEnd/>
              </a:ln>
            </p:spPr>
            <p:txBody>
              <a:bodyPr wrap="none" anchor="ctr"/>
              <a:lstStyle/>
              <a:p>
                <a:pPr defTabSz="912546"/>
                <a:endParaRPr>
                  <a:solidFill>
                    <a:srgbClr val="000000"/>
                  </a:solidFill>
                </a:endParaRPr>
              </a:p>
            </p:txBody>
          </p:sp>
          <p:sp>
            <p:nvSpPr>
              <p:cNvPr id="441467" name="Freeform 971"/>
              <p:cNvSpPr>
                <a:spLocks/>
              </p:cNvSpPr>
              <p:nvPr/>
            </p:nvSpPr>
            <p:spPr bwMode="gray">
              <a:xfrm>
                <a:off x="1146" y="1930"/>
                <a:ext cx="710" cy="214"/>
              </a:xfrm>
              <a:custGeom>
                <a:avLst/>
                <a:gdLst>
                  <a:gd name="T0" fmla="*/ 702 w 710"/>
                  <a:gd name="T1" fmla="*/ 2 h 214"/>
                  <a:gd name="T2" fmla="*/ 710 w 710"/>
                  <a:gd name="T3" fmla="*/ 0 h 214"/>
                  <a:gd name="T4" fmla="*/ 706 w 710"/>
                  <a:gd name="T5" fmla="*/ 96 h 214"/>
                  <a:gd name="T6" fmla="*/ 2 w 710"/>
                  <a:gd name="T7" fmla="*/ 214 h 214"/>
                  <a:gd name="T8" fmla="*/ 0 w 710"/>
                  <a:gd name="T9" fmla="*/ 204 h 214"/>
                  <a:gd name="T10" fmla="*/ 698 w 710"/>
                  <a:gd name="T11" fmla="*/ 90 h 214"/>
                  <a:gd name="T12" fmla="*/ 702 w 710"/>
                  <a:gd name="T13" fmla="*/ 2 h 214"/>
                  <a:gd name="T14" fmla="*/ 0 60000 65536"/>
                  <a:gd name="T15" fmla="*/ 0 60000 65536"/>
                  <a:gd name="T16" fmla="*/ 0 60000 65536"/>
                  <a:gd name="T17" fmla="*/ 0 60000 65536"/>
                  <a:gd name="T18" fmla="*/ 0 60000 65536"/>
                  <a:gd name="T19" fmla="*/ 0 60000 65536"/>
                  <a:gd name="T20" fmla="*/ 0 60000 65536"/>
                  <a:gd name="T21" fmla="*/ 0 w 710"/>
                  <a:gd name="T22" fmla="*/ 0 h 214"/>
                  <a:gd name="T23" fmla="*/ 710 w 710"/>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0" h="214">
                    <a:moveTo>
                      <a:pt x="702" y="2"/>
                    </a:moveTo>
                    <a:cubicBezTo>
                      <a:pt x="702" y="4"/>
                      <a:pt x="710" y="0"/>
                      <a:pt x="710" y="0"/>
                    </a:cubicBezTo>
                    <a:lnTo>
                      <a:pt x="706" y="96"/>
                    </a:lnTo>
                    <a:lnTo>
                      <a:pt x="2" y="214"/>
                    </a:lnTo>
                    <a:lnTo>
                      <a:pt x="0" y="204"/>
                    </a:lnTo>
                    <a:lnTo>
                      <a:pt x="698" y="90"/>
                    </a:lnTo>
                    <a:lnTo>
                      <a:pt x="702" y="2"/>
                    </a:lnTo>
                    <a:close/>
                  </a:path>
                </a:pathLst>
              </a:custGeom>
              <a:solidFill>
                <a:srgbClr val="C1CEDF"/>
              </a:solidFill>
              <a:ln w="9525">
                <a:noFill/>
                <a:round/>
                <a:headEnd/>
                <a:tailEnd/>
              </a:ln>
            </p:spPr>
            <p:txBody>
              <a:bodyPr wrap="none" anchor="ctr"/>
              <a:lstStyle/>
              <a:p>
                <a:pPr defTabSz="912546"/>
                <a:endParaRPr>
                  <a:solidFill>
                    <a:srgbClr val="000000"/>
                  </a:solidFill>
                </a:endParaRPr>
              </a:p>
            </p:txBody>
          </p:sp>
        </p:grpSp>
        <p:sp>
          <p:nvSpPr>
            <p:cNvPr id="441385" name="Freeform 972"/>
            <p:cNvSpPr>
              <a:spLocks/>
            </p:cNvSpPr>
            <p:nvPr/>
          </p:nvSpPr>
          <p:spPr bwMode="gray">
            <a:xfrm rot="-9163">
              <a:off x="552" y="1219"/>
              <a:ext cx="278" cy="84"/>
            </a:xfrm>
            <a:custGeom>
              <a:avLst/>
              <a:gdLst>
                <a:gd name="T0" fmla="*/ 0 w 618"/>
                <a:gd name="T1" fmla="*/ 0 h 188"/>
                <a:gd name="T2" fmla="*/ 0 w 618"/>
                <a:gd name="T3" fmla="*/ 0 h 188"/>
                <a:gd name="T4" fmla="*/ 0 w 618"/>
                <a:gd name="T5" fmla="*/ 0 h 188"/>
                <a:gd name="T6" fmla="*/ 0 w 618"/>
                <a:gd name="T7" fmla="*/ 0 h 188"/>
                <a:gd name="T8" fmla="*/ 0 w 618"/>
                <a:gd name="T9" fmla="*/ 0 h 188"/>
                <a:gd name="T10" fmla="*/ 0 60000 65536"/>
                <a:gd name="T11" fmla="*/ 0 60000 65536"/>
                <a:gd name="T12" fmla="*/ 0 60000 65536"/>
                <a:gd name="T13" fmla="*/ 0 60000 65536"/>
                <a:gd name="T14" fmla="*/ 0 60000 65536"/>
                <a:gd name="T15" fmla="*/ 0 w 618"/>
                <a:gd name="T16" fmla="*/ 0 h 188"/>
                <a:gd name="T17" fmla="*/ 618 w 618"/>
                <a:gd name="T18" fmla="*/ 188 h 188"/>
              </a:gdLst>
              <a:ahLst/>
              <a:cxnLst>
                <a:cxn ang="T10">
                  <a:pos x="T0" y="T1"/>
                </a:cxn>
                <a:cxn ang="T11">
                  <a:pos x="T2" y="T3"/>
                </a:cxn>
                <a:cxn ang="T12">
                  <a:pos x="T4" y="T5"/>
                </a:cxn>
                <a:cxn ang="T13">
                  <a:pos x="T6" y="T7"/>
                </a:cxn>
                <a:cxn ang="T14">
                  <a:pos x="T8" y="T9"/>
                </a:cxn>
              </a:cxnLst>
              <a:rect l="T15" t="T16" r="T17" b="T18"/>
              <a:pathLst>
                <a:path w="618" h="188">
                  <a:moveTo>
                    <a:pt x="2" y="118"/>
                  </a:moveTo>
                  <a:cubicBezTo>
                    <a:pt x="122" y="94"/>
                    <a:pt x="517" y="9"/>
                    <a:pt x="618" y="0"/>
                  </a:cubicBezTo>
                  <a:lnTo>
                    <a:pt x="614" y="64"/>
                  </a:lnTo>
                  <a:lnTo>
                    <a:pt x="0" y="188"/>
                  </a:lnTo>
                  <a:lnTo>
                    <a:pt x="2" y="118"/>
                  </a:lnTo>
                  <a:close/>
                </a:path>
              </a:pathLst>
            </a:custGeom>
            <a:gradFill rotWithShape="1">
              <a:gsLst>
                <a:gs pos="0">
                  <a:srgbClr val="A7B2C0"/>
                </a:gs>
                <a:gs pos="100000">
                  <a:srgbClr val="C1CEDF"/>
                </a:gs>
              </a:gsLst>
              <a:lin ang="2700000" scaled="1"/>
            </a:gradFill>
            <a:ln w="9525">
              <a:noFill/>
              <a:round/>
              <a:headEnd/>
              <a:tailEnd/>
            </a:ln>
          </p:spPr>
          <p:txBody>
            <a:bodyPr wrap="none" anchor="ctr"/>
            <a:lstStyle/>
            <a:p>
              <a:pPr defTabSz="912546"/>
              <a:endParaRPr>
                <a:solidFill>
                  <a:srgbClr val="000000"/>
                </a:solidFill>
              </a:endParaRPr>
            </a:p>
          </p:txBody>
        </p:sp>
        <p:sp>
          <p:nvSpPr>
            <p:cNvPr id="441386" name="Freeform 973"/>
            <p:cNvSpPr>
              <a:spLocks/>
            </p:cNvSpPr>
            <p:nvPr/>
          </p:nvSpPr>
          <p:spPr bwMode="gray">
            <a:xfrm rot="-9163">
              <a:off x="552" y="1219"/>
              <a:ext cx="276" cy="79"/>
            </a:xfrm>
            <a:custGeom>
              <a:avLst/>
              <a:gdLst>
                <a:gd name="T0" fmla="*/ 0 w 610"/>
                <a:gd name="T1" fmla="*/ 0 h 176"/>
                <a:gd name="T2" fmla="*/ 0 w 610"/>
                <a:gd name="T3" fmla="*/ 0 h 176"/>
                <a:gd name="T4" fmla="*/ 0 w 610"/>
                <a:gd name="T5" fmla="*/ 0 h 176"/>
                <a:gd name="T6" fmla="*/ 0 w 610"/>
                <a:gd name="T7" fmla="*/ 0 h 176"/>
                <a:gd name="T8" fmla="*/ 0 w 610"/>
                <a:gd name="T9" fmla="*/ 0 h 176"/>
                <a:gd name="T10" fmla="*/ 0 60000 65536"/>
                <a:gd name="T11" fmla="*/ 0 60000 65536"/>
                <a:gd name="T12" fmla="*/ 0 60000 65536"/>
                <a:gd name="T13" fmla="*/ 0 60000 65536"/>
                <a:gd name="T14" fmla="*/ 0 60000 65536"/>
                <a:gd name="T15" fmla="*/ 0 w 610"/>
                <a:gd name="T16" fmla="*/ 0 h 176"/>
                <a:gd name="T17" fmla="*/ 610 w 610"/>
                <a:gd name="T18" fmla="*/ 176 h 176"/>
              </a:gdLst>
              <a:ahLst/>
              <a:cxnLst>
                <a:cxn ang="T10">
                  <a:pos x="T0" y="T1"/>
                </a:cxn>
                <a:cxn ang="T11">
                  <a:pos x="T2" y="T3"/>
                </a:cxn>
                <a:cxn ang="T12">
                  <a:pos x="T4" y="T5"/>
                </a:cxn>
                <a:cxn ang="T13">
                  <a:pos x="T6" y="T7"/>
                </a:cxn>
                <a:cxn ang="T14">
                  <a:pos x="T8" y="T9"/>
                </a:cxn>
              </a:cxnLst>
              <a:rect l="T15" t="T16" r="T17" b="T18"/>
              <a:pathLst>
                <a:path w="610" h="176">
                  <a:moveTo>
                    <a:pt x="0" y="112"/>
                  </a:moveTo>
                  <a:cubicBezTo>
                    <a:pt x="120" y="88"/>
                    <a:pt x="509" y="17"/>
                    <a:pt x="610" y="0"/>
                  </a:cubicBezTo>
                  <a:lnTo>
                    <a:pt x="606" y="56"/>
                  </a:lnTo>
                  <a:lnTo>
                    <a:pt x="0" y="176"/>
                  </a:lnTo>
                  <a:lnTo>
                    <a:pt x="0" y="112"/>
                  </a:lnTo>
                  <a:close/>
                </a:path>
              </a:pathLst>
            </a:custGeom>
            <a:solidFill>
              <a:srgbClr val="686868"/>
            </a:solidFill>
            <a:ln w="9525">
              <a:noFill/>
              <a:round/>
              <a:headEnd/>
              <a:tailEnd/>
            </a:ln>
          </p:spPr>
          <p:txBody>
            <a:bodyPr wrap="none" anchor="ctr"/>
            <a:lstStyle/>
            <a:p>
              <a:pPr defTabSz="912546"/>
              <a:endParaRPr>
                <a:solidFill>
                  <a:srgbClr val="000000"/>
                </a:solidFill>
              </a:endParaRPr>
            </a:p>
          </p:txBody>
        </p:sp>
        <p:sp>
          <p:nvSpPr>
            <p:cNvPr id="441387" name="Freeform 974"/>
            <p:cNvSpPr>
              <a:spLocks/>
            </p:cNvSpPr>
            <p:nvPr/>
          </p:nvSpPr>
          <p:spPr bwMode="gray">
            <a:xfrm rot="-9163">
              <a:off x="579" y="1217"/>
              <a:ext cx="226" cy="82"/>
            </a:xfrm>
            <a:custGeom>
              <a:avLst/>
              <a:gdLst>
                <a:gd name="T0" fmla="*/ 0 w 504"/>
                <a:gd name="T1" fmla="*/ 0 h 186"/>
                <a:gd name="T2" fmla="*/ 0 w 504"/>
                <a:gd name="T3" fmla="*/ 0 h 186"/>
                <a:gd name="T4" fmla="*/ 0 w 504"/>
                <a:gd name="T5" fmla="*/ 0 h 186"/>
                <a:gd name="T6" fmla="*/ 0 w 504"/>
                <a:gd name="T7" fmla="*/ 0 h 186"/>
                <a:gd name="T8" fmla="*/ 0 w 504"/>
                <a:gd name="T9" fmla="*/ 0 h 186"/>
                <a:gd name="T10" fmla="*/ 0 w 504"/>
                <a:gd name="T11" fmla="*/ 0 h 186"/>
                <a:gd name="T12" fmla="*/ 0 w 504"/>
                <a:gd name="T13" fmla="*/ 0 h 186"/>
                <a:gd name="T14" fmla="*/ 0 w 504"/>
                <a:gd name="T15" fmla="*/ 0 h 186"/>
                <a:gd name="T16" fmla="*/ 0 w 504"/>
                <a:gd name="T17" fmla="*/ 0 h 186"/>
                <a:gd name="T18" fmla="*/ 0 w 504"/>
                <a:gd name="T19" fmla="*/ 0 h 186"/>
                <a:gd name="T20" fmla="*/ 0 w 504"/>
                <a:gd name="T21" fmla="*/ 0 h 186"/>
                <a:gd name="T22" fmla="*/ 0 w 504"/>
                <a:gd name="T23" fmla="*/ 0 h 186"/>
                <a:gd name="T24" fmla="*/ 0 w 504"/>
                <a:gd name="T25" fmla="*/ 0 h 186"/>
                <a:gd name="T26" fmla="*/ 0 w 504"/>
                <a:gd name="T27" fmla="*/ 0 h 186"/>
                <a:gd name="T28" fmla="*/ 0 w 504"/>
                <a:gd name="T29" fmla="*/ 0 h 186"/>
                <a:gd name="T30" fmla="*/ 0 w 504"/>
                <a:gd name="T31" fmla="*/ 0 h 186"/>
                <a:gd name="T32" fmla="*/ 0 w 504"/>
                <a:gd name="T33" fmla="*/ 0 h 186"/>
                <a:gd name="T34" fmla="*/ 0 w 504"/>
                <a:gd name="T35" fmla="*/ 0 h 186"/>
                <a:gd name="T36" fmla="*/ 0 w 504"/>
                <a:gd name="T37" fmla="*/ 0 h 186"/>
                <a:gd name="T38" fmla="*/ 0 w 504"/>
                <a:gd name="T39" fmla="*/ 0 h 186"/>
                <a:gd name="T40" fmla="*/ 0 w 504"/>
                <a:gd name="T41" fmla="*/ 0 h 186"/>
                <a:gd name="T42" fmla="*/ 0 w 504"/>
                <a:gd name="T43" fmla="*/ 0 h 186"/>
                <a:gd name="T44" fmla="*/ 0 w 504"/>
                <a:gd name="T45" fmla="*/ 0 h 186"/>
                <a:gd name="T46" fmla="*/ 0 w 504"/>
                <a:gd name="T47" fmla="*/ 0 h 18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04"/>
                <a:gd name="T73" fmla="*/ 0 h 186"/>
                <a:gd name="T74" fmla="*/ 504 w 504"/>
                <a:gd name="T75" fmla="*/ 186 h 18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04" h="186">
                  <a:moveTo>
                    <a:pt x="0" y="54"/>
                  </a:moveTo>
                  <a:cubicBezTo>
                    <a:pt x="2" y="63"/>
                    <a:pt x="3" y="68"/>
                    <a:pt x="8" y="76"/>
                  </a:cubicBezTo>
                  <a:cubicBezTo>
                    <a:pt x="7" y="85"/>
                    <a:pt x="4" y="95"/>
                    <a:pt x="4" y="104"/>
                  </a:cubicBezTo>
                  <a:lnTo>
                    <a:pt x="4" y="186"/>
                  </a:lnTo>
                  <a:lnTo>
                    <a:pt x="36" y="180"/>
                  </a:lnTo>
                  <a:lnTo>
                    <a:pt x="36" y="90"/>
                  </a:lnTo>
                  <a:lnTo>
                    <a:pt x="100" y="78"/>
                  </a:lnTo>
                  <a:lnTo>
                    <a:pt x="100" y="170"/>
                  </a:lnTo>
                  <a:lnTo>
                    <a:pt x="128" y="160"/>
                  </a:lnTo>
                  <a:lnTo>
                    <a:pt x="130" y="72"/>
                  </a:lnTo>
                  <a:lnTo>
                    <a:pt x="192" y="52"/>
                  </a:lnTo>
                  <a:lnTo>
                    <a:pt x="190" y="154"/>
                  </a:lnTo>
                  <a:lnTo>
                    <a:pt x="228" y="146"/>
                  </a:lnTo>
                  <a:lnTo>
                    <a:pt x="336" y="132"/>
                  </a:lnTo>
                  <a:lnTo>
                    <a:pt x="338" y="34"/>
                  </a:lnTo>
                  <a:lnTo>
                    <a:pt x="396" y="22"/>
                  </a:lnTo>
                  <a:lnTo>
                    <a:pt x="396" y="118"/>
                  </a:lnTo>
                  <a:lnTo>
                    <a:pt x="424" y="108"/>
                  </a:lnTo>
                  <a:lnTo>
                    <a:pt x="426" y="20"/>
                  </a:lnTo>
                  <a:lnTo>
                    <a:pt x="480" y="10"/>
                  </a:lnTo>
                  <a:lnTo>
                    <a:pt x="478" y="98"/>
                  </a:lnTo>
                  <a:lnTo>
                    <a:pt x="504" y="88"/>
                  </a:lnTo>
                  <a:lnTo>
                    <a:pt x="504" y="0"/>
                  </a:lnTo>
                  <a:lnTo>
                    <a:pt x="0" y="54"/>
                  </a:lnTo>
                  <a:close/>
                </a:path>
              </a:pathLst>
            </a:custGeom>
            <a:solidFill>
              <a:srgbClr val="7E99BC"/>
            </a:solidFill>
            <a:ln w="9525">
              <a:noFill/>
              <a:round/>
              <a:headEnd/>
              <a:tailEnd/>
            </a:ln>
          </p:spPr>
          <p:txBody>
            <a:bodyPr wrap="none" anchor="ctr"/>
            <a:lstStyle/>
            <a:p>
              <a:pPr defTabSz="912546"/>
              <a:endParaRPr>
                <a:solidFill>
                  <a:srgbClr val="000000"/>
                </a:solidFill>
              </a:endParaRPr>
            </a:p>
          </p:txBody>
        </p:sp>
        <p:sp>
          <p:nvSpPr>
            <p:cNvPr id="441388" name="Freeform 975"/>
            <p:cNvSpPr>
              <a:spLocks/>
            </p:cNvSpPr>
            <p:nvPr/>
          </p:nvSpPr>
          <p:spPr bwMode="gray">
            <a:xfrm rot="-9163">
              <a:off x="551" y="1280"/>
              <a:ext cx="116" cy="27"/>
            </a:xfrm>
            <a:custGeom>
              <a:avLst/>
              <a:gdLst>
                <a:gd name="T0" fmla="*/ 0 w 258"/>
                <a:gd name="T1" fmla="*/ 0 h 62"/>
                <a:gd name="T2" fmla="*/ 0 w 258"/>
                <a:gd name="T3" fmla="*/ 0 h 62"/>
                <a:gd name="T4" fmla="*/ 0 w 258"/>
                <a:gd name="T5" fmla="*/ 0 h 62"/>
                <a:gd name="T6" fmla="*/ 0 w 258"/>
                <a:gd name="T7" fmla="*/ 0 h 62"/>
                <a:gd name="T8" fmla="*/ 0 w 258"/>
                <a:gd name="T9" fmla="*/ 0 h 62"/>
                <a:gd name="T10" fmla="*/ 0 60000 65536"/>
                <a:gd name="T11" fmla="*/ 0 60000 65536"/>
                <a:gd name="T12" fmla="*/ 0 60000 65536"/>
                <a:gd name="T13" fmla="*/ 0 60000 65536"/>
                <a:gd name="T14" fmla="*/ 0 60000 65536"/>
                <a:gd name="T15" fmla="*/ 0 w 258"/>
                <a:gd name="T16" fmla="*/ 0 h 62"/>
                <a:gd name="T17" fmla="*/ 258 w 258"/>
                <a:gd name="T18" fmla="*/ 62 h 62"/>
              </a:gdLst>
              <a:ahLst/>
              <a:cxnLst>
                <a:cxn ang="T10">
                  <a:pos x="T0" y="T1"/>
                </a:cxn>
                <a:cxn ang="T11">
                  <a:pos x="T2" y="T3"/>
                </a:cxn>
                <a:cxn ang="T12">
                  <a:pos x="T4" y="T5"/>
                </a:cxn>
                <a:cxn ang="T13">
                  <a:pos x="T6" y="T7"/>
                </a:cxn>
                <a:cxn ang="T14">
                  <a:pos x="T8" y="T9"/>
                </a:cxn>
              </a:cxnLst>
              <a:rect l="T15" t="T16" r="T17" b="T18"/>
              <a:pathLst>
                <a:path w="258" h="62">
                  <a:moveTo>
                    <a:pt x="256" y="0"/>
                  </a:moveTo>
                  <a:lnTo>
                    <a:pt x="258" y="12"/>
                  </a:lnTo>
                  <a:lnTo>
                    <a:pt x="0" y="62"/>
                  </a:lnTo>
                  <a:lnTo>
                    <a:pt x="4" y="48"/>
                  </a:lnTo>
                  <a:lnTo>
                    <a:pt x="256"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389" name="Freeform 976"/>
            <p:cNvSpPr>
              <a:spLocks/>
            </p:cNvSpPr>
            <p:nvPr/>
          </p:nvSpPr>
          <p:spPr bwMode="gray">
            <a:xfrm rot="-9163">
              <a:off x="727" y="1246"/>
              <a:ext cx="102" cy="25"/>
            </a:xfrm>
            <a:custGeom>
              <a:avLst/>
              <a:gdLst>
                <a:gd name="T0" fmla="*/ 0 w 226"/>
                <a:gd name="T1" fmla="*/ 0 h 56"/>
                <a:gd name="T2" fmla="*/ 0 w 226"/>
                <a:gd name="T3" fmla="*/ 0 h 56"/>
                <a:gd name="T4" fmla="*/ 0 w 226"/>
                <a:gd name="T5" fmla="*/ 0 h 56"/>
                <a:gd name="T6" fmla="*/ 0 w 226"/>
                <a:gd name="T7" fmla="*/ 0 h 56"/>
                <a:gd name="T8" fmla="*/ 0 w 226"/>
                <a:gd name="T9" fmla="*/ 0 h 56"/>
                <a:gd name="T10" fmla="*/ 0 60000 65536"/>
                <a:gd name="T11" fmla="*/ 0 60000 65536"/>
                <a:gd name="T12" fmla="*/ 0 60000 65536"/>
                <a:gd name="T13" fmla="*/ 0 60000 65536"/>
                <a:gd name="T14" fmla="*/ 0 60000 65536"/>
                <a:gd name="T15" fmla="*/ 0 w 226"/>
                <a:gd name="T16" fmla="*/ 0 h 56"/>
                <a:gd name="T17" fmla="*/ 226 w 226"/>
                <a:gd name="T18" fmla="*/ 56 h 56"/>
              </a:gdLst>
              <a:ahLst/>
              <a:cxnLst>
                <a:cxn ang="T10">
                  <a:pos x="T0" y="T1"/>
                </a:cxn>
                <a:cxn ang="T11">
                  <a:pos x="T2" y="T3"/>
                </a:cxn>
                <a:cxn ang="T12">
                  <a:pos x="T4" y="T5"/>
                </a:cxn>
                <a:cxn ang="T13">
                  <a:pos x="T6" y="T7"/>
                </a:cxn>
                <a:cxn ang="T14">
                  <a:pos x="T8" y="T9"/>
                </a:cxn>
              </a:cxnLst>
              <a:rect l="T15" t="T16" r="T17" b="T18"/>
              <a:pathLst>
                <a:path w="226" h="56">
                  <a:moveTo>
                    <a:pt x="226" y="0"/>
                  </a:moveTo>
                  <a:lnTo>
                    <a:pt x="224" y="12"/>
                  </a:lnTo>
                  <a:lnTo>
                    <a:pt x="0" y="56"/>
                  </a:lnTo>
                  <a:lnTo>
                    <a:pt x="2" y="44"/>
                  </a:lnTo>
                  <a:lnTo>
                    <a:pt x="226"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390" name="Freeform 977"/>
            <p:cNvSpPr>
              <a:spLocks/>
            </p:cNvSpPr>
            <p:nvPr/>
          </p:nvSpPr>
          <p:spPr bwMode="gray">
            <a:xfrm rot="-9163">
              <a:off x="370" y="1204"/>
              <a:ext cx="8" cy="23"/>
            </a:xfrm>
            <a:custGeom>
              <a:avLst/>
              <a:gdLst>
                <a:gd name="T0" fmla="*/ 0 w 16"/>
                <a:gd name="T1" fmla="*/ 0 h 54"/>
                <a:gd name="T2" fmla="*/ 1 w 16"/>
                <a:gd name="T3" fmla="*/ 0 h 54"/>
                <a:gd name="T4" fmla="*/ 1 w 16"/>
                <a:gd name="T5" fmla="*/ 0 h 54"/>
                <a:gd name="T6" fmla="*/ 1 w 16"/>
                <a:gd name="T7" fmla="*/ 0 h 54"/>
                <a:gd name="T8" fmla="*/ 0 w 16"/>
                <a:gd name="T9" fmla="*/ 0 h 54"/>
                <a:gd name="T10" fmla="*/ 0 60000 65536"/>
                <a:gd name="T11" fmla="*/ 0 60000 65536"/>
                <a:gd name="T12" fmla="*/ 0 60000 65536"/>
                <a:gd name="T13" fmla="*/ 0 60000 65536"/>
                <a:gd name="T14" fmla="*/ 0 60000 65536"/>
                <a:gd name="T15" fmla="*/ 0 w 16"/>
                <a:gd name="T16" fmla="*/ 0 h 54"/>
                <a:gd name="T17" fmla="*/ 16 w 16"/>
                <a:gd name="T18" fmla="*/ 54 h 54"/>
              </a:gdLst>
              <a:ahLst/>
              <a:cxnLst>
                <a:cxn ang="T10">
                  <a:pos x="T0" y="T1"/>
                </a:cxn>
                <a:cxn ang="T11">
                  <a:pos x="T2" y="T3"/>
                </a:cxn>
                <a:cxn ang="T12">
                  <a:pos x="T4" y="T5"/>
                </a:cxn>
                <a:cxn ang="T13">
                  <a:pos x="T6" y="T7"/>
                </a:cxn>
                <a:cxn ang="T14">
                  <a:pos x="T8" y="T9"/>
                </a:cxn>
              </a:cxnLst>
              <a:rect l="T15" t="T16" r="T17" b="T18"/>
              <a:pathLst>
                <a:path w="16" h="54">
                  <a:moveTo>
                    <a:pt x="0" y="0"/>
                  </a:moveTo>
                  <a:lnTo>
                    <a:pt x="12" y="16"/>
                  </a:lnTo>
                  <a:lnTo>
                    <a:pt x="16" y="54"/>
                  </a:lnTo>
                  <a:lnTo>
                    <a:pt x="2" y="42"/>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391" name="Freeform 978"/>
            <p:cNvSpPr>
              <a:spLocks/>
            </p:cNvSpPr>
            <p:nvPr/>
          </p:nvSpPr>
          <p:spPr bwMode="gray">
            <a:xfrm rot="-9163">
              <a:off x="412" y="1241"/>
              <a:ext cx="9" cy="25"/>
            </a:xfrm>
            <a:custGeom>
              <a:avLst/>
              <a:gdLst>
                <a:gd name="T0" fmla="*/ 0 w 20"/>
                <a:gd name="T1" fmla="*/ 0 h 56"/>
                <a:gd name="T2" fmla="*/ 0 w 20"/>
                <a:gd name="T3" fmla="*/ 0 h 56"/>
                <a:gd name="T4" fmla="*/ 0 w 20"/>
                <a:gd name="T5" fmla="*/ 0 h 56"/>
                <a:gd name="T6" fmla="*/ 0 w 20"/>
                <a:gd name="T7" fmla="*/ 0 h 56"/>
                <a:gd name="T8" fmla="*/ 0 w 20"/>
                <a:gd name="T9" fmla="*/ 0 h 56"/>
                <a:gd name="T10" fmla="*/ 0 60000 65536"/>
                <a:gd name="T11" fmla="*/ 0 60000 65536"/>
                <a:gd name="T12" fmla="*/ 0 60000 65536"/>
                <a:gd name="T13" fmla="*/ 0 60000 65536"/>
                <a:gd name="T14" fmla="*/ 0 60000 65536"/>
                <a:gd name="T15" fmla="*/ 0 w 20"/>
                <a:gd name="T16" fmla="*/ 0 h 56"/>
                <a:gd name="T17" fmla="*/ 20 w 20"/>
                <a:gd name="T18" fmla="*/ 56 h 56"/>
              </a:gdLst>
              <a:ahLst/>
              <a:cxnLst>
                <a:cxn ang="T10">
                  <a:pos x="T0" y="T1"/>
                </a:cxn>
                <a:cxn ang="T11">
                  <a:pos x="T2" y="T3"/>
                </a:cxn>
                <a:cxn ang="T12">
                  <a:pos x="T4" y="T5"/>
                </a:cxn>
                <a:cxn ang="T13">
                  <a:pos x="T6" y="T7"/>
                </a:cxn>
                <a:cxn ang="T14">
                  <a:pos x="T8" y="T9"/>
                </a:cxn>
              </a:cxnLst>
              <a:rect l="T15" t="T16" r="T17" b="T18"/>
              <a:pathLst>
                <a:path w="20" h="56">
                  <a:moveTo>
                    <a:pt x="0" y="0"/>
                  </a:moveTo>
                  <a:lnTo>
                    <a:pt x="16" y="12"/>
                  </a:lnTo>
                  <a:lnTo>
                    <a:pt x="20" y="56"/>
                  </a:lnTo>
                  <a:lnTo>
                    <a:pt x="4" y="44"/>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392" name="Freeform 979"/>
            <p:cNvSpPr>
              <a:spLocks/>
            </p:cNvSpPr>
            <p:nvPr/>
          </p:nvSpPr>
          <p:spPr bwMode="gray">
            <a:xfrm rot="-9163">
              <a:off x="456" y="1277"/>
              <a:ext cx="10" cy="30"/>
            </a:xfrm>
            <a:custGeom>
              <a:avLst/>
              <a:gdLst>
                <a:gd name="T0" fmla="*/ 0 w 22"/>
                <a:gd name="T1" fmla="*/ 0 h 66"/>
                <a:gd name="T2" fmla="*/ 0 w 22"/>
                <a:gd name="T3" fmla="*/ 0 h 66"/>
                <a:gd name="T4" fmla="*/ 0 w 22"/>
                <a:gd name="T5" fmla="*/ 0 h 66"/>
                <a:gd name="T6" fmla="*/ 0 w 22"/>
                <a:gd name="T7" fmla="*/ 0 h 66"/>
                <a:gd name="T8" fmla="*/ 0 w 22"/>
                <a:gd name="T9" fmla="*/ 0 h 66"/>
                <a:gd name="T10" fmla="*/ 0 60000 65536"/>
                <a:gd name="T11" fmla="*/ 0 60000 65536"/>
                <a:gd name="T12" fmla="*/ 0 60000 65536"/>
                <a:gd name="T13" fmla="*/ 0 60000 65536"/>
                <a:gd name="T14" fmla="*/ 0 60000 65536"/>
                <a:gd name="T15" fmla="*/ 0 w 22"/>
                <a:gd name="T16" fmla="*/ 0 h 66"/>
                <a:gd name="T17" fmla="*/ 22 w 22"/>
                <a:gd name="T18" fmla="*/ 66 h 66"/>
              </a:gdLst>
              <a:ahLst/>
              <a:cxnLst>
                <a:cxn ang="T10">
                  <a:pos x="T0" y="T1"/>
                </a:cxn>
                <a:cxn ang="T11">
                  <a:pos x="T2" y="T3"/>
                </a:cxn>
                <a:cxn ang="T12">
                  <a:pos x="T4" y="T5"/>
                </a:cxn>
                <a:cxn ang="T13">
                  <a:pos x="T6" y="T7"/>
                </a:cxn>
                <a:cxn ang="T14">
                  <a:pos x="T8" y="T9"/>
                </a:cxn>
              </a:cxnLst>
              <a:rect l="T15" t="T16" r="T17" b="T18"/>
              <a:pathLst>
                <a:path w="22" h="66">
                  <a:moveTo>
                    <a:pt x="0" y="0"/>
                  </a:moveTo>
                  <a:lnTo>
                    <a:pt x="20" y="16"/>
                  </a:lnTo>
                  <a:lnTo>
                    <a:pt x="22" y="66"/>
                  </a:lnTo>
                  <a:lnTo>
                    <a:pt x="2" y="50"/>
                  </a:lnTo>
                  <a:lnTo>
                    <a:pt x="0" y="0"/>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393" name="Freeform 980"/>
            <p:cNvSpPr>
              <a:spLocks/>
            </p:cNvSpPr>
            <p:nvPr/>
          </p:nvSpPr>
          <p:spPr bwMode="gray">
            <a:xfrm rot="-9163">
              <a:off x="473" y="1334"/>
              <a:ext cx="31" cy="21"/>
            </a:xfrm>
            <a:custGeom>
              <a:avLst/>
              <a:gdLst>
                <a:gd name="T0" fmla="*/ 0 w 68"/>
                <a:gd name="T1" fmla="*/ 0 h 46"/>
                <a:gd name="T2" fmla="*/ 0 w 68"/>
                <a:gd name="T3" fmla="*/ 0 h 46"/>
                <a:gd name="T4" fmla="*/ 0 w 68"/>
                <a:gd name="T5" fmla="*/ 0 h 46"/>
                <a:gd name="T6" fmla="*/ 0 w 68"/>
                <a:gd name="T7" fmla="*/ 0 h 46"/>
                <a:gd name="T8" fmla="*/ 0 w 68"/>
                <a:gd name="T9" fmla="*/ 0 h 46"/>
                <a:gd name="T10" fmla="*/ 0 w 68"/>
                <a:gd name="T11" fmla="*/ 0 h 46"/>
                <a:gd name="T12" fmla="*/ 0 w 68"/>
                <a:gd name="T13" fmla="*/ 0 h 46"/>
                <a:gd name="T14" fmla="*/ 0 w 68"/>
                <a:gd name="T15" fmla="*/ 0 h 46"/>
                <a:gd name="T16" fmla="*/ 0 w 68"/>
                <a:gd name="T17" fmla="*/ 0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46"/>
                <a:gd name="T29" fmla="*/ 68 w 68"/>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46">
                  <a:moveTo>
                    <a:pt x="2" y="20"/>
                  </a:moveTo>
                  <a:lnTo>
                    <a:pt x="28" y="46"/>
                  </a:lnTo>
                  <a:lnTo>
                    <a:pt x="68" y="34"/>
                  </a:lnTo>
                  <a:lnTo>
                    <a:pt x="66" y="32"/>
                  </a:lnTo>
                  <a:lnTo>
                    <a:pt x="32" y="40"/>
                  </a:lnTo>
                  <a:lnTo>
                    <a:pt x="22" y="34"/>
                  </a:lnTo>
                  <a:lnTo>
                    <a:pt x="10" y="20"/>
                  </a:lnTo>
                  <a:lnTo>
                    <a:pt x="0" y="0"/>
                  </a:lnTo>
                  <a:lnTo>
                    <a:pt x="2" y="2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394" name="Freeform 981"/>
            <p:cNvSpPr>
              <a:spLocks/>
            </p:cNvSpPr>
            <p:nvPr/>
          </p:nvSpPr>
          <p:spPr bwMode="gray">
            <a:xfrm rot="-9163">
              <a:off x="477" y="1332"/>
              <a:ext cx="20" cy="8"/>
            </a:xfrm>
            <a:custGeom>
              <a:avLst/>
              <a:gdLst>
                <a:gd name="T0" fmla="*/ 0 w 46"/>
                <a:gd name="T1" fmla="*/ 0 h 16"/>
                <a:gd name="T2" fmla="*/ 0 w 46"/>
                <a:gd name="T3" fmla="*/ 1 h 16"/>
                <a:gd name="T4" fmla="*/ 0 w 46"/>
                <a:gd name="T5" fmla="*/ 1 h 16"/>
                <a:gd name="T6" fmla="*/ 0 w 46"/>
                <a:gd name="T7" fmla="*/ 1 h 16"/>
                <a:gd name="T8" fmla="*/ 0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395" name="Freeform 982"/>
            <p:cNvSpPr>
              <a:spLocks/>
            </p:cNvSpPr>
            <p:nvPr/>
          </p:nvSpPr>
          <p:spPr bwMode="gray">
            <a:xfrm rot="-9163">
              <a:off x="481" y="1338"/>
              <a:ext cx="21" cy="6"/>
            </a:xfrm>
            <a:custGeom>
              <a:avLst/>
              <a:gdLst>
                <a:gd name="T0" fmla="*/ 0 w 46"/>
                <a:gd name="T1" fmla="*/ 0 h 16"/>
                <a:gd name="T2" fmla="*/ 0 w 46"/>
                <a:gd name="T3" fmla="*/ 0 h 16"/>
                <a:gd name="T4" fmla="*/ 0 w 46"/>
                <a:gd name="T5" fmla="*/ 0 h 16"/>
                <a:gd name="T6" fmla="*/ 0 w 46"/>
                <a:gd name="T7" fmla="*/ 0 h 16"/>
                <a:gd name="T8" fmla="*/ 0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396" name="Freeform 983"/>
            <p:cNvSpPr>
              <a:spLocks/>
            </p:cNvSpPr>
            <p:nvPr/>
          </p:nvSpPr>
          <p:spPr bwMode="gray">
            <a:xfrm rot="-9163">
              <a:off x="485" y="1343"/>
              <a:ext cx="20" cy="8"/>
            </a:xfrm>
            <a:custGeom>
              <a:avLst/>
              <a:gdLst>
                <a:gd name="T0" fmla="*/ 0 w 46"/>
                <a:gd name="T1" fmla="*/ 0 h 16"/>
                <a:gd name="T2" fmla="*/ 0 w 46"/>
                <a:gd name="T3" fmla="*/ 1 h 16"/>
                <a:gd name="T4" fmla="*/ 0 w 46"/>
                <a:gd name="T5" fmla="*/ 1 h 16"/>
                <a:gd name="T6" fmla="*/ 0 w 46"/>
                <a:gd name="T7" fmla="*/ 1 h 16"/>
                <a:gd name="T8" fmla="*/ 0 w 46"/>
                <a:gd name="T9" fmla="*/ 0 h 16"/>
                <a:gd name="T10" fmla="*/ 0 60000 65536"/>
                <a:gd name="T11" fmla="*/ 0 60000 65536"/>
                <a:gd name="T12" fmla="*/ 0 60000 65536"/>
                <a:gd name="T13" fmla="*/ 0 60000 65536"/>
                <a:gd name="T14" fmla="*/ 0 60000 65536"/>
                <a:gd name="T15" fmla="*/ 0 w 46"/>
                <a:gd name="T16" fmla="*/ 0 h 16"/>
                <a:gd name="T17" fmla="*/ 46 w 46"/>
                <a:gd name="T18" fmla="*/ 16 h 16"/>
              </a:gdLst>
              <a:ahLst/>
              <a:cxnLst>
                <a:cxn ang="T10">
                  <a:pos x="T0" y="T1"/>
                </a:cxn>
                <a:cxn ang="T11">
                  <a:pos x="T2" y="T3"/>
                </a:cxn>
                <a:cxn ang="T12">
                  <a:pos x="T4" y="T5"/>
                </a:cxn>
                <a:cxn ang="T13">
                  <a:pos x="T6" y="T7"/>
                </a:cxn>
                <a:cxn ang="T14">
                  <a:pos x="T8" y="T9"/>
                </a:cxn>
              </a:cxnLst>
              <a:rect l="T15" t="T16" r="T17" b="T18"/>
              <a:pathLst>
                <a:path w="46" h="16">
                  <a:moveTo>
                    <a:pt x="36" y="0"/>
                  </a:moveTo>
                  <a:lnTo>
                    <a:pt x="46" y="6"/>
                  </a:lnTo>
                  <a:lnTo>
                    <a:pt x="8" y="16"/>
                  </a:lnTo>
                  <a:lnTo>
                    <a:pt x="0" y="10"/>
                  </a:lnTo>
                  <a:lnTo>
                    <a:pt x="36" y="0"/>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grpSp>
          <p:nvGrpSpPr>
            <p:cNvPr id="265166" name="Group 984"/>
            <p:cNvGrpSpPr>
              <a:grpSpLocks/>
            </p:cNvGrpSpPr>
            <p:nvPr/>
          </p:nvGrpSpPr>
          <p:grpSpPr bwMode="gray">
            <a:xfrm rot="-9163">
              <a:off x="776" y="1236"/>
              <a:ext cx="133" cy="68"/>
              <a:chOff x="3128" y="2261"/>
              <a:chExt cx="372" cy="195"/>
            </a:xfrm>
          </p:grpSpPr>
          <p:sp>
            <p:nvSpPr>
              <p:cNvPr id="265177" name="Oval 985"/>
              <p:cNvSpPr>
                <a:spLocks noChangeArrowheads="1"/>
              </p:cNvSpPr>
              <p:nvPr/>
            </p:nvSpPr>
            <p:spPr bwMode="gray">
              <a:xfrm rot="1809517">
                <a:off x="3128" y="2321"/>
                <a:ext cx="372" cy="75"/>
              </a:xfrm>
              <a:prstGeom prst="ellipse">
                <a:avLst/>
              </a:prstGeom>
              <a:gradFill rotWithShape="1">
                <a:gsLst>
                  <a:gs pos="0">
                    <a:schemeClr val="folHlink">
                      <a:alpha val="73000"/>
                    </a:schemeClr>
                  </a:gs>
                  <a:gs pos="100000">
                    <a:schemeClr val="folHlink">
                      <a:gamma/>
                      <a:tint val="93725"/>
                      <a:invGamma/>
                      <a:alpha val="0"/>
                    </a:schemeClr>
                  </a:gs>
                </a:gsLst>
                <a:path path="shape">
                  <a:fillToRect l="50000" t="50000" r="50000" b="50000"/>
                </a:path>
              </a:gradFill>
              <a:ln w="9525" algn="ctr">
                <a:noFill/>
                <a:round/>
                <a:headEnd/>
                <a:tailEnd/>
              </a:ln>
              <a:effectLst/>
            </p:spPr>
            <p:txBody>
              <a:bodyPr wrap="none" anchor="ctr"/>
              <a:lstStyle/>
              <a:p>
                <a:pPr algn="ctr" defTabSz="912546">
                  <a:defRPr/>
                </a:pPr>
                <a:endParaRPr lang="en-US" dirty="0">
                  <a:solidFill>
                    <a:srgbClr val="000000"/>
                  </a:solidFill>
                </a:endParaRPr>
              </a:p>
            </p:txBody>
          </p:sp>
          <p:sp>
            <p:nvSpPr>
              <p:cNvPr id="441437" name="Freeform 986"/>
              <p:cNvSpPr>
                <a:spLocks/>
              </p:cNvSpPr>
              <p:nvPr/>
            </p:nvSpPr>
            <p:spPr bwMode="gray">
              <a:xfrm>
                <a:off x="3210" y="2264"/>
                <a:ext cx="186" cy="177"/>
              </a:xfrm>
              <a:custGeom>
                <a:avLst/>
                <a:gdLst>
                  <a:gd name="T0" fmla="*/ 3 w 186"/>
                  <a:gd name="T1" fmla="*/ 51 h 177"/>
                  <a:gd name="T2" fmla="*/ 126 w 186"/>
                  <a:gd name="T3" fmla="*/ 132 h 177"/>
                  <a:gd name="T4" fmla="*/ 144 w 186"/>
                  <a:gd name="T5" fmla="*/ 129 h 177"/>
                  <a:gd name="T6" fmla="*/ 141 w 186"/>
                  <a:gd name="T7" fmla="*/ 150 h 177"/>
                  <a:gd name="T8" fmla="*/ 186 w 186"/>
                  <a:gd name="T9" fmla="*/ 177 h 177"/>
                  <a:gd name="T10" fmla="*/ 180 w 186"/>
                  <a:gd name="T11" fmla="*/ 75 h 177"/>
                  <a:gd name="T12" fmla="*/ 174 w 186"/>
                  <a:gd name="T13" fmla="*/ 54 h 177"/>
                  <a:gd name="T14" fmla="*/ 54 w 186"/>
                  <a:gd name="T15" fmla="*/ 0 h 177"/>
                  <a:gd name="T16" fmla="*/ 0 w 186"/>
                  <a:gd name="T17" fmla="*/ 9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6"/>
                  <a:gd name="T28" fmla="*/ 0 h 177"/>
                  <a:gd name="T29" fmla="*/ 186 w 186"/>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6" h="177">
                    <a:moveTo>
                      <a:pt x="3" y="51"/>
                    </a:moveTo>
                    <a:lnTo>
                      <a:pt x="126" y="132"/>
                    </a:lnTo>
                    <a:lnTo>
                      <a:pt x="144" y="129"/>
                    </a:lnTo>
                    <a:lnTo>
                      <a:pt x="141" y="150"/>
                    </a:lnTo>
                    <a:lnTo>
                      <a:pt x="186" y="177"/>
                    </a:lnTo>
                    <a:lnTo>
                      <a:pt x="180" y="75"/>
                    </a:lnTo>
                    <a:lnTo>
                      <a:pt x="174" y="54"/>
                    </a:lnTo>
                    <a:lnTo>
                      <a:pt x="54" y="0"/>
                    </a:lnTo>
                    <a:lnTo>
                      <a:pt x="0" y="9"/>
                    </a:lnTo>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8" name="Freeform 987"/>
              <p:cNvSpPr>
                <a:spLocks/>
              </p:cNvSpPr>
              <p:nvPr/>
            </p:nvSpPr>
            <p:spPr bwMode="gray">
              <a:xfrm>
                <a:off x="3212" y="2261"/>
                <a:ext cx="199" cy="78"/>
              </a:xfrm>
              <a:custGeom>
                <a:avLst/>
                <a:gdLst>
                  <a:gd name="T0" fmla="*/ 49 w 199"/>
                  <a:gd name="T1" fmla="*/ 0 h 78"/>
                  <a:gd name="T2" fmla="*/ 199 w 199"/>
                  <a:gd name="T3" fmla="*/ 63 h 78"/>
                  <a:gd name="T4" fmla="*/ 133 w 199"/>
                  <a:gd name="T5" fmla="*/ 78 h 78"/>
                  <a:gd name="T6" fmla="*/ 0 w 199"/>
                  <a:gd name="T7" fmla="*/ 9 h 78"/>
                  <a:gd name="T8" fmla="*/ 49 w 199"/>
                  <a:gd name="T9" fmla="*/ 0 h 78"/>
                  <a:gd name="T10" fmla="*/ 0 60000 65536"/>
                  <a:gd name="T11" fmla="*/ 0 60000 65536"/>
                  <a:gd name="T12" fmla="*/ 0 60000 65536"/>
                  <a:gd name="T13" fmla="*/ 0 60000 65536"/>
                  <a:gd name="T14" fmla="*/ 0 60000 65536"/>
                  <a:gd name="T15" fmla="*/ 0 w 199"/>
                  <a:gd name="T16" fmla="*/ 0 h 78"/>
                  <a:gd name="T17" fmla="*/ 199 w 199"/>
                  <a:gd name="T18" fmla="*/ 78 h 78"/>
                </a:gdLst>
                <a:ahLst/>
                <a:cxnLst>
                  <a:cxn ang="T10">
                    <a:pos x="T0" y="T1"/>
                  </a:cxn>
                  <a:cxn ang="T11">
                    <a:pos x="T2" y="T3"/>
                  </a:cxn>
                  <a:cxn ang="T12">
                    <a:pos x="T4" y="T5"/>
                  </a:cxn>
                  <a:cxn ang="T13">
                    <a:pos x="T6" y="T7"/>
                  </a:cxn>
                  <a:cxn ang="T14">
                    <a:pos x="T8" y="T9"/>
                  </a:cxn>
                </a:cxnLst>
                <a:rect l="T15" t="T16" r="T17" b="T18"/>
                <a:pathLst>
                  <a:path w="199" h="78">
                    <a:moveTo>
                      <a:pt x="49" y="0"/>
                    </a:moveTo>
                    <a:lnTo>
                      <a:pt x="199" y="63"/>
                    </a:lnTo>
                    <a:lnTo>
                      <a:pt x="133" y="78"/>
                    </a:lnTo>
                    <a:lnTo>
                      <a:pt x="0" y="9"/>
                    </a:lnTo>
                    <a:lnTo>
                      <a:pt x="49" y="0"/>
                    </a:lnTo>
                    <a:close/>
                  </a:path>
                </a:pathLst>
              </a:custGeom>
              <a:solidFill>
                <a:srgbClr val="DCDCDC"/>
              </a:solidFill>
              <a:ln w="9525">
                <a:noFill/>
                <a:round/>
                <a:headEnd/>
                <a:tailEnd/>
              </a:ln>
            </p:spPr>
            <p:txBody>
              <a:bodyPr wrap="none" anchor="ctr"/>
              <a:lstStyle/>
              <a:p>
                <a:pPr defTabSz="912546"/>
                <a:endParaRPr>
                  <a:solidFill>
                    <a:srgbClr val="000000"/>
                  </a:solidFill>
                </a:endParaRPr>
              </a:p>
            </p:txBody>
          </p:sp>
          <p:sp>
            <p:nvSpPr>
              <p:cNvPr id="441439" name="Freeform 988"/>
              <p:cNvSpPr>
                <a:spLocks/>
              </p:cNvSpPr>
              <p:nvPr/>
            </p:nvSpPr>
            <p:spPr bwMode="gray">
              <a:xfrm>
                <a:off x="3210" y="2301"/>
                <a:ext cx="264" cy="155"/>
              </a:xfrm>
              <a:custGeom>
                <a:avLst/>
                <a:gdLst>
                  <a:gd name="T0" fmla="*/ 27 w 264"/>
                  <a:gd name="T1" fmla="*/ 17 h 155"/>
                  <a:gd name="T2" fmla="*/ 12 w 264"/>
                  <a:gd name="T3" fmla="*/ 44 h 155"/>
                  <a:gd name="T4" fmla="*/ 40 w 264"/>
                  <a:gd name="T5" fmla="*/ 59 h 155"/>
                  <a:gd name="T6" fmla="*/ 68 w 264"/>
                  <a:gd name="T7" fmla="*/ 39 h 155"/>
                  <a:gd name="T8" fmla="*/ 72 w 264"/>
                  <a:gd name="T9" fmla="*/ 44 h 155"/>
                  <a:gd name="T10" fmla="*/ 75 w 264"/>
                  <a:gd name="T11" fmla="*/ 53 h 155"/>
                  <a:gd name="T12" fmla="*/ 81 w 264"/>
                  <a:gd name="T13" fmla="*/ 62 h 155"/>
                  <a:gd name="T14" fmla="*/ 90 w 264"/>
                  <a:gd name="T15" fmla="*/ 92 h 155"/>
                  <a:gd name="T16" fmla="*/ 100 w 264"/>
                  <a:gd name="T17" fmla="*/ 97 h 155"/>
                  <a:gd name="T18" fmla="*/ 105 w 264"/>
                  <a:gd name="T19" fmla="*/ 107 h 155"/>
                  <a:gd name="T20" fmla="*/ 120 w 264"/>
                  <a:gd name="T21" fmla="*/ 104 h 155"/>
                  <a:gd name="T22" fmla="*/ 123 w 264"/>
                  <a:gd name="T23" fmla="*/ 95 h 155"/>
                  <a:gd name="T24" fmla="*/ 129 w 264"/>
                  <a:gd name="T25" fmla="*/ 104 h 155"/>
                  <a:gd name="T26" fmla="*/ 156 w 264"/>
                  <a:gd name="T27" fmla="*/ 116 h 155"/>
                  <a:gd name="T28" fmla="*/ 164 w 264"/>
                  <a:gd name="T29" fmla="*/ 149 h 155"/>
                  <a:gd name="T30" fmla="*/ 192 w 264"/>
                  <a:gd name="T31" fmla="*/ 140 h 155"/>
                  <a:gd name="T32" fmla="*/ 232 w 264"/>
                  <a:gd name="T33" fmla="*/ 137 h 155"/>
                  <a:gd name="T34" fmla="*/ 150 w 264"/>
                  <a:gd name="T35" fmla="*/ 89 h 155"/>
                  <a:gd name="T36" fmla="*/ 78 w 264"/>
                  <a:gd name="T37" fmla="*/ 41 h 155"/>
                  <a:gd name="T38" fmla="*/ 27 w 264"/>
                  <a:gd name="T39" fmla="*/ 17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4"/>
                  <a:gd name="T61" fmla="*/ 0 h 155"/>
                  <a:gd name="T62" fmla="*/ 264 w 264"/>
                  <a:gd name="T63" fmla="*/ 155 h 1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4" h="155">
                    <a:moveTo>
                      <a:pt x="27" y="17"/>
                    </a:moveTo>
                    <a:cubicBezTo>
                      <a:pt x="1" y="0"/>
                      <a:pt x="0" y="35"/>
                      <a:pt x="12" y="44"/>
                    </a:cubicBezTo>
                    <a:cubicBezTo>
                      <a:pt x="18" y="45"/>
                      <a:pt x="26" y="54"/>
                      <a:pt x="40" y="59"/>
                    </a:cubicBezTo>
                    <a:cubicBezTo>
                      <a:pt x="53" y="55"/>
                      <a:pt x="56" y="51"/>
                      <a:pt x="68" y="39"/>
                    </a:cubicBezTo>
                    <a:cubicBezTo>
                      <a:pt x="74" y="41"/>
                      <a:pt x="66" y="42"/>
                      <a:pt x="72" y="44"/>
                    </a:cubicBezTo>
                    <a:cubicBezTo>
                      <a:pt x="75" y="45"/>
                      <a:pt x="74" y="50"/>
                      <a:pt x="75" y="53"/>
                    </a:cubicBezTo>
                    <a:cubicBezTo>
                      <a:pt x="77" y="56"/>
                      <a:pt x="81" y="62"/>
                      <a:pt x="81" y="62"/>
                    </a:cubicBezTo>
                    <a:cubicBezTo>
                      <a:pt x="76" y="76"/>
                      <a:pt x="75" y="87"/>
                      <a:pt x="90" y="92"/>
                    </a:cubicBezTo>
                    <a:cubicBezTo>
                      <a:pt x="93" y="91"/>
                      <a:pt x="98" y="95"/>
                      <a:pt x="100" y="97"/>
                    </a:cubicBezTo>
                    <a:cubicBezTo>
                      <a:pt x="104" y="101"/>
                      <a:pt x="98" y="101"/>
                      <a:pt x="105" y="107"/>
                    </a:cubicBezTo>
                    <a:cubicBezTo>
                      <a:pt x="120" y="109"/>
                      <a:pt x="116" y="107"/>
                      <a:pt x="120" y="104"/>
                    </a:cubicBezTo>
                    <a:cubicBezTo>
                      <a:pt x="123" y="102"/>
                      <a:pt x="120" y="95"/>
                      <a:pt x="123" y="95"/>
                    </a:cubicBezTo>
                    <a:cubicBezTo>
                      <a:pt x="127" y="95"/>
                      <a:pt x="126" y="102"/>
                      <a:pt x="129" y="104"/>
                    </a:cubicBezTo>
                    <a:cubicBezTo>
                      <a:pt x="135" y="109"/>
                      <a:pt x="148" y="113"/>
                      <a:pt x="156" y="116"/>
                    </a:cubicBezTo>
                    <a:cubicBezTo>
                      <a:pt x="161" y="130"/>
                      <a:pt x="152" y="137"/>
                      <a:pt x="164" y="149"/>
                    </a:cubicBezTo>
                    <a:cubicBezTo>
                      <a:pt x="180" y="155"/>
                      <a:pt x="182" y="154"/>
                      <a:pt x="192" y="140"/>
                    </a:cubicBezTo>
                    <a:cubicBezTo>
                      <a:pt x="188" y="113"/>
                      <a:pt x="220" y="139"/>
                      <a:pt x="232" y="137"/>
                    </a:cubicBezTo>
                    <a:cubicBezTo>
                      <a:pt x="264" y="107"/>
                      <a:pt x="174" y="113"/>
                      <a:pt x="150" y="89"/>
                    </a:cubicBezTo>
                    <a:cubicBezTo>
                      <a:pt x="132" y="71"/>
                      <a:pt x="103" y="49"/>
                      <a:pt x="78" y="41"/>
                    </a:cubicBezTo>
                    <a:cubicBezTo>
                      <a:pt x="63" y="26"/>
                      <a:pt x="41" y="31"/>
                      <a:pt x="27" y="17"/>
                    </a:cubicBezTo>
                    <a:close/>
                  </a:path>
                </a:pathLst>
              </a:custGeom>
              <a:solidFill>
                <a:schemeClr val="tx2"/>
              </a:solidFill>
              <a:ln w="9525">
                <a:noFill/>
                <a:round/>
                <a:headEnd/>
                <a:tailEnd/>
              </a:ln>
            </p:spPr>
            <p:txBody>
              <a:bodyPr wrap="none" anchor="ctr"/>
              <a:lstStyle/>
              <a:p>
                <a:pPr defTabSz="912546"/>
                <a:endParaRPr>
                  <a:solidFill>
                    <a:srgbClr val="000000"/>
                  </a:solidFill>
                </a:endParaRPr>
              </a:p>
            </p:txBody>
          </p:sp>
          <p:sp>
            <p:nvSpPr>
              <p:cNvPr id="441440" name="Freeform 989"/>
              <p:cNvSpPr>
                <a:spLocks/>
              </p:cNvSpPr>
              <p:nvPr/>
            </p:nvSpPr>
            <p:spPr bwMode="gray">
              <a:xfrm>
                <a:off x="3210" y="2270"/>
                <a:ext cx="138" cy="132"/>
              </a:xfrm>
              <a:custGeom>
                <a:avLst/>
                <a:gdLst>
                  <a:gd name="T0" fmla="*/ 3 w 138"/>
                  <a:gd name="T1" fmla="*/ 45 h 132"/>
                  <a:gd name="T2" fmla="*/ 138 w 138"/>
                  <a:gd name="T3" fmla="*/ 132 h 132"/>
                  <a:gd name="T4" fmla="*/ 132 w 138"/>
                  <a:gd name="T5" fmla="*/ 69 h 132"/>
                  <a:gd name="T6" fmla="*/ 0 w 138"/>
                  <a:gd name="T7" fmla="*/ 0 h 132"/>
                  <a:gd name="T8" fmla="*/ 3 w 138"/>
                  <a:gd name="T9" fmla="*/ 45 h 132"/>
                  <a:gd name="T10" fmla="*/ 0 60000 65536"/>
                  <a:gd name="T11" fmla="*/ 0 60000 65536"/>
                  <a:gd name="T12" fmla="*/ 0 60000 65536"/>
                  <a:gd name="T13" fmla="*/ 0 60000 65536"/>
                  <a:gd name="T14" fmla="*/ 0 60000 65536"/>
                  <a:gd name="T15" fmla="*/ 0 w 138"/>
                  <a:gd name="T16" fmla="*/ 0 h 132"/>
                  <a:gd name="T17" fmla="*/ 138 w 138"/>
                  <a:gd name="T18" fmla="*/ 132 h 132"/>
                </a:gdLst>
                <a:ahLst/>
                <a:cxnLst>
                  <a:cxn ang="T10">
                    <a:pos x="T0" y="T1"/>
                  </a:cxn>
                  <a:cxn ang="T11">
                    <a:pos x="T2" y="T3"/>
                  </a:cxn>
                  <a:cxn ang="T12">
                    <a:pos x="T4" y="T5"/>
                  </a:cxn>
                  <a:cxn ang="T13">
                    <a:pos x="T6" y="T7"/>
                  </a:cxn>
                  <a:cxn ang="T14">
                    <a:pos x="T8" y="T9"/>
                  </a:cxn>
                </a:cxnLst>
                <a:rect l="T15" t="T16" r="T17" b="T18"/>
                <a:pathLst>
                  <a:path w="138" h="132">
                    <a:moveTo>
                      <a:pt x="3" y="45"/>
                    </a:moveTo>
                    <a:lnTo>
                      <a:pt x="138" y="132"/>
                    </a:lnTo>
                    <a:lnTo>
                      <a:pt x="132" y="69"/>
                    </a:lnTo>
                    <a:lnTo>
                      <a:pt x="0" y="0"/>
                    </a:lnTo>
                    <a:lnTo>
                      <a:pt x="3" y="45"/>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41" name="Freeform 990"/>
              <p:cNvSpPr>
                <a:spLocks/>
              </p:cNvSpPr>
              <p:nvPr/>
            </p:nvSpPr>
            <p:spPr bwMode="gray">
              <a:xfrm>
                <a:off x="3342" y="2318"/>
                <a:ext cx="66" cy="81"/>
              </a:xfrm>
              <a:custGeom>
                <a:avLst/>
                <a:gdLst>
                  <a:gd name="T0" fmla="*/ 0 w 66"/>
                  <a:gd name="T1" fmla="*/ 18 h 81"/>
                  <a:gd name="T2" fmla="*/ 0 w 66"/>
                  <a:gd name="T3" fmla="*/ 81 h 81"/>
                  <a:gd name="T4" fmla="*/ 66 w 66"/>
                  <a:gd name="T5" fmla="*/ 60 h 81"/>
                  <a:gd name="T6" fmla="*/ 63 w 66"/>
                  <a:gd name="T7" fmla="*/ 0 h 81"/>
                  <a:gd name="T8" fmla="*/ 0 w 66"/>
                  <a:gd name="T9" fmla="*/ 18 h 81"/>
                  <a:gd name="T10" fmla="*/ 0 60000 65536"/>
                  <a:gd name="T11" fmla="*/ 0 60000 65536"/>
                  <a:gd name="T12" fmla="*/ 0 60000 65536"/>
                  <a:gd name="T13" fmla="*/ 0 60000 65536"/>
                  <a:gd name="T14" fmla="*/ 0 60000 65536"/>
                  <a:gd name="T15" fmla="*/ 0 w 66"/>
                  <a:gd name="T16" fmla="*/ 0 h 81"/>
                  <a:gd name="T17" fmla="*/ 66 w 66"/>
                  <a:gd name="T18" fmla="*/ 81 h 81"/>
                </a:gdLst>
                <a:ahLst/>
                <a:cxnLst>
                  <a:cxn ang="T10">
                    <a:pos x="T0" y="T1"/>
                  </a:cxn>
                  <a:cxn ang="T11">
                    <a:pos x="T2" y="T3"/>
                  </a:cxn>
                  <a:cxn ang="T12">
                    <a:pos x="T4" y="T5"/>
                  </a:cxn>
                  <a:cxn ang="T13">
                    <a:pos x="T6" y="T7"/>
                  </a:cxn>
                  <a:cxn ang="T14">
                    <a:pos x="T8" y="T9"/>
                  </a:cxn>
                </a:cxnLst>
                <a:rect l="T15" t="T16" r="T17" b="T18"/>
                <a:pathLst>
                  <a:path w="66" h="81">
                    <a:moveTo>
                      <a:pt x="0" y="18"/>
                    </a:moveTo>
                    <a:lnTo>
                      <a:pt x="0" y="81"/>
                    </a:lnTo>
                    <a:lnTo>
                      <a:pt x="66" y="60"/>
                    </a:lnTo>
                    <a:lnTo>
                      <a:pt x="63" y="0"/>
                    </a:lnTo>
                    <a:lnTo>
                      <a:pt x="0" y="18"/>
                    </a:lnTo>
                    <a:close/>
                  </a:path>
                </a:pathLst>
              </a:custGeom>
              <a:solidFill>
                <a:srgbClr val="C0C0C0"/>
              </a:solidFill>
              <a:ln w="9525">
                <a:noFill/>
                <a:round/>
                <a:headEnd/>
                <a:tailEnd/>
              </a:ln>
            </p:spPr>
            <p:txBody>
              <a:bodyPr wrap="none" anchor="ctr"/>
              <a:lstStyle/>
              <a:p>
                <a:pPr defTabSz="912546"/>
                <a:endParaRPr>
                  <a:solidFill>
                    <a:srgbClr val="000000"/>
                  </a:solidFill>
                </a:endParaRPr>
              </a:p>
            </p:txBody>
          </p:sp>
          <p:sp>
            <p:nvSpPr>
              <p:cNvPr id="441442" name="Freeform 991"/>
              <p:cNvSpPr>
                <a:spLocks/>
              </p:cNvSpPr>
              <p:nvPr/>
            </p:nvSpPr>
            <p:spPr bwMode="gray">
              <a:xfrm>
                <a:off x="3344" y="2341"/>
                <a:ext cx="118" cy="103"/>
              </a:xfrm>
              <a:custGeom>
                <a:avLst/>
                <a:gdLst>
                  <a:gd name="T0" fmla="*/ 10 w 118"/>
                  <a:gd name="T1" fmla="*/ 21 h 103"/>
                  <a:gd name="T2" fmla="*/ 23 w 118"/>
                  <a:gd name="T3" fmla="*/ 84 h 103"/>
                  <a:gd name="T4" fmla="*/ 33 w 118"/>
                  <a:gd name="T5" fmla="*/ 71 h 103"/>
                  <a:gd name="T6" fmla="*/ 43 w 118"/>
                  <a:gd name="T7" fmla="*/ 94 h 103"/>
                  <a:gd name="T8" fmla="*/ 52 w 118"/>
                  <a:gd name="T9" fmla="*/ 101 h 103"/>
                  <a:gd name="T10" fmla="*/ 114 w 118"/>
                  <a:gd name="T11" fmla="*/ 77 h 103"/>
                  <a:gd name="T12" fmla="*/ 110 w 118"/>
                  <a:gd name="T13" fmla="*/ 63 h 103"/>
                  <a:gd name="T14" fmla="*/ 108 w 118"/>
                  <a:gd name="T15" fmla="*/ 51 h 103"/>
                  <a:gd name="T16" fmla="*/ 84 w 118"/>
                  <a:gd name="T17" fmla="*/ 35 h 103"/>
                  <a:gd name="T18" fmla="*/ 75 w 118"/>
                  <a:gd name="T19" fmla="*/ 13 h 103"/>
                  <a:gd name="T20" fmla="*/ 57 w 118"/>
                  <a:gd name="T21" fmla="*/ 0 h 103"/>
                  <a:gd name="T22" fmla="*/ 12 w 118"/>
                  <a:gd name="T23" fmla="*/ 14 h 103"/>
                  <a:gd name="T24" fmla="*/ 10 w 118"/>
                  <a:gd name="T25" fmla="*/ 21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8"/>
                  <a:gd name="T40" fmla="*/ 0 h 103"/>
                  <a:gd name="T41" fmla="*/ 118 w 118"/>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8" h="103">
                    <a:moveTo>
                      <a:pt x="10" y="21"/>
                    </a:moveTo>
                    <a:cubicBezTo>
                      <a:pt x="10" y="38"/>
                      <a:pt x="0" y="76"/>
                      <a:pt x="23" y="84"/>
                    </a:cubicBezTo>
                    <a:cubicBezTo>
                      <a:pt x="23" y="80"/>
                      <a:pt x="26" y="69"/>
                      <a:pt x="33" y="71"/>
                    </a:cubicBezTo>
                    <a:cubicBezTo>
                      <a:pt x="42" y="72"/>
                      <a:pt x="43" y="94"/>
                      <a:pt x="43" y="94"/>
                    </a:cubicBezTo>
                    <a:cubicBezTo>
                      <a:pt x="41" y="103"/>
                      <a:pt x="47" y="101"/>
                      <a:pt x="52" y="101"/>
                    </a:cubicBezTo>
                    <a:cubicBezTo>
                      <a:pt x="74" y="94"/>
                      <a:pt x="95" y="90"/>
                      <a:pt x="114" y="77"/>
                    </a:cubicBezTo>
                    <a:cubicBezTo>
                      <a:pt x="118" y="75"/>
                      <a:pt x="111" y="69"/>
                      <a:pt x="110" y="63"/>
                    </a:cubicBezTo>
                    <a:cubicBezTo>
                      <a:pt x="108" y="59"/>
                      <a:pt x="108" y="60"/>
                      <a:pt x="108" y="51"/>
                    </a:cubicBezTo>
                    <a:cubicBezTo>
                      <a:pt x="104" y="46"/>
                      <a:pt x="94" y="44"/>
                      <a:pt x="84" y="35"/>
                    </a:cubicBezTo>
                    <a:cubicBezTo>
                      <a:pt x="80" y="24"/>
                      <a:pt x="79" y="24"/>
                      <a:pt x="75" y="13"/>
                    </a:cubicBezTo>
                    <a:cubicBezTo>
                      <a:pt x="73" y="9"/>
                      <a:pt x="68" y="0"/>
                      <a:pt x="57" y="0"/>
                    </a:cubicBezTo>
                    <a:lnTo>
                      <a:pt x="12" y="14"/>
                    </a:lnTo>
                    <a:lnTo>
                      <a:pt x="10" y="21"/>
                    </a:lnTo>
                    <a:close/>
                  </a:path>
                </a:pathLst>
              </a:custGeom>
              <a:solidFill>
                <a:srgbClr val="007DBC"/>
              </a:solidFill>
              <a:ln w="9525">
                <a:noFill/>
                <a:round/>
                <a:headEnd/>
                <a:tailEnd/>
              </a:ln>
            </p:spPr>
            <p:txBody>
              <a:bodyPr wrap="none" anchor="ctr"/>
              <a:lstStyle/>
              <a:p>
                <a:pPr defTabSz="912546"/>
                <a:endParaRPr>
                  <a:solidFill>
                    <a:srgbClr val="000000"/>
                  </a:solidFill>
                </a:endParaRPr>
              </a:p>
            </p:txBody>
          </p:sp>
          <p:sp>
            <p:nvSpPr>
              <p:cNvPr id="441443" name="Freeform 992"/>
              <p:cNvSpPr>
                <a:spLocks/>
              </p:cNvSpPr>
              <p:nvPr/>
            </p:nvSpPr>
            <p:spPr bwMode="gray">
              <a:xfrm>
                <a:off x="3378" y="2358"/>
                <a:ext cx="52" cy="34"/>
              </a:xfrm>
              <a:custGeom>
                <a:avLst/>
                <a:gdLst>
                  <a:gd name="T0" fmla="*/ 44 w 52"/>
                  <a:gd name="T1" fmla="*/ 0 h 34"/>
                  <a:gd name="T2" fmla="*/ 52 w 52"/>
                  <a:gd name="T3" fmla="*/ 18 h 34"/>
                  <a:gd name="T4" fmla="*/ 4 w 52"/>
                  <a:gd name="T5" fmla="*/ 34 h 34"/>
                  <a:gd name="T6" fmla="*/ 0 w 52"/>
                  <a:gd name="T7" fmla="*/ 14 h 34"/>
                  <a:gd name="T8" fmla="*/ 44 w 52"/>
                  <a:gd name="T9" fmla="*/ 0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44" y="0"/>
                    </a:moveTo>
                    <a:lnTo>
                      <a:pt x="52" y="18"/>
                    </a:lnTo>
                    <a:lnTo>
                      <a:pt x="4" y="34"/>
                    </a:lnTo>
                    <a:lnTo>
                      <a:pt x="0" y="14"/>
                    </a:lnTo>
                    <a:lnTo>
                      <a:pt x="44" y="0"/>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44" name="Freeform 993"/>
              <p:cNvSpPr>
                <a:spLocks/>
              </p:cNvSpPr>
              <p:nvPr/>
            </p:nvSpPr>
            <p:spPr bwMode="gray">
              <a:xfrm>
                <a:off x="3412" y="2400"/>
                <a:ext cx="28" cy="26"/>
              </a:xfrm>
              <a:custGeom>
                <a:avLst/>
                <a:gdLst>
                  <a:gd name="T0" fmla="*/ 0 w 28"/>
                  <a:gd name="T1" fmla="*/ 26 h 26"/>
                  <a:gd name="T2" fmla="*/ 28 w 28"/>
                  <a:gd name="T3" fmla="*/ 16 h 26"/>
                  <a:gd name="T4" fmla="*/ 26 w 28"/>
                  <a:gd name="T5" fmla="*/ 0 h 26"/>
                  <a:gd name="T6" fmla="*/ 0 w 28"/>
                  <a:gd name="T7" fmla="*/ 8 h 26"/>
                  <a:gd name="T8" fmla="*/ 0 w 28"/>
                  <a:gd name="T9" fmla="*/ 26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26"/>
                    </a:moveTo>
                    <a:lnTo>
                      <a:pt x="28" y="16"/>
                    </a:lnTo>
                    <a:lnTo>
                      <a:pt x="26" y="0"/>
                    </a:lnTo>
                    <a:lnTo>
                      <a:pt x="0" y="8"/>
                    </a:lnTo>
                    <a:lnTo>
                      <a:pt x="0" y="26"/>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445" name="Freeform 994"/>
              <p:cNvSpPr>
                <a:spLocks/>
              </p:cNvSpPr>
              <p:nvPr/>
            </p:nvSpPr>
            <p:spPr bwMode="gray">
              <a:xfrm>
                <a:off x="3394" y="2418"/>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46" name="Freeform 995"/>
              <p:cNvSpPr>
                <a:spLocks/>
              </p:cNvSpPr>
              <p:nvPr/>
            </p:nvSpPr>
            <p:spPr bwMode="gray">
              <a:xfrm>
                <a:off x="3436" y="2404"/>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47" name="Freeform 996"/>
              <p:cNvSpPr>
                <a:spLocks/>
              </p:cNvSpPr>
              <p:nvPr/>
            </p:nvSpPr>
            <p:spPr bwMode="gray">
              <a:xfrm>
                <a:off x="3360" y="2362"/>
                <a:ext cx="12" cy="28"/>
              </a:xfrm>
              <a:custGeom>
                <a:avLst/>
                <a:gdLst>
                  <a:gd name="T0" fmla="*/ 12 w 12"/>
                  <a:gd name="T1" fmla="*/ 6 h 28"/>
                  <a:gd name="T2" fmla="*/ 12 w 12"/>
                  <a:gd name="T3" fmla="*/ 28 h 28"/>
                  <a:gd name="T4" fmla="*/ 0 w 12"/>
                  <a:gd name="T5" fmla="*/ 20 h 28"/>
                  <a:gd name="T6" fmla="*/ 0 w 12"/>
                  <a:gd name="T7" fmla="*/ 0 h 28"/>
                  <a:gd name="T8" fmla="*/ 12 w 12"/>
                  <a:gd name="T9" fmla="*/ 6 h 28"/>
                  <a:gd name="T10" fmla="*/ 0 60000 65536"/>
                  <a:gd name="T11" fmla="*/ 0 60000 65536"/>
                  <a:gd name="T12" fmla="*/ 0 60000 65536"/>
                  <a:gd name="T13" fmla="*/ 0 60000 65536"/>
                  <a:gd name="T14" fmla="*/ 0 60000 65536"/>
                  <a:gd name="T15" fmla="*/ 0 w 12"/>
                  <a:gd name="T16" fmla="*/ 0 h 28"/>
                  <a:gd name="T17" fmla="*/ 12 w 12"/>
                  <a:gd name="T18" fmla="*/ 28 h 28"/>
                </a:gdLst>
                <a:ahLst/>
                <a:cxnLst>
                  <a:cxn ang="T10">
                    <a:pos x="T0" y="T1"/>
                  </a:cxn>
                  <a:cxn ang="T11">
                    <a:pos x="T2" y="T3"/>
                  </a:cxn>
                  <a:cxn ang="T12">
                    <a:pos x="T4" y="T5"/>
                  </a:cxn>
                  <a:cxn ang="T13">
                    <a:pos x="T6" y="T7"/>
                  </a:cxn>
                  <a:cxn ang="T14">
                    <a:pos x="T8" y="T9"/>
                  </a:cxn>
                </a:cxnLst>
                <a:rect l="T15" t="T16" r="T17" b="T18"/>
                <a:pathLst>
                  <a:path w="12" h="28">
                    <a:moveTo>
                      <a:pt x="12" y="6"/>
                    </a:moveTo>
                    <a:lnTo>
                      <a:pt x="12" y="28"/>
                    </a:lnTo>
                    <a:lnTo>
                      <a:pt x="0" y="20"/>
                    </a:lnTo>
                    <a:lnTo>
                      <a:pt x="0" y="0"/>
                    </a:lnTo>
                    <a:lnTo>
                      <a:pt x="12" y="6"/>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48" name="Freeform 997"/>
              <p:cNvSpPr>
                <a:spLocks/>
              </p:cNvSpPr>
              <p:nvPr/>
            </p:nvSpPr>
            <p:spPr bwMode="gray">
              <a:xfrm>
                <a:off x="3220" y="2328"/>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49" name="Freeform 998"/>
              <p:cNvSpPr>
                <a:spLocks/>
              </p:cNvSpPr>
              <p:nvPr/>
            </p:nvSpPr>
            <p:spPr bwMode="gray">
              <a:xfrm>
                <a:off x="3372" y="2424"/>
                <a:ext cx="16" cy="20"/>
              </a:xfrm>
              <a:custGeom>
                <a:avLst/>
                <a:gdLst>
                  <a:gd name="T0" fmla="*/ 6 w 16"/>
                  <a:gd name="T1" fmla="*/ 0 h 20"/>
                  <a:gd name="T2" fmla="*/ 6 w 16"/>
                  <a:gd name="T3" fmla="*/ 18 h 20"/>
                  <a:gd name="T4" fmla="*/ 6 w 16"/>
                  <a:gd name="T5" fmla="*/ 0 h 20"/>
                  <a:gd name="T6" fmla="*/ 0 60000 65536"/>
                  <a:gd name="T7" fmla="*/ 0 60000 65536"/>
                  <a:gd name="T8" fmla="*/ 0 60000 65536"/>
                  <a:gd name="T9" fmla="*/ 0 w 16"/>
                  <a:gd name="T10" fmla="*/ 0 h 20"/>
                  <a:gd name="T11" fmla="*/ 16 w 16"/>
                  <a:gd name="T12" fmla="*/ 20 h 20"/>
                </a:gdLst>
                <a:ahLst/>
                <a:cxnLst>
                  <a:cxn ang="T6">
                    <a:pos x="T0" y="T1"/>
                  </a:cxn>
                  <a:cxn ang="T7">
                    <a:pos x="T2" y="T3"/>
                  </a:cxn>
                  <a:cxn ang="T8">
                    <a:pos x="T4" y="T5"/>
                  </a:cxn>
                </a:cxnLst>
                <a:rect l="T9" t="T10" r="T11" b="T12"/>
                <a:pathLst>
                  <a:path w="16" h="20">
                    <a:moveTo>
                      <a:pt x="6" y="0"/>
                    </a:moveTo>
                    <a:cubicBezTo>
                      <a:pt x="16" y="4"/>
                      <a:pt x="10" y="20"/>
                      <a:pt x="6" y="18"/>
                    </a:cubicBezTo>
                    <a:cubicBezTo>
                      <a:pt x="0" y="1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50" name="Freeform 999"/>
              <p:cNvSpPr>
                <a:spLocks/>
              </p:cNvSpPr>
              <p:nvPr/>
            </p:nvSpPr>
            <p:spPr bwMode="gray">
              <a:xfrm>
                <a:off x="3238" y="234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51" name="Freeform 1000"/>
              <p:cNvSpPr>
                <a:spLocks/>
              </p:cNvSpPr>
              <p:nvPr/>
            </p:nvSpPr>
            <p:spPr bwMode="gray">
              <a:xfrm>
                <a:off x="3294" y="2376"/>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52" name="Freeform 1001"/>
              <p:cNvSpPr>
                <a:spLocks/>
              </p:cNvSpPr>
              <p:nvPr/>
            </p:nvSpPr>
            <p:spPr bwMode="gray">
              <a:xfrm>
                <a:off x="3314" y="239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53" name="Freeform 1002"/>
              <p:cNvSpPr>
                <a:spLocks/>
              </p:cNvSpPr>
              <p:nvPr/>
            </p:nvSpPr>
            <p:spPr bwMode="gray">
              <a:xfrm>
                <a:off x="3208" y="2280"/>
                <a:ext cx="153" cy="87"/>
              </a:xfrm>
              <a:custGeom>
                <a:avLst/>
                <a:gdLst>
                  <a:gd name="T0" fmla="*/ 0 w 153"/>
                  <a:gd name="T1" fmla="*/ 0 h 87"/>
                  <a:gd name="T2" fmla="*/ 132 w 153"/>
                  <a:gd name="T3" fmla="*/ 68 h 87"/>
                  <a:gd name="T4" fmla="*/ 132 w 153"/>
                  <a:gd name="T5" fmla="*/ 76 h 87"/>
                  <a:gd name="T6" fmla="*/ 4 w 153"/>
                  <a:gd name="T7" fmla="*/ 8 h 87"/>
                  <a:gd name="T8" fmla="*/ 0 w 153"/>
                  <a:gd name="T9" fmla="*/ 0 h 87"/>
                  <a:gd name="T10" fmla="*/ 0 60000 65536"/>
                  <a:gd name="T11" fmla="*/ 0 60000 65536"/>
                  <a:gd name="T12" fmla="*/ 0 60000 65536"/>
                  <a:gd name="T13" fmla="*/ 0 60000 65536"/>
                  <a:gd name="T14" fmla="*/ 0 60000 65536"/>
                  <a:gd name="T15" fmla="*/ 0 w 153"/>
                  <a:gd name="T16" fmla="*/ 0 h 87"/>
                  <a:gd name="T17" fmla="*/ 153 w 153"/>
                  <a:gd name="T18" fmla="*/ 87 h 87"/>
                </a:gdLst>
                <a:ahLst/>
                <a:cxnLst>
                  <a:cxn ang="T10">
                    <a:pos x="T0" y="T1"/>
                  </a:cxn>
                  <a:cxn ang="T11">
                    <a:pos x="T2" y="T3"/>
                  </a:cxn>
                  <a:cxn ang="T12">
                    <a:pos x="T4" y="T5"/>
                  </a:cxn>
                  <a:cxn ang="T13">
                    <a:pos x="T6" y="T7"/>
                  </a:cxn>
                  <a:cxn ang="T14">
                    <a:pos x="T8" y="T9"/>
                  </a:cxn>
                </a:cxnLst>
                <a:rect l="T15" t="T16" r="T17" b="T18"/>
                <a:pathLst>
                  <a:path w="153" h="87">
                    <a:moveTo>
                      <a:pt x="0" y="0"/>
                    </a:moveTo>
                    <a:lnTo>
                      <a:pt x="132" y="68"/>
                    </a:lnTo>
                    <a:cubicBezTo>
                      <a:pt x="132" y="70"/>
                      <a:pt x="153" y="87"/>
                      <a:pt x="132" y="76"/>
                    </a:cubicBezTo>
                    <a:lnTo>
                      <a:pt x="4" y="8"/>
                    </a:lnTo>
                    <a:lnTo>
                      <a:pt x="0"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grpSp>
        <p:grpSp>
          <p:nvGrpSpPr>
            <p:cNvPr id="265167" name="Group 1003"/>
            <p:cNvGrpSpPr>
              <a:grpSpLocks/>
            </p:cNvGrpSpPr>
            <p:nvPr/>
          </p:nvGrpSpPr>
          <p:grpSpPr bwMode="gray">
            <a:xfrm rot="-9163">
              <a:off x="612" y="1266"/>
              <a:ext cx="137" cy="72"/>
              <a:chOff x="3128" y="2261"/>
              <a:chExt cx="372" cy="195"/>
            </a:xfrm>
          </p:grpSpPr>
          <p:sp>
            <p:nvSpPr>
              <p:cNvPr id="265196" name="Oval 1004"/>
              <p:cNvSpPr>
                <a:spLocks noChangeArrowheads="1"/>
              </p:cNvSpPr>
              <p:nvPr/>
            </p:nvSpPr>
            <p:spPr bwMode="gray">
              <a:xfrm rot="1809517">
                <a:off x="3128" y="2321"/>
                <a:ext cx="372" cy="76"/>
              </a:xfrm>
              <a:prstGeom prst="ellipse">
                <a:avLst/>
              </a:prstGeom>
              <a:gradFill rotWithShape="1">
                <a:gsLst>
                  <a:gs pos="0">
                    <a:schemeClr val="folHlink">
                      <a:alpha val="73000"/>
                    </a:schemeClr>
                  </a:gs>
                  <a:gs pos="100000">
                    <a:schemeClr val="folHlink">
                      <a:gamma/>
                      <a:tint val="93725"/>
                      <a:invGamma/>
                      <a:alpha val="0"/>
                    </a:schemeClr>
                  </a:gs>
                </a:gsLst>
                <a:path path="shape">
                  <a:fillToRect l="50000" t="50000" r="50000" b="50000"/>
                </a:path>
              </a:gradFill>
              <a:ln w="9525" algn="ctr">
                <a:noFill/>
                <a:round/>
                <a:headEnd/>
                <a:tailEnd/>
              </a:ln>
              <a:effectLst/>
            </p:spPr>
            <p:txBody>
              <a:bodyPr wrap="none" anchor="ctr"/>
              <a:lstStyle/>
              <a:p>
                <a:pPr algn="ctr" defTabSz="912546">
                  <a:defRPr/>
                </a:pPr>
                <a:endParaRPr lang="en-US" dirty="0">
                  <a:solidFill>
                    <a:srgbClr val="000000"/>
                  </a:solidFill>
                </a:endParaRPr>
              </a:p>
            </p:txBody>
          </p:sp>
          <p:sp>
            <p:nvSpPr>
              <p:cNvPr id="441419" name="Freeform 1005"/>
              <p:cNvSpPr>
                <a:spLocks/>
              </p:cNvSpPr>
              <p:nvPr/>
            </p:nvSpPr>
            <p:spPr bwMode="gray">
              <a:xfrm>
                <a:off x="3210" y="2264"/>
                <a:ext cx="186" cy="177"/>
              </a:xfrm>
              <a:custGeom>
                <a:avLst/>
                <a:gdLst>
                  <a:gd name="T0" fmla="*/ 3 w 186"/>
                  <a:gd name="T1" fmla="*/ 51 h 177"/>
                  <a:gd name="T2" fmla="*/ 126 w 186"/>
                  <a:gd name="T3" fmla="*/ 132 h 177"/>
                  <a:gd name="T4" fmla="*/ 144 w 186"/>
                  <a:gd name="T5" fmla="*/ 129 h 177"/>
                  <a:gd name="T6" fmla="*/ 141 w 186"/>
                  <a:gd name="T7" fmla="*/ 150 h 177"/>
                  <a:gd name="T8" fmla="*/ 186 w 186"/>
                  <a:gd name="T9" fmla="*/ 177 h 177"/>
                  <a:gd name="T10" fmla="*/ 180 w 186"/>
                  <a:gd name="T11" fmla="*/ 75 h 177"/>
                  <a:gd name="T12" fmla="*/ 174 w 186"/>
                  <a:gd name="T13" fmla="*/ 54 h 177"/>
                  <a:gd name="T14" fmla="*/ 54 w 186"/>
                  <a:gd name="T15" fmla="*/ 0 h 177"/>
                  <a:gd name="T16" fmla="*/ 0 w 186"/>
                  <a:gd name="T17" fmla="*/ 9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6"/>
                  <a:gd name="T28" fmla="*/ 0 h 177"/>
                  <a:gd name="T29" fmla="*/ 186 w 186"/>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6" h="177">
                    <a:moveTo>
                      <a:pt x="3" y="51"/>
                    </a:moveTo>
                    <a:lnTo>
                      <a:pt x="126" y="132"/>
                    </a:lnTo>
                    <a:lnTo>
                      <a:pt x="144" y="129"/>
                    </a:lnTo>
                    <a:lnTo>
                      <a:pt x="141" y="150"/>
                    </a:lnTo>
                    <a:lnTo>
                      <a:pt x="186" y="177"/>
                    </a:lnTo>
                    <a:lnTo>
                      <a:pt x="180" y="75"/>
                    </a:lnTo>
                    <a:lnTo>
                      <a:pt x="174" y="54"/>
                    </a:lnTo>
                    <a:lnTo>
                      <a:pt x="54" y="0"/>
                    </a:lnTo>
                    <a:lnTo>
                      <a:pt x="0" y="9"/>
                    </a:lnTo>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20" name="Freeform 1006"/>
              <p:cNvSpPr>
                <a:spLocks/>
              </p:cNvSpPr>
              <p:nvPr/>
            </p:nvSpPr>
            <p:spPr bwMode="gray">
              <a:xfrm>
                <a:off x="3212" y="2261"/>
                <a:ext cx="199" cy="78"/>
              </a:xfrm>
              <a:custGeom>
                <a:avLst/>
                <a:gdLst>
                  <a:gd name="T0" fmla="*/ 49 w 199"/>
                  <a:gd name="T1" fmla="*/ 0 h 78"/>
                  <a:gd name="T2" fmla="*/ 199 w 199"/>
                  <a:gd name="T3" fmla="*/ 63 h 78"/>
                  <a:gd name="T4" fmla="*/ 133 w 199"/>
                  <a:gd name="T5" fmla="*/ 78 h 78"/>
                  <a:gd name="T6" fmla="*/ 0 w 199"/>
                  <a:gd name="T7" fmla="*/ 9 h 78"/>
                  <a:gd name="T8" fmla="*/ 49 w 199"/>
                  <a:gd name="T9" fmla="*/ 0 h 78"/>
                  <a:gd name="T10" fmla="*/ 0 60000 65536"/>
                  <a:gd name="T11" fmla="*/ 0 60000 65536"/>
                  <a:gd name="T12" fmla="*/ 0 60000 65536"/>
                  <a:gd name="T13" fmla="*/ 0 60000 65536"/>
                  <a:gd name="T14" fmla="*/ 0 60000 65536"/>
                  <a:gd name="T15" fmla="*/ 0 w 199"/>
                  <a:gd name="T16" fmla="*/ 0 h 78"/>
                  <a:gd name="T17" fmla="*/ 199 w 199"/>
                  <a:gd name="T18" fmla="*/ 78 h 78"/>
                </a:gdLst>
                <a:ahLst/>
                <a:cxnLst>
                  <a:cxn ang="T10">
                    <a:pos x="T0" y="T1"/>
                  </a:cxn>
                  <a:cxn ang="T11">
                    <a:pos x="T2" y="T3"/>
                  </a:cxn>
                  <a:cxn ang="T12">
                    <a:pos x="T4" y="T5"/>
                  </a:cxn>
                  <a:cxn ang="T13">
                    <a:pos x="T6" y="T7"/>
                  </a:cxn>
                  <a:cxn ang="T14">
                    <a:pos x="T8" y="T9"/>
                  </a:cxn>
                </a:cxnLst>
                <a:rect l="T15" t="T16" r="T17" b="T18"/>
                <a:pathLst>
                  <a:path w="199" h="78">
                    <a:moveTo>
                      <a:pt x="49" y="0"/>
                    </a:moveTo>
                    <a:lnTo>
                      <a:pt x="199" y="63"/>
                    </a:lnTo>
                    <a:lnTo>
                      <a:pt x="133" y="78"/>
                    </a:lnTo>
                    <a:lnTo>
                      <a:pt x="0" y="9"/>
                    </a:lnTo>
                    <a:lnTo>
                      <a:pt x="49" y="0"/>
                    </a:lnTo>
                    <a:close/>
                  </a:path>
                </a:pathLst>
              </a:custGeom>
              <a:solidFill>
                <a:srgbClr val="DCDCDC"/>
              </a:solidFill>
              <a:ln w="9525">
                <a:noFill/>
                <a:round/>
                <a:headEnd/>
                <a:tailEnd/>
              </a:ln>
            </p:spPr>
            <p:txBody>
              <a:bodyPr wrap="none" anchor="ctr"/>
              <a:lstStyle/>
              <a:p>
                <a:pPr defTabSz="912546"/>
                <a:endParaRPr>
                  <a:solidFill>
                    <a:srgbClr val="000000"/>
                  </a:solidFill>
                </a:endParaRPr>
              </a:p>
            </p:txBody>
          </p:sp>
          <p:sp>
            <p:nvSpPr>
              <p:cNvPr id="441421" name="Freeform 1007"/>
              <p:cNvSpPr>
                <a:spLocks/>
              </p:cNvSpPr>
              <p:nvPr/>
            </p:nvSpPr>
            <p:spPr bwMode="gray">
              <a:xfrm>
                <a:off x="3210" y="2301"/>
                <a:ext cx="264" cy="155"/>
              </a:xfrm>
              <a:custGeom>
                <a:avLst/>
                <a:gdLst>
                  <a:gd name="T0" fmla="*/ 27 w 264"/>
                  <a:gd name="T1" fmla="*/ 17 h 155"/>
                  <a:gd name="T2" fmla="*/ 12 w 264"/>
                  <a:gd name="T3" fmla="*/ 44 h 155"/>
                  <a:gd name="T4" fmla="*/ 40 w 264"/>
                  <a:gd name="T5" fmla="*/ 59 h 155"/>
                  <a:gd name="T6" fmla="*/ 68 w 264"/>
                  <a:gd name="T7" fmla="*/ 39 h 155"/>
                  <a:gd name="T8" fmla="*/ 72 w 264"/>
                  <a:gd name="T9" fmla="*/ 44 h 155"/>
                  <a:gd name="T10" fmla="*/ 75 w 264"/>
                  <a:gd name="T11" fmla="*/ 53 h 155"/>
                  <a:gd name="T12" fmla="*/ 81 w 264"/>
                  <a:gd name="T13" fmla="*/ 62 h 155"/>
                  <a:gd name="T14" fmla="*/ 90 w 264"/>
                  <a:gd name="T15" fmla="*/ 92 h 155"/>
                  <a:gd name="T16" fmla="*/ 100 w 264"/>
                  <a:gd name="T17" fmla="*/ 97 h 155"/>
                  <a:gd name="T18" fmla="*/ 105 w 264"/>
                  <a:gd name="T19" fmla="*/ 107 h 155"/>
                  <a:gd name="T20" fmla="*/ 120 w 264"/>
                  <a:gd name="T21" fmla="*/ 104 h 155"/>
                  <a:gd name="T22" fmla="*/ 123 w 264"/>
                  <a:gd name="T23" fmla="*/ 95 h 155"/>
                  <a:gd name="T24" fmla="*/ 129 w 264"/>
                  <a:gd name="T25" fmla="*/ 104 h 155"/>
                  <a:gd name="T26" fmla="*/ 156 w 264"/>
                  <a:gd name="T27" fmla="*/ 116 h 155"/>
                  <a:gd name="T28" fmla="*/ 164 w 264"/>
                  <a:gd name="T29" fmla="*/ 149 h 155"/>
                  <a:gd name="T30" fmla="*/ 192 w 264"/>
                  <a:gd name="T31" fmla="*/ 140 h 155"/>
                  <a:gd name="T32" fmla="*/ 232 w 264"/>
                  <a:gd name="T33" fmla="*/ 137 h 155"/>
                  <a:gd name="T34" fmla="*/ 150 w 264"/>
                  <a:gd name="T35" fmla="*/ 89 h 155"/>
                  <a:gd name="T36" fmla="*/ 78 w 264"/>
                  <a:gd name="T37" fmla="*/ 41 h 155"/>
                  <a:gd name="T38" fmla="*/ 27 w 264"/>
                  <a:gd name="T39" fmla="*/ 17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4"/>
                  <a:gd name="T61" fmla="*/ 0 h 155"/>
                  <a:gd name="T62" fmla="*/ 264 w 264"/>
                  <a:gd name="T63" fmla="*/ 155 h 1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4" h="155">
                    <a:moveTo>
                      <a:pt x="27" y="17"/>
                    </a:moveTo>
                    <a:cubicBezTo>
                      <a:pt x="1" y="0"/>
                      <a:pt x="0" y="35"/>
                      <a:pt x="12" y="44"/>
                    </a:cubicBezTo>
                    <a:cubicBezTo>
                      <a:pt x="18" y="45"/>
                      <a:pt x="26" y="54"/>
                      <a:pt x="40" y="59"/>
                    </a:cubicBezTo>
                    <a:cubicBezTo>
                      <a:pt x="53" y="55"/>
                      <a:pt x="56" y="51"/>
                      <a:pt x="68" y="39"/>
                    </a:cubicBezTo>
                    <a:cubicBezTo>
                      <a:pt x="74" y="41"/>
                      <a:pt x="66" y="42"/>
                      <a:pt x="72" y="44"/>
                    </a:cubicBezTo>
                    <a:cubicBezTo>
                      <a:pt x="75" y="45"/>
                      <a:pt x="74" y="50"/>
                      <a:pt x="75" y="53"/>
                    </a:cubicBezTo>
                    <a:cubicBezTo>
                      <a:pt x="77" y="56"/>
                      <a:pt x="81" y="62"/>
                      <a:pt x="81" y="62"/>
                    </a:cubicBezTo>
                    <a:cubicBezTo>
                      <a:pt x="76" y="76"/>
                      <a:pt x="75" y="87"/>
                      <a:pt x="90" y="92"/>
                    </a:cubicBezTo>
                    <a:cubicBezTo>
                      <a:pt x="93" y="91"/>
                      <a:pt x="98" y="95"/>
                      <a:pt x="100" y="97"/>
                    </a:cubicBezTo>
                    <a:cubicBezTo>
                      <a:pt x="104" y="101"/>
                      <a:pt x="98" y="101"/>
                      <a:pt x="105" y="107"/>
                    </a:cubicBezTo>
                    <a:cubicBezTo>
                      <a:pt x="120" y="109"/>
                      <a:pt x="116" y="107"/>
                      <a:pt x="120" y="104"/>
                    </a:cubicBezTo>
                    <a:cubicBezTo>
                      <a:pt x="123" y="102"/>
                      <a:pt x="120" y="95"/>
                      <a:pt x="123" y="95"/>
                    </a:cubicBezTo>
                    <a:cubicBezTo>
                      <a:pt x="127" y="95"/>
                      <a:pt x="126" y="102"/>
                      <a:pt x="129" y="104"/>
                    </a:cubicBezTo>
                    <a:cubicBezTo>
                      <a:pt x="135" y="109"/>
                      <a:pt x="148" y="113"/>
                      <a:pt x="156" y="116"/>
                    </a:cubicBezTo>
                    <a:cubicBezTo>
                      <a:pt x="161" y="130"/>
                      <a:pt x="152" y="137"/>
                      <a:pt x="164" y="149"/>
                    </a:cubicBezTo>
                    <a:cubicBezTo>
                      <a:pt x="180" y="155"/>
                      <a:pt x="182" y="154"/>
                      <a:pt x="192" y="140"/>
                    </a:cubicBezTo>
                    <a:cubicBezTo>
                      <a:pt x="188" y="113"/>
                      <a:pt x="220" y="139"/>
                      <a:pt x="232" y="137"/>
                    </a:cubicBezTo>
                    <a:cubicBezTo>
                      <a:pt x="264" y="107"/>
                      <a:pt x="174" y="113"/>
                      <a:pt x="150" y="89"/>
                    </a:cubicBezTo>
                    <a:cubicBezTo>
                      <a:pt x="132" y="71"/>
                      <a:pt x="103" y="49"/>
                      <a:pt x="78" y="41"/>
                    </a:cubicBezTo>
                    <a:cubicBezTo>
                      <a:pt x="63" y="26"/>
                      <a:pt x="41" y="31"/>
                      <a:pt x="27" y="17"/>
                    </a:cubicBezTo>
                    <a:close/>
                  </a:path>
                </a:pathLst>
              </a:custGeom>
              <a:solidFill>
                <a:schemeClr val="tx2"/>
              </a:solidFill>
              <a:ln w="9525">
                <a:noFill/>
                <a:round/>
                <a:headEnd/>
                <a:tailEnd/>
              </a:ln>
            </p:spPr>
            <p:txBody>
              <a:bodyPr wrap="none" anchor="ctr"/>
              <a:lstStyle/>
              <a:p>
                <a:pPr defTabSz="912546"/>
                <a:endParaRPr>
                  <a:solidFill>
                    <a:srgbClr val="000000"/>
                  </a:solidFill>
                </a:endParaRPr>
              </a:p>
            </p:txBody>
          </p:sp>
          <p:sp>
            <p:nvSpPr>
              <p:cNvPr id="441422" name="Freeform 1008"/>
              <p:cNvSpPr>
                <a:spLocks/>
              </p:cNvSpPr>
              <p:nvPr/>
            </p:nvSpPr>
            <p:spPr bwMode="gray">
              <a:xfrm>
                <a:off x="3210" y="2270"/>
                <a:ext cx="138" cy="132"/>
              </a:xfrm>
              <a:custGeom>
                <a:avLst/>
                <a:gdLst>
                  <a:gd name="T0" fmla="*/ 3 w 138"/>
                  <a:gd name="T1" fmla="*/ 45 h 132"/>
                  <a:gd name="T2" fmla="*/ 138 w 138"/>
                  <a:gd name="T3" fmla="*/ 132 h 132"/>
                  <a:gd name="T4" fmla="*/ 132 w 138"/>
                  <a:gd name="T5" fmla="*/ 69 h 132"/>
                  <a:gd name="T6" fmla="*/ 0 w 138"/>
                  <a:gd name="T7" fmla="*/ 0 h 132"/>
                  <a:gd name="T8" fmla="*/ 3 w 138"/>
                  <a:gd name="T9" fmla="*/ 45 h 132"/>
                  <a:gd name="T10" fmla="*/ 0 60000 65536"/>
                  <a:gd name="T11" fmla="*/ 0 60000 65536"/>
                  <a:gd name="T12" fmla="*/ 0 60000 65536"/>
                  <a:gd name="T13" fmla="*/ 0 60000 65536"/>
                  <a:gd name="T14" fmla="*/ 0 60000 65536"/>
                  <a:gd name="T15" fmla="*/ 0 w 138"/>
                  <a:gd name="T16" fmla="*/ 0 h 132"/>
                  <a:gd name="T17" fmla="*/ 138 w 138"/>
                  <a:gd name="T18" fmla="*/ 132 h 132"/>
                </a:gdLst>
                <a:ahLst/>
                <a:cxnLst>
                  <a:cxn ang="T10">
                    <a:pos x="T0" y="T1"/>
                  </a:cxn>
                  <a:cxn ang="T11">
                    <a:pos x="T2" y="T3"/>
                  </a:cxn>
                  <a:cxn ang="T12">
                    <a:pos x="T4" y="T5"/>
                  </a:cxn>
                  <a:cxn ang="T13">
                    <a:pos x="T6" y="T7"/>
                  </a:cxn>
                  <a:cxn ang="T14">
                    <a:pos x="T8" y="T9"/>
                  </a:cxn>
                </a:cxnLst>
                <a:rect l="T15" t="T16" r="T17" b="T18"/>
                <a:pathLst>
                  <a:path w="138" h="132">
                    <a:moveTo>
                      <a:pt x="3" y="45"/>
                    </a:moveTo>
                    <a:lnTo>
                      <a:pt x="138" y="132"/>
                    </a:lnTo>
                    <a:lnTo>
                      <a:pt x="132" y="69"/>
                    </a:lnTo>
                    <a:lnTo>
                      <a:pt x="0" y="0"/>
                    </a:lnTo>
                    <a:lnTo>
                      <a:pt x="3" y="45"/>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23" name="Freeform 1009"/>
              <p:cNvSpPr>
                <a:spLocks/>
              </p:cNvSpPr>
              <p:nvPr/>
            </p:nvSpPr>
            <p:spPr bwMode="gray">
              <a:xfrm>
                <a:off x="3342" y="2318"/>
                <a:ext cx="66" cy="81"/>
              </a:xfrm>
              <a:custGeom>
                <a:avLst/>
                <a:gdLst>
                  <a:gd name="T0" fmla="*/ 0 w 66"/>
                  <a:gd name="T1" fmla="*/ 18 h 81"/>
                  <a:gd name="T2" fmla="*/ 0 w 66"/>
                  <a:gd name="T3" fmla="*/ 81 h 81"/>
                  <a:gd name="T4" fmla="*/ 66 w 66"/>
                  <a:gd name="T5" fmla="*/ 60 h 81"/>
                  <a:gd name="T6" fmla="*/ 63 w 66"/>
                  <a:gd name="T7" fmla="*/ 0 h 81"/>
                  <a:gd name="T8" fmla="*/ 0 w 66"/>
                  <a:gd name="T9" fmla="*/ 18 h 81"/>
                  <a:gd name="T10" fmla="*/ 0 60000 65536"/>
                  <a:gd name="T11" fmla="*/ 0 60000 65536"/>
                  <a:gd name="T12" fmla="*/ 0 60000 65536"/>
                  <a:gd name="T13" fmla="*/ 0 60000 65536"/>
                  <a:gd name="T14" fmla="*/ 0 60000 65536"/>
                  <a:gd name="T15" fmla="*/ 0 w 66"/>
                  <a:gd name="T16" fmla="*/ 0 h 81"/>
                  <a:gd name="T17" fmla="*/ 66 w 66"/>
                  <a:gd name="T18" fmla="*/ 81 h 81"/>
                </a:gdLst>
                <a:ahLst/>
                <a:cxnLst>
                  <a:cxn ang="T10">
                    <a:pos x="T0" y="T1"/>
                  </a:cxn>
                  <a:cxn ang="T11">
                    <a:pos x="T2" y="T3"/>
                  </a:cxn>
                  <a:cxn ang="T12">
                    <a:pos x="T4" y="T5"/>
                  </a:cxn>
                  <a:cxn ang="T13">
                    <a:pos x="T6" y="T7"/>
                  </a:cxn>
                  <a:cxn ang="T14">
                    <a:pos x="T8" y="T9"/>
                  </a:cxn>
                </a:cxnLst>
                <a:rect l="T15" t="T16" r="T17" b="T18"/>
                <a:pathLst>
                  <a:path w="66" h="81">
                    <a:moveTo>
                      <a:pt x="0" y="18"/>
                    </a:moveTo>
                    <a:lnTo>
                      <a:pt x="0" y="81"/>
                    </a:lnTo>
                    <a:lnTo>
                      <a:pt x="66" y="60"/>
                    </a:lnTo>
                    <a:lnTo>
                      <a:pt x="63" y="0"/>
                    </a:lnTo>
                    <a:lnTo>
                      <a:pt x="0" y="18"/>
                    </a:lnTo>
                    <a:close/>
                  </a:path>
                </a:pathLst>
              </a:custGeom>
              <a:solidFill>
                <a:srgbClr val="C0C0C0"/>
              </a:solidFill>
              <a:ln w="9525">
                <a:noFill/>
                <a:round/>
                <a:headEnd/>
                <a:tailEnd/>
              </a:ln>
            </p:spPr>
            <p:txBody>
              <a:bodyPr wrap="none" anchor="ctr"/>
              <a:lstStyle/>
              <a:p>
                <a:pPr defTabSz="912546"/>
                <a:endParaRPr>
                  <a:solidFill>
                    <a:srgbClr val="000000"/>
                  </a:solidFill>
                </a:endParaRPr>
              </a:p>
            </p:txBody>
          </p:sp>
          <p:sp>
            <p:nvSpPr>
              <p:cNvPr id="441424" name="Freeform 1010"/>
              <p:cNvSpPr>
                <a:spLocks/>
              </p:cNvSpPr>
              <p:nvPr/>
            </p:nvSpPr>
            <p:spPr bwMode="gray">
              <a:xfrm>
                <a:off x="3344" y="2341"/>
                <a:ext cx="118" cy="103"/>
              </a:xfrm>
              <a:custGeom>
                <a:avLst/>
                <a:gdLst>
                  <a:gd name="T0" fmla="*/ 10 w 118"/>
                  <a:gd name="T1" fmla="*/ 21 h 103"/>
                  <a:gd name="T2" fmla="*/ 23 w 118"/>
                  <a:gd name="T3" fmla="*/ 84 h 103"/>
                  <a:gd name="T4" fmla="*/ 33 w 118"/>
                  <a:gd name="T5" fmla="*/ 71 h 103"/>
                  <a:gd name="T6" fmla="*/ 43 w 118"/>
                  <a:gd name="T7" fmla="*/ 94 h 103"/>
                  <a:gd name="T8" fmla="*/ 52 w 118"/>
                  <a:gd name="T9" fmla="*/ 101 h 103"/>
                  <a:gd name="T10" fmla="*/ 114 w 118"/>
                  <a:gd name="T11" fmla="*/ 77 h 103"/>
                  <a:gd name="T12" fmla="*/ 110 w 118"/>
                  <a:gd name="T13" fmla="*/ 63 h 103"/>
                  <a:gd name="T14" fmla="*/ 108 w 118"/>
                  <a:gd name="T15" fmla="*/ 51 h 103"/>
                  <a:gd name="T16" fmla="*/ 84 w 118"/>
                  <a:gd name="T17" fmla="*/ 35 h 103"/>
                  <a:gd name="T18" fmla="*/ 75 w 118"/>
                  <a:gd name="T19" fmla="*/ 13 h 103"/>
                  <a:gd name="T20" fmla="*/ 57 w 118"/>
                  <a:gd name="T21" fmla="*/ 0 h 103"/>
                  <a:gd name="T22" fmla="*/ 12 w 118"/>
                  <a:gd name="T23" fmla="*/ 14 h 103"/>
                  <a:gd name="T24" fmla="*/ 10 w 118"/>
                  <a:gd name="T25" fmla="*/ 21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8"/>
                  <a:gd name="T40" fmla="*/ 0 h 103"/>
                  <a:gd name="T41" fmla="*/ 118 w 118"/>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8" h="103">
                    <a:moveTo>
                      <a:pt x="10" y="21"/>
                    </a:moveTo>
                    <a:cubicBezTo>
                      <a:pt x="10" y="38"/>
                      <a:pt x="0" y="76"/>
                      <a:pt x="23" y="84"/>
                    </a:cubicBezTo>
                    <a:cubicBezTo>
                      <a:pt x="23" y="80"/>
                      <a:pt x="26" y="69"/>
                      <a:pt x="33" y="71"/>
                    </a:cubicBezTo>
                    <a:cubicBezTo>
                      <a:pt x="42" y="72"/>
                      <a:pt x="43" y="94"/>
                      <a:pt x="43" y="94"/>
                    </a:cubicBezTo>
                    <a:cubicBezTo>
                      <a:pt x="41" y="103"/>
                      <a:pt x="47" y="101"/>
                      <a:pt x="52" y="101"/>
                    </a:cubicBezTo>
                    <a:cubicBezTo>
                      <a:pt x="74" y="94"/>
                      <a:pt x="95" y="90"/>
                      <a:pt x="114" y="77"/>
                    </a:cubicBezTo>
                    <a:cubicBezTo>
                      <a:pt x="118" y="75"/>
                      <a:pt x="111" y="69"/>
                      <a:pt x="110" y="63"/>
                    </a:cubicBezTo>
                    <a:cubicBezTo>
                      <a:pt x="108" y="59"/>
                      <a:pt x="108" y="60"/>
                      <a:pt x="108" y="51"/>
                    </a:cubicBezTo>
                    <a:cubicBezTo>
                      <a:pt x="104" y="46"/>
                      <a:pt x="94" y="44"/>
                      <a:pt x="84" y="35"/>
                    </a:cubicBezTo>
                    <a:cubicBezTo>
                      <a:pt x="80" y="24"/>
                      <a:pt x="79" y="24"/>
                      <a:pt x="75" y="13"/>
                    </a:cubicBezTo>
                    <a:cubicBezTo>
                      <a:pt x="73" y="9"/>
                      <a:pt x="68" y="0"/>
                      <a:pt x="57" y="0"/>
                    </a:cubicBezTo>
                    <a:lnTo>
                      <a:pt x="12" y="14"/>
                    </a:lnTo>
                    <a:lnTo>
                      <a:pt x="10" y="21"/>
                    </a:lnTo>
                    <a:close/>
                  </a:path>
                </a:pathLst>
              </a:custGeom>
              <a:solidFill>
                <a:srgbClr val="007DBC"/>
              </a:solidFill>
              <a:ln w="9525">
                <a:noFill/>
                <a:round/>
                <a:headEnd/>
                <a:tailEnd/>
              </a:ln>
            </p:spPr>
            <p:txBody>
              <a:bodyPr wrap="none" anchor="ctr"/>
              <a:lstStyle/>
              <a:p>
                <a:pPr defTabSz="912546"/>
                <a:endParaRPr>
                  <a:solidFill>
                    <a:srgbClr val="000000"/>
                  </a:solidFill>
                </a:endParaRPr>
              </a:p>
            </p:txBody>
          </p:sp>
          <p:sp>
            <p:nvSpPr>
              <p:cNvPr id="441425" name="Freeform 1011"/>
              <p:cNvSpPr>
                <a:spLocks/>
              </p:cNvSpPr>
              <p:nvPr/>
            </p:nvSpPr>
            <p:spPr bwMode="gray">
              <a:xfrm>
                <a:off x="3378" y="2358"/>
                <a:ext cx="52" cy="34"/>
              </a:xfrm>
              <a:custGeom>
                <a:avLst/>
                <a:gdLst>
                  <a:gd name="T0" fmla="*/ 44 w 52"/>
                  <a:gd name="T1" fmla="*/ 0 h 34"/>
                  <a:gd name="T2" fmla="*/ 52 w 52"/>
                  <a:gd name="T3" fmla="*/ 18 h 34"/>
                  <a:gd name="T4" fmla="*/ 4 w 52"/>
                  <a:gd name="T5" fmla="*/ 34 h 34"/>
                  <a:gd name="T6" fmla="*/ 0 w 52"/>
                  <a:gd name="T7" fmla="*/ 14 h 34"/>
                  <a:gd name="T8" fmla="*/ 44 w 52"/>
                  <a:gd name="T9" fmla="*/ 0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44" y="0"/>
                    </a:moveTo>
                    <a:lnTo>
                      <a:pt x="52" y="18"/>
                    </a:lnTo>
                    <a:lnTo>
                      <a:pt x="4" y="34"/>
                    </a:lnTo>
                    <a:lnTo>
                      <a:pt x="0" y="14"/>
                    </a:lnTo>
                    <a:lnTo>
                      <a:pt x="44" y="0"/>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26" name="Freeform 1012"/>
              <p:cNvSpPr>
                <a:spLocks/>
              </p:cNvSpPr>
              <p:nvPr/>
            </p:nvSpPr>
            <p:spPr bwMode="gray">
              <a:xfrm>
                <a:off x="3412" y="2400"/>
                <a:ext cx="28" cy="26"/>
              </a:xfrm>
              <a:custGeom>
                <a:avLst/>
                <a:gdLst>
                  <a:gd name="T0" fmla="*/ 0 w 28"/>
                  <a:gd name="T1" fmla="*/ 26 h 26"/>
                  <a:gd name="T2" fmla="*/ 28 w 28"/>
                  <a:gd name="T3" fmla="*/ 16 h 26"/>
                  <a:gd name="T4" fmla="*/ 26 w 28"/>
                  <a:gd name="T5" fmla="*/ 0 h 26"/>
                  <a:gd name="T6" fmla="*/ 0 w 28"/>
                  <a:gd name="T7" fmla="*/ 8 h 26"/>
                  <a:gd name="T8" fmla="*/ 0 w 28"/>
                  <a:gd name="T9" fmla="*/ 26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26"/>
                    </a:moveTo>
                    <a:lnTo>
                      <a:pt x="28" y="16"/>
                    </a:lnTo>
                    <a:lnTo>
                      <a:pt x="26" y="0"/>
                    </a:lnTo>
                    <a:lnTo>
                      <a:pt x="0" y="8"/>
                    </a:lnTo>
                    <a:lnTo>
                      <a:pt x="0" y="26"/>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427" name="Freeform 1013"/>
              <p:cNvSpPr>
                <a:spLocks/>
              </p:cNvSpPr>
              <p:nvPr/>
            </p:nvSpPr>
            <p:spPr bwMode="gray">
              <a:xfrm>
                <a:off x="3394" y="2418"/>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28" name="Freeform 1014"/>
              <p:cNvSpPr>
                <a:spLocks/>
              </p:cNvSpPr>
              <p:nvPr/>
            </p:nvSpPr>
            <p:spPr bwMode="gray">
              <a:xfrm>
                <a:off x="3436" y="2404"/>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29" name="Freeform 1015"/>
              <p:cNvSpPr>
                <a:spLocks/>
              </p:cNvSpPr>
              <p:nvPr/>
            </p:nvSpPr>
            <p:spPr bwMode="gray">
              <a:xfrm>
                <a:off x="3360" y="2362"/>
                <a:ext cx="12" cy="28"/>
              </a:xfrm>
              <a:custGeom>
                <a:avLst/>
                <a:gdLst>
                  <a:gd name="T0" fmla="*/ 12 w 12"/>
                  <a:gd name="T1" fmla="*/ 6 h 28"/>
                  <a:gd name="T2" fmla="*/ 12 w 12"/>
                  <a:gd name="T3" fmla="*/ 28 h 28"/>
                  <a:gd name="T4" fmla="*/ 0 w 12"/>
                  <a:gd name="T5" fmla="*/ 20 h 28"/>
                  <a:gd name="T6" fmla="*/ 0 w 12"/>
                  <a:gd name="T7" fmla="*/ 0 h 28"/>
                  <a:gd name="T8" fmla="*/ 12 w 12"/>
                  <a:gd name="T9" fmla="*/ 6 h 28"/>
                  <a:gd name="T10" fmla="*/ 0 60000 65536"/>
                  <a:gd name="T11" fmla="*/ 0 60000 65536"/>
                  <a:gd name="T12" fmla="*/ 0 60000 65536"/>
                  <a:gd name="T13" fmla="*/ 0 60000 65536"/>
                  <a:gd name="T14" fmla="*/ 0 60000 65536"/>
                  <a:gd name="T15" fmla="*/ 0 w 12"/>
                  <a:gd name="T16" fmla="*/ 0 h 28"/>
                  <a:gd name="T17" fmla="*/ 12 w 12"/>
                  <a:gd name="T18" fmla="*/ 28 h 28"/>
                </a:gdLst>
                <a:ahLst/>
                <a:cxnLst>
                  <a:cxn ang="T10">
                    <a:pos x="T0" y="T1"/>
                  </a:cxn>
                  <a:cxn ang="T11">
                    <a:pos x="T2" y="T3"/>
                  </a:cxn>
                  <a:cxn ang="T12">
                    <a:pos x="T4" y="T5"/>
                  </a:cxn>
                  <a:cxn ang="T13">
                    <a:pos x="T6" y="T7"/>
                  </a:cxn>
                  <a:cxn ang="T14">
                    <a:pos x="T8" y="T9"/>
                  </a:cxn>
                </a:cxnLst>
                <a:rect l="T15" t="T16" r="T17" b="T18"/>
                <a:pathLst>
                  <a:path w="12" h="28">
                    <a:moveTo>
                      <a:pt x="12" y="6"/>
                    </a:moveTo>
                    <a:lnTo>
                      <a:pt x="12" y="28"/>
                    </a:lnTo>
                    <a:lnTo>
                      <a:pt x="0" y="20"/>
                    </a:lnTo>
                    <a:lnTo>
                      <a:pt x="0" y="0"/>
                    </a:lnTo>
                    <a:lnTo>
                      <a:pt x="12" y="6"/>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30" name="Freeform 1016"/>
              <p:cNvSpPr>
                <a:spLocks/>
              </p:cNvSpPr>
              <p:nvPr/>
            </p:nvSpPr>
            <p:spPr bwMode="gray">
              <a:xfrm>
                <a:off x="3220" y="2328"/>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1" name="Freeform 1017"/>
              <p:cNvSpPr>
                <a:spLocks/>
              </p:cNvSpPr>
              <p:nvPr/>
            </p:nvSpPr>
            <p:spPr bwMode="gray">
              <a:xfrm>
                <a:off x="3372" y="2424"/>
                <a:ext cx="16" cy="20"/>
              </a:xfrm>
              <a:custGeom>
                <a:avLst/>
                <a:gdLst>
                  <a:gd name="T0" fmla="*/ 6 w 16"/>
                  <a:gd name="T1" fmla="*/ 0 h 20"/>
                  <a:gd name="T2" fmla="*/ 6 w 16"/>
                  <a:gd name="T3" fmla="*/ 18 h 20"/>
                  <a:gd name="T4" fmla="*/ 6 w 16"/>
                  <a:gd name="T5" fmla="*/ 0 h 20"/>
                  <a:gd name="T6" fmla="*/ 0 60000 65536"/>
                  <a:gd name="T7" fmla="*/ 0 60000 65536"/>
                  <a:gd name="T8" fmla="*/ 0 60000 65536"/>
                  <a:gd name="T9" fmla="*/ 0 w 16"/>
                  <a:gd name="T10" fmla="*/ 0 h 20"/>
                  <a:gd name="T11" fmla="*/ 16 w 16"/>
                  <a:gd name="T12" fmla="*/ 20 h 20"/>
                </a:gdLst>
                <a:ahLst/>
                <a:cxnLst>
                  <a:cxn ang="T6">
                    <a:pos x="T0" y="T1"/>
                  </a:cxn>
                  <a:cxn ang="T7">
                    <a:pos x="T2" y="T3"/>
                  </a:cxn>
                  <a:cxn ang="T8">
                    <a:pos x="T4" y="T5"/>
                  </a:cxn>
                </a:cxnLst>
                <a:rect l="T9" t="T10" r="T11" b="T12"/>
                <a:pathLst>
                  <a:path w="16" h="20">
                    <a:moveTo>
                      <a:pt x="6" y="0"/>
                    </a:moveTo>
                    <a:cubicBezTo>
                      <a:pt x="16" y="4"/>
                      <a:pt x="10" y="20"/>
                      <a:pt x="6" y="18"/>
                    </a:cubicBezTo>
                    <a:cubicBezTo>
                      <a:pt x="0" y="1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2" name="Freeform 1018"/>
              <p:cNvSpPr>
                <a:spLocks/>
              </p:cNvSpPr>
              <p:nvPr/>
            </p:nvSpPr>
            <p:spPr bwMode="gray">
              <a:xfrm>
                <a:off x="3238" y="234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3" name="Freeform 1019"/>
              <p:cNvSpPr>
                <a:spLocks/>
              </p:cNvSpPr>
              <p:nvPr/>
            </p:nvSpPr>
            <p:spPr bwMode="gray">
              <a:xfrm>
                <a:off x="3294" y="2376"/>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4" name="Freeform 1020"/>
              <p:cNvSpPr>
                <a:spLocks/>
              </p:cNvSpPr>
              <p:nvPr/>
            </p:nvSpPr>
            <p:spPr bwMode="gray">
              <a:xfrm>
                <a:off x="3314" y="239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35" name="Freeform 1021"/>
              <p:cNvSpPr>
                <a:spLocks/>
              </p:cNvSpPr>
              <p:nvPr/>
            </p:nvSpPr>
            <p:spPr bwMode="gray">
              <a:xfrm>
                <a:off x="3208" y="2280"/>
                <a:ext cx="153" cy="87"/>
              </a:xfrm>
              <a:custGeom>
                <a:avLst/>
                <a:gdLst>
                  <a:gd name="T0" fmla="*/ 0 w 153"/>
                  <a:gd name="T1" fmla="*/ 0 h 87"/>
                  <a:gd name="T2" fmla="*/ 132 w 153"/>
                  <a:gd name="T3" fmla="*/ 68 h 87"/>
                  <a:gd name="T4" fmla="*/ 132 w 153"/>
                  <a:gd name="T5" fmla="*/ 76 h 87"/>
                  <a:gd name="T6" fmla="*/ 4 w 153"/>
                  <a:gd name="T7" fmla="*/ 8 h 87"/>
                  <a:gd name="T8" fmla="*/ 0 w 153"/>
                  <a:gd name="T9" fmla="*/ 0 h 87"/>
                  <a:gd name="T10" fmla="*/ 0 60000 65536"/>
                  <a:gd name="T11" fmla="*/ 0 60000 65536"/>
                  <a:gd name="T12" fmla="*/ 0 60000 65536"/>
                  <a:gd name="T13" fmla="*/ 0 60000 65536"/>
                  <a:gd name="T14" fmla="*/ 0 60000 65536"/>
                  <a:gd name="T15" fmla="*/ 0 w 153"/>
                  <a:gd name="T16" fmla="*/ 0 h 87"/>
                  <a:gd name="T17" fmla="*/ 153 w 153"/>
                  <a:gd name="T18" fmla="*/ 87 h 87"/>
                </a:gdLst>
                <a:ahLst/>
                <a:cxnLst>
                  <a:cxn ang="T10">
                    <a:pos x="T0" y="T1"/>
                  </a:cxn>
                  <a:cxn ang="T11">
                    <a:pos x="T2" y="T3"/>
                  </a:cxn>
                  <a:cxn ang="T12">
                    <a:pos x="T4" y="T5"/>
                  </a:cxn>
                  <a:cxn ang="T13">
                    <a:pos x="T6" y="T7"/>
                  </a:cxn>
                  <a:cxn ang="T14">
                    <a:pos x="T8" y="T9"/>
                  </a:cxn>
                </a:cxnLst>
                <a:rect l="T15" t="T16" r="T17" b="T18"/>
                <a:pathLst>
                  <a:path w="153" h="87">
                    <a:moveTo>
                      <a:pt x="0" y="0"/>
                    </a:moveTo>
                    <a:lnTo>
                      <a:pt x="132" y="68"/>
                    </a:lnTo>
                    <a:cubicBezTo>
                      <a:pt x="132" y="70"/>
                      <a:pt x="153" y="87"/>
                      <a:pt x="132" y="76"/>
                    </a:cubicBezTo>
                    <a:lnTo>
                      <a:pt x="4" y="8"/>
                    </a:lnTo>
                    <a:lnTo>
                      <a:pt x="0"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grpSp>
        <p:grpSp>
          <p:nvGrpSpPr>
            <p:cNvPr id="265168" name="Group 1022"/>
            <p:cNvGrpSpPr>
              <a:grpSpLocks/>
            </p:cNvGrpSpPr>
            <p:nvPr/>
          </p:nvGrpSpPr>
          <p:grpSpPr bwMode="gray">
            <a:xfrm rot="-9163">
              <a:off x="733" y="1272"/>
              <a:ext cx="136" cy="71"/>
              <a:chOff x="3128" y="2261"/>
              <a:chExt cx="372" cy="195"/>
            </a:xfrm>
          </p:grpSpPr>
          <p:sp>
            <p:nvSpPr>
              <p:cNvPr id="265215" name="Oval 1023"/>
              <p:cNvSpPr>
                <a:spLocks noChangeArrowheads="1"/>
              </p:cNvSpPr>
              <p:nvPr/>
            </p:nvSpPr>
            <p:spPr bwMode="gray">
              <a:xfrm rot="1809517">
                <a:off x="3128" y="2321"/>
                <a:ext cx="372" cy="74"/>
              </a:xfrm>
              <a:prstGeom prst="ellipse">
                <a:avLst/>
              </a:prstGeom>
              <a:gradFill rotWithShape="1">
                <a:gsLst>
                  <a:gs pos="0">
                    <a:schemeClr val="folHlink">
                      <a:alpha val="73000"/>
                    </a:schemeClr>
                  </a:gs>
                  <a:gs pos="100000">
                    <a:schemeClr val="folHlink">
                      <a:gamma/>
                      <a:tint val="93725"/>
                      <a:invGamma/>
                      <a:alpha val="0"/>
                    </a:schemeClr>
                  </a:gs>
                </a:gsLst>
                <a:path path="shape">
                  <a:fillToRect l="50000" t="50000" r="50000" b="50000"/>
                </a:path>
              </a:gradFill>
              <a:ln w="9525" algn="ctr">
                <a:noFill/>
                <a:round/>
                <a:headEnd/>
                <a:tailEnd/>
              </a:ln>
              <a:effectLst/>
            </p:spPr>
            <p:txBody>
              <a:bodyPr wrap="none" anchor="ctr"/>
              <a:lstStyle/>
              <a:p>
                <a:pPr algn="ctr" defTabSz="912546">
                  <a:defRPr/>
                </a:pPr>
                <a:endParaRPr lang="en-US" dirty="0">
                  <a:solidFill>
                    <a:srgbClr val="000000"/>
                  </a:solidFill>
                </a:endParaRPr>
              </a:p>
            </p:txBody>
          </p:sp>
          <p:sp>
            <p:nvSpPr>
              <p:cNvPr id="441401" name="Freeform 1024"/>
              <p:cNvSpPr>
                <a:spLocks/>
              </p:cNvSpPr>
              <p:nvPr/>
            </p:nvSpPr>
            <p:spPr bwMode="gray">
              <a:xfrm>
                <a:off x="3210" y="2264"/>
                <a:ext cx="186" cy="177"/>
              </a:xfrm>
              <a:custGeom>
                <a:avLst/>
                <a:gdLst>
                  <a:gd name="T0" fmla="*/ 3 w 186"/>
                  <a:gd name="T1" fmla="*/ 51 h 177"/>
                  <a:gd name="T2" fmla="*/ 126 w 186"/>
                  <a:gd name="T3" fmla="*/ 132 h 177"/>
                  <a:gd name="T4" fmla="*/ 144 w 186"/>
                  <a:gd name="T5" fmla="*/ 129 h 177"/>
                  <a:gd name="T6" fmla="*/ 141 w 186"/>
                  <a:gd name="T7" fmla="*/ 150 h 177"/>
                  <a:gd name="T8" fmla="*/ 186 w 186"/>
                  <a:gd name="T9" fmla="*/ 177 h 177"/>
                  <a:gd name="T10" fmla="*/ 180 w 186"/>
                  <a:gd name="T11" fmla="*/ 75 h 177"/>
                  <a:gd name="T12" fmla="*/ 174 w 186"/>
                  <a:gd name="T13" fmla="*/ 54 h 177"/>
                  <a:gd name="T14" fmla="*/ 54 w 186"/>
                  <a:gd name="T15" fmla="*/ 0 h 177"/>
                  <a:gd name="T16" fmla="*/ 0 w 186"/>
                  <a:gd name="T17" fmla="*/ 9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6"/>
                  <a:gd name="T28" fmla="*/ 0 h 177"/>
                  <a:gd name="T29" fmla="*/ 186 w 186"/>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6" h="177">
                    <a:moveTo>
                      <a:pt x="3" y="51"/>
                    </a:moveTo>
                    <a:lnTo>
                      <a:pt x="126" y="132"/>
                    </a:lnTo>
                    <a:lnTo>
                      <a:pt x="144" y="129"/>
                    </a:lnTo>
                    <a:lnTo>
                      <a:pt x="141" y="150"/>
                    </a:lnTo>
                    <a:lnTo>
                      <a:pt x="186" y="177"/>
                    </a:lnTo>
                    <a:lnTo>
                      <a:pt x="180" y="75"/>
                    </a:lnTo>
                    <a:lnTo>
                      <a:pt x="174" y="54"/>
                    </a:lnTo>
                    <a:lnTo>
                      <a:pt x="54" y="0"/>
                    </a:lnTo>
                    <a:lnTo>
                      <a:pt x="0" y="9"/>
                    </a:lnTo>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02" name="Freeform 1025"/>
              <p:cNvSpPr>
                <a:spLocks/>
              </p:cNvSpPr>
              <p:nvPr/>
            </p:nvSpPr>
            <p:spPr bwMode="gray">
              <a:xfrm>
                <a:off x="3212" y="2261"/>
                <a:ext cx="199" cy="78"/>
              </a:xfrm>
              <a:custGeom>
                <a:avLst/>
                <a:gdLst>
                  <a:gd name="T0" fmla="*/ 49 w 199"/>
                  <a:gd name="T1" fmla="*/ 0 h 78"/>
                  <a:gd name="T2" fmla="*/ 199 w 199"/>
                  <a:gd name="T3" fmla="*/ 63 h 78"/>
                  <a:gd name="T4" fmla="*/ 133 w 199"/>
                  <a:gd name="T5" fmla="*/ 78 h 78"/>
                  <a:gd name="T6" fmla="*/ 0 w 199"/>
                  <a:gd name="T7" fmla="*/ 9 h 78"/>
                  <a:gd name="T8" fmla="*/ 49 w 199"/>
                  <a:gd name="T9" fmla="*/ 0 h 78"/>
                  <a:gd name="T10" fmla="*/ 0 60000 65536"/>
                  <a:gd name="T11" fmla="*/ 0 60000 65536"/>
                  <a:gd name="T12" fmla="*/ 0 60000 65536"/>
                  <a:gd name="T13" fmla="*/ 0 60000 65536"/>
                  <a:gd name="T14" fmla="*/ 0 60000 65536"/>
                  <a:gd name="T15" fmla="*/ 0 w 199"/>
                  <a:gd name="T16" fmla="*/ 0 h 78"/>
                  <a:gd name="T17" fmla="*/ 199 w 199"/>
                  <a:gd name="T18" fmla="*/ 78 h 78"/>
                </a:gdLst>
                <a:ahLst/>
                <a:cxnLst>
                  <a:cxn ang="T10">
                    <a:pos x="T0" y="T1"/>
                  </a:cxn>
                  <a:cxn ang="T11">
                    <a:pos x="T2" y="T3"/>
                  </a:cxn>
                  <a:cxn ang="T12">
                    <a:pos x="T4" y="T5"/>
                  </a:cxn>
                  <a:cxn ang="T13">
                    <a:pos x="T6" y="T7"/>
                  </a:cxn>
                  <a:cxn ang="T14">
                    <a:pos x="T8" y="T9"/>
                  </a:cxn>
                </a:cxnLst>
                <a:rect l="T15" t="T16" r="T17" b="T18"/>
                <a:pathLst>
                  <a:path w="199" h="78">
                    <a:moveTo>
                      <a:pt x="49" y="0"/>
                    </a:moveTo>
                    <a:lnTo>
                      <a:pt x="199" y="63"/>
                    </a:lnTo>
                    <a:lnTo>
                      <a:pt x="133" y="78"/>
                    </a:lnTo>
                    <a:lnTo>
                      <a:pt x="0" y="9"/>
                    </a:lnTo>
                    <a:lnTo>
                      <a:pt x="49" y="0"/>
                    </a:lnTo>
                    <a:close/>
                  </a:path>
                </a:pathLst>
              </a:custGeom>
              <a:solidFill>
                <a:srgbClr val="DCDCDC"/>
              </a:solidFill>
              <a:ln w="9525">
                <a:noFill/>
                <a:round/>
                <a:headEnd/>
                <a:tailEnd/>
              </a:ln>
            </p:spPr>
            <p:txBody>
              <a:bodyPr wrap="none" anchor="ctr"/>
              <a:lstStyle/>
              <a:p>
                <a:pPr defTabSz="912546"/>
                <a:endParaRPr>
                  <a:solidFill>
                    <a:srgbClr val="000000"/>
                  </a:solidFill>
                </a:endParaRPr>
              </a:p>
            </p:txBody>
          </p:sp>
          <p:sp>
            <p:nvSpPr>
              <p:cNvPr id="441403" name="Freeform 1026"/>
              <p:cNvSpPr>
                <a:spLocks/>
              </p:cNvSpPr>
              <p:nvPr/>
            </p:nvSpPr>
            <p:spPr bwMode="gray">
              <a:xfrm>
                <a:off x="3210" y="2301"/>
                <a:ext cx="264" cy="155"/>
              </a:xfrm>
              <a:custGeom>
                <a:avLst/>
                <a:gdLst>
                  <a:gd name="T0" fmla="*/ 27 w 264"/>
                  <a:gd name="T1" fmla="*/ 17 h 155"/>
                  <a:gd name="T2" fmla="*/ 12 w 264"/>
                  <a:gd name="T3" fmla="*/ 44 h 155"/>
                  <a:gd name="T4" fmla="*/ 40 w 264"/>
                  <a:gd name="T5" fmla="*/ 59 h 155"/>
                  <a:gd name="T6" fmla="*/ 68 w 264"/>
                  <a:gd name="T7" fmla="*/ 39 h 155"/>
                  <a:gd name="T8" fmla="*/ 72 w 264"/>
                  <a:gd name="T9" fmla="*/ 44 h 155"/>
                  <a:gd name="T10" fmla="*/ 75 w 264"/>
                  <a:gd name="T11" fmla="*/ 53 h 155"/>
                  <a:gd name="T12" fmla="*/ 81 w 264"/>
                  <a:gd name="T13" fmla="*/ 62 h 155"/>
                  <a:gd name="T14" fmla="*/ 90 w 264"/>
                  <a:gd name="T15" fmla="*/ 92 h 155"/>
                  <a:gd name="T16" fmla="*/ 100 w 264"/>
                  <a:gd name="T17" fmla="*/ 97 h 155"/>
                  <a:gd name="T18" fmla="*/ 105 w 264"/>
                  <a:gd name="T19" fmla="*/ 107 h 155"/>
                  <a:gd name="T20" fmla="*/ 120 w 264"/>
                  <a:gd name="T21" fmla="*/ 104 h 155"/>
                  <a:gd name="T22" fmla="*/ 123 w 264"/>
                  <a:gd name="T23" fmla="*/ 95 h 155"/>
                  <a:gd name="T24" fmla="*/ 129 w 264"/>
                  <a:gd name="T25" fmla="*/ 104 h 155"/>
                  <a:gd name="T26" fmla="*/ 156 w 264"/>
                  <a:gd name="T27" fmla="*/ 116 h 155"/>
                  <a:gd name="T28" fmla="*/ 164 w 264"/>
                  <a:gd name="T29" fmla="*/ 149 h 155"/>
                  <a:gd name="T30" fmla="*/ 192 w 264"/>
                  <a:gd name="T31" fmla="*/ 140 h 155"/>
                  <a:gd name="T32" fmla="*/ 232 w 264"/>
                  <a:gd name="T33" fmla="*/ 137 h 155"/>
                  <a:gd name="T34" fmla="*/ 150 w 264"/>
                  <a:gd name="T35" fmla="*/ 89 h 155"/>
                  <a:gd name="T36" fmla="*/ 78 w 264"/>
                  <a:gd name="T37" fmla="*/ 41 h 155"/>
                  <a:gd name="T38" fmla="*/ 27 w 264"/>
                  <a:gd name="T39" fmla="*/ 17 h 1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4"/>
                  <a:gd name="T61" fmla="*/ 0 h 155"/>
                  <a:gd name="T62" fmla="*/ 264 w 264"/>
                  <a:gd name="T63" fmla="*/ 155 h 1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4" h="155">
                    <a:moveTo>
                      <a:pt x="27" y="17"/>
                    </a:moveTo>
                    <a:cubicBezTo>
                      <a:pt x="1" y="0"/>
                      <a:pt x="0" y="35"/>
                      <a:pt x="12" y="44"/>
                    </a:cubicBezTo>
                    <a:cubicBezTo>
                      <a:pt x="18" y="45"/>
                      <a:pt x="26" y="54"/>
                      <a:pt x="40" y="59"/>
                    </a:cubicBezTo>
                    <a:cubicBezTo>
                      <a:pt x="53" y="55"/>
                      <a:pt x="56" y="51"/>
                      <a:pt x="68" y="39"/>
                    </a:cubicBezTo>
                    <a:cubicBezTo>
                      <a:pt x="74" y="41"/>
                      <a:pt x="66" y="42"/>
                      <a:pt x="72" y="44"/>
                    </a:cubicBezTo>
                    <a:cubicBezTo>
                      <a:pt x="75" y="45"/>
                      <a:pt x="74" y="50"/>
                      <a:pt x="75" y="53"/>
                    </a:cubicBezTo>
                    <a:cubicBezTo>
                      <a:pt x="77" y="56"/>
                      <a:pt x="81" y="62"/>
                      <a:pt x="81" y="62"/>
                    </a:cubicBezTo>
                    <a:cubicBezTo>
                      <a:pt x="76" y="76"/>
                      <a:pt x="75" y="87"/>
                      <a:pt x="90" y="92"/>
                    </a:cubicBezTo>
                    <a:cubicBezTo>
                      <a:pt x="93" y="91"/>
                      <a:pt x="98" y="95"/>
                      <a:pt x="100" y="97"/>
                    </a:cubicBezTo>
                    <a:cubicBezTo>
                      <a:pt x="104" y="101"/>
                      <a:pt x="98" y="101"/>
                      <a:pt x="105" y="107"/>
                    </a:cubicBezTo>
                    <a:cubicBezTo>
                      <a:pt x="120" y="109"/>
                      <a:pt x="116" y="107"/>
                      <a:pt x="120" y="104"/>
                    </a:cubicBezTo>
                    <a:cubicBezTo>
                      <a:pt x="123" y="102"/>
                      <a:pt x="120" y="95"/>
                      <a:pt x="123" y="95"/>
                    </a:cubicBezTo>
                    <a:cubicBezTo>
                      <a:pt x="127" y="95"/>
                      <a:pt x="126" y="102"/>
                      <a:pt x="129" y="104"/>
                    </a:cubicBezTo>
                    <a:cubicBezTo>
                      <a:pt x="135" y="109"/>
                      <a:pt x="148" y="113"/>
                      <a:pt x="156" y="116"/>
                    </a:cubicBezTo>
                    <a:cubicBezTo>
                      <a:pt x="161" y="130"/>
                      <a:pt x="152" y="137"/>
                      <a:pt x="164" y="149"/>
                    </a:cubicBezTo>
                    <a:cubicBezTo>
                      <a:pt x="180" y="155"/>
                      <a:pt x="182" y="154"/>
                      <a:pt x="192" y="140"/>
                    </a:cubicBezTo>
                    <a:cubicBezTo>
                      <a:pt x="188" y="113"/>
                      <a:pt x="220" y="139"/>
                      <a:pt x="232" y="137"/>
                    </a:cubicBezTo>
                    <a:cubicBezTo>
                      <a:pt x="264" y="107"/>
                      <a:pt x="174" y="113"/>
                      <a:pt x="150" y="89"/>
                    </a:cubicBezTo>
                    <a:cubicBezTo>
                      <a:pt x="132" y="71"/>
                      <a:pt x="103" y="49"/>
                      <a:pt x="78" y="41"/>
                    </a:cubicBezTo>
                    <a:cubicBezTo>
                      <a:pt x="63" y="26"/>
                      <a:pt x="41" y="31"/>
                      <a:pt x="27" y="17"/>
                    </a:cubicBezTo>
                    <a:close/>
                  </a:path>
                </a:pathLst>
              </a:custGeom>
              <a:solidFill>
                <a:schemeClr val="tx2"/>
              </a:solidFill>
              <a:ln w="9525">
                <a:noFill/>
                <a:round/>
                <a:headEnd/>
                <a:tailEnd/>
              </a:ln>
            </p:spPr>
            <p:txBody>
              <a:bodyPr wrap="none" anchor="ctr"/>
              <a:lstStyle/>
              <a:p>
                <a:pPr defTabSz="912546"/>
                <a:endParaRPr>
                  <a:solidFill>
                    <a:srgbClr val="000000"/>
                  </a:solidFill>
                </a:endParaRPr>
              </a:p>
            </p:txBody>
          </p:sp>
          <p:sp>
            <p:nvSpPr>
              <p:cNvPr id="441404" name="Freeform 1027"/>
              <p:cNvSpPr>
                <a:spLocks/>
              </p:cNvSpPr>
              <p:nvPr/>
            </p:nvSpPr>
            <p:spPr bwMode="gray">
              <a:xfrm>
                <a:off x="3210" y="2270"/>
                <a:ext cx="138" cy="132"/>
              </a:xfrm>
              <a:custGeom>
                <a:avLst/>
                <a:gdLst>
                  <a:gd name="T0" fmla="*/ 3 w 138"/>
                  <a:gd name="T1" fmla="*/ 45 h 132"/>
                  <a:gd name="T2" fmla="*/ 138 w 138"/>
                  <a:gd name="T3" fmla="*/ 132 h 132"/>
                  <a:gd name="T4" fmla="*/ 132 w 138"/>
                  <a:gd name="T5" fmla="*/ 69 h 132"/>
                  <a:gd name="T6" fmla="*/ 0 w 138"/>
                  <a:gd name="T7" fmla="*/ 0 h 132"/>
                  <a:gd name="T8" fmla="*/ 3 w 138"/>
                  <a:gd name="T9" fmla="*/ 45 h 132"/>
                  <a:gd name="T10" fmla="*/ 0 60000 65536"/>
                  <a:gd name="T11" fmla="*/ 0 60000 65536"/>
                  <a:gd name="T12" fmla="*/ 0 60000 65536"/>
                  <a:gd name="T13" fmla="*/ 0 60000 65536"/>
                  <a:gd name="T14" fmla="*/ 0 60000 65536"/>
                  <a:gd name="T15" fmla="*/ 0 w 138"/>
                  <a:gd name="T16" fmla="*/ 0 h 132"/>
                  <a:gd name="T17" fmla="*/ 138 w 138"/>
                  <a:gd name="T18" fmla="*/ 132 h 132"/>
                </a:gdLst>
                <a:ahLst/>
                <a:cxnLst>
                  <a:cxn ang="T10">
                    <a:pos x="T0" y="T1"/>
                  </a:cxn>
                  <a:cxn ang="T11">
                    <a:pos x="T2" y="T3"/>
                  </a:cxn>
                  <a:cxn ang="T12">
                    <a:pos x="T4" y="T5"/>
                  </a:cxn>
                  <a:cxn ang="T13">
                    <a:pos x="T6" y="T7"/>
                  </a:cxn>
                  <a:cxn ang="T14">
                    <a:pos x="T8" y="T9"/>
                  </a:cxn>
                </a:cxnLst>
                <a:rect l="T15" t="T16" r="T17" b="T18"/>
                <a:pathLst>
                  <a:path w="138" h="132">
                    <a:moveTo>
                      <a:pt x="3" y="45"/>
                    </a:moveTo>
                    <a:lnTo>
                      <a:pt x="138" y="132"/>
                    </a:lnTo>
                    <a:lnTo>
                      <a:pt x="132" y="69"/>
                    </a:lnTo>
                    <a:lnTo>
                      <a:pt x="0" y="0"/>
                    </a:lnTo>
                    <a:lnTo>
                      <a:pt x="3" y="45"/>
                    </a:lnTo>
                    <a:close/>
                  </a:path>
                </a:pathLst>
              </a:custGeom>
              <a:solidFill>
                <a:schemeClr val="bg2"/>
              </a:solidFill>
              <a:ln w="9525">
                <a:noFill/>
                <a:round/>
                <a:headEnd/>
                <a:tailEnd/>
              </a:ln>
            </p:spPr>
            <p:txBody>
              <a:bodyPr wrap="none" anchor="ctr"/>
              <a:lstStyle/>
              <a:p>
                <a:pPr defTabSz="912546"/>
                <a:endParaRPr>
                  <a:solidFill>
                    <a:srgbClr val="000000"/>
                  </a:solidFill>
                </a:endParaRPr>
              </a:p>
            </p:txBody>
          </p:sp>
          <p:sp>
            <p:nvSpPr>
              <p:cNvPr id="441405" name="Freeform 1028"/>
              <p:cNvSpPr>
                <a:spLocks/>
              </p:cNvSpPr>
              <p:nvPr/>
            </p:nvSpPr>
            <p:spPr bwMode="gray">
              <a:xfrm>
                <a:off x="3342" y="2318"/>
                <a:ext cx="66" cy="81"/>
              </a:xfrm>
              <a:custGeom>
                <a:avLst/>
                <a:gdLst>
                  <a:gd name="T0" fmla="*/ 0 w 66"/>
                  <a:gd name="T1" fmla="*/ 18 h 81"/>
                  <a:gd name="T2" fmla="*/ 0 w 66"/>
                  <a:gd name="T3" fmla="*/ 81 h 81"/>
                  <a:gd name="T4" fmla="*/ 66 w 66"/>
                  <a:gd name="T5" fmla="*/ 60 h 81"/>
                  <a:gd name="T6" fmla="*/ 63 w 66"/>
                  <a:gd name="T7" fmla="*/ 0 h 81"/>
                  <a:gd name="T8" fmla="*/ 0 w 66"/>
                  <a:gd name="T9" fmla="*/ 18 h 81"/>
                  <a:gd name="T10" fmla="*/ 0 60000 65536"/>
                  <a:gd name="T11" fmla="*/ 0 60000 65536"/>
                  <a:gd name="T12" fmla="*/ 0 60000 65536"/>
                  <a:gd name="T13" fmla="*/ 0 60000 65536"/>
                  <a:gd name="T14" fmla="*/ 0 60000 65536"/>
                  <a:gd name="T15" fmla="*/ 0 w 66"/>
                  <a:gd name="T16" fmla="*/ 0 h 81"/>
                  <a:gd name="T17" fmla="*/ 66 w 66"/>
                  <a:gd name="T18" fmla="*/ 81 h 81"/>
                </a:gdLst>
                <a:ahLst/>
                <a:cxnLst>
                  <a:cxn ang="T10">
                    <a:pos x="T0" y="T1"/>
                  </a:cxn>
                  <a:cxn ang="T11">
                    <a:pos x="T2" y="T3"/>
                  </a:cxn>
                  <a:cxn ang="T12">
                    <a:pos x="T4" y="T5"/>
                  </a:cxn>
                  <a:cxn ang="T13">
                    <a:pos x="T6" y="T7"/>
                  </a:cxn>
                  <a:cxn ang="T14">
                    <a:pos x="T8" y="T9"/>
                  </a:cxn>
                </a:cxnLst>
                <a:rect l="T15" t="T16" r="T17" b="T18"/>
                <a:pathLst>
                  <a:path w="66" h="81">
                    <a:moveTo>
                      <a:pt x="0" y="18"/>
                    </a:moveTo>
                    <a:lnTo>
                      <a:pt x="0" y="81"/>
                    </a:lnTo>
                    <a:lnTo>
                      <a:pt x="66" y="60"/>
                    </a:lnTo>
                    <a:lnTo>
                      <a:pt x="63" y="0"/>
                    </a:lnTo>
                    <a:lnTo>
                      <a:pt x="0" y="18"/>
                    </a:lnTo>
                    <a:close/>
                  </a:path>
                </a:pathLst>
              </a:custGeom>
              <a:solidFill>
                <a:srgbClr val="C0C0C0"/>
              </a:solidFill>
              <a:ln w="9525">
                <a:noFill/>
                <a:round/>
                <a:headEnd/>
                <a:tailEnd/>
              </a:ln>
            </p:spPr>
            <p:txBody>
              <a:bodyPr wrap="none" anchor="ctr"/>
              <a:lstStyle/>
              <a:p>
                <a:pPr defTabSz="912546"/>
                <a:endParaRPr>
                  <a:solidFill>
                    <a:srgbClr val="000000"/>
                  </a:solidFill>
                </a:endParaRPr>
              </a:p>
            </p:txBody>
          </p:sp>
          <p:sp>
            <p:nvSpPr>
              <p:cNvPr id="441406" name="Freeform 1029"/>
              <p:cNvSpPr>
                <a:spLocks/>
              </p:cNvSpPr>
              <p:nvPr/>
            </p:nvSpPr>
            <p:spPr bwMode="gray">
              <a:xfrm>
                <a:off x="3344" y="2341"/>
                <a:ext cx="118" cy="103"/>
              </a:xfrm>
              <a:custGeom>
                <a:avLst/>
                <a:gdLst>
                  <a:gd name="T0" fmla="*/ 10 w 118"/>
                  <a:gd name="T1" fmla="*/ 21 h 103"/>
                  <a:gd name="T2" fmla="*/ 23 w 118"/>
                  <a:gd name="T3" fmla="*/ 84 h 103"/>
                  <a:gd name="T4" fmla="*/ 33 w 118"/>
                  <a:gd name="T5" fmla="*/ 71 h 103"/>
                  <a:gd name="T6" fmla="*/ 43 w 118"/>
                  <a:gd name="T7" fmla="*/ 94 h 103"/>
                  <a:gd name="T8" fmla="*/ 52 w 118"/>
                  <a:gd name="T9" fmla="*/ 101 h 103"/>
                  <a:gd name="T10" fmla="*/ 114 w 118"/>
                  <a:gd name="T11" fmla="*/ 77 h 103"/>
                  <a:gd name="T12" fmla="*/ 110 w 118"/>
                  <a:gd name="T13" fmla="*/ 63 h 103"/>
                  <a:gd name="T14" fmla="*/ 108 w 118"/>
                  <a:gd name="T15" fmla="*/ 51 h 103"/>
                  <a:gd name="T16" fmla="*/ 84 w 118"/>
                  <a:gd name="T17" fmla="*/ 35 h 103"/>
                  <a:gd name="T18" fmla="*/ 75 w 118"/>
                  <a:gd name="T19" fmla="*/ 13 h 103"/>
                  <a:gd name="T20" fmla="*/ 57 w 118"/>
                  <a:gd name="T21" fmla="*/ 0 h 103"/>
                  <a:gd name="T22" fmla="*/ 12 w 118"/>
                  <a:gd name="T23" fmla="*/ 14 h 103"/>
                  <a:gd name="T24" fmla="*/ 10 w 118"/>
                  <a:gd name="T25" fmla="*/ 21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8"/>
                  <a:gd name="T40" fmla="*/ 0 h 103"/>
                  <a:gd name="T41" fmla="*/ 118 w 118"/>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8" h="103">
                    <a:moveTo>
                      <a:pt x="10" y="21"/>
                    </a:moveTo>
                    <a:cubicBezTo>
                      <a:pt x="10" y="38"/>
                      <a:pt x="0" y="76"/>
                      <a:pt x="23" y="84"/>
                    </a:cubicBezTo>
                    <a:cubicBezTo>
                      <a:pt x="23" y="80"/>
                      <a:pt x="26" y="69"/>
                      <a:pt x="33" y="71"/>
                    </a:cubicBezTo>
                    <a:cubicBezTo>
                      <a:pt x="42" y="72"/>
                      <a:pt x="43" y="94"/>
                      <a:pt x="43" y="94"/>
                    </a:cubicBezTo>
                    <a:cubicBezTo>
                      <a:pt x="41" y="103"/>
                      <a:pt x="47" y="101"/>
                      <a:pt x="52" y="101"/>
                    </a:cubicBezTo>
                    <a:cubicBezTo>
                      <a:pt x="74" y="94"/>
                      <a:pt x="95" y="90"/>
                      <a:pt x="114" y="77"/>
                    </a:cubicBezTo>
                    <a:cubicBezTo>
                      <a:pt x="118" y="75"/>
                      <a:pt x="111" y="69"/>
                      <a:pt x="110" y="63"/>
                    </a:cubicBezTo>
                    <a:cubicBezTo>
                      <a:pt x="108" y="59"/>
                      <a:pt x="108" y="60"/>
                      <a:pt x="108" y="51"/>
                    </a:cubicBezTo>
                    <a:cubicBezTo>
                      <a:pt x="104" y="46"/>
                      <a:pt x="94" y="44"/>
                      <a:pt x="84" y="35"/>
                    </a:cubicBezTo>
                    <a:cubicBezTo>
                      <a:pt x="80" y="24"/>
                      <a:pt x="79" y="24"/>
                      <a:pt x="75" y="13"/>
                    </a:cubicBezTo>
                    <a:cubicBezTo>
                      <a:pt x="73" y="9"/>
                      <a:pt x="68" y="0"/>
                      <a:pt x="57" y="0"/>
                    </a:cubicBezTo>
                    <a:lnTo>
                      <a:pt x="12" y="14"/>
                    </a:lnTo>
                    <a:lnTo>
                      <a:pt x="10" y="21"/>
                    </a:lnTo>
                    <a:close/>
                  </a:path>
                </a:pathLst>
              </a:custGeom>
              <a:solidFill>
                <a:srgbClr val="007DBC"/>
              </a:solidFill>
              <a:ln w="9525">
                <a:noFill/>
                <a:round/>
                <a:headEnd/>
                <a:tailEnd/>
              </a:ln>
            </p:spPr>
            <p:txBody>
              <a:bodyPr wrap="none" anchor="ctr"/>
              <a:lstStyle/>
              <a:p>
                <a:pPr defTabSz="912546"/>
                <a:endParaRPr>
                  <a:solidFill>
                    <a:srgbClr val="000000"/>
                  </a:solidFill>
                </a:endParaRPr>
              </a:p>
            </p:txBody>
          </p:sp>
          <p:sp>
            <p:nvSpPr>
              <p:cNvPr id="441407" name="Freeform 1030"/>
              <p:cNvSpPr>
                <a:spLocks/>
              </p:cNvSpPr>
              <p:nvPr/>
            </p:nvSpPr>
            <p:spPr bwMode="gray">
              <a:xfrm>
                <a:off x="3378" y="2358"/>
                <a:ext cx="52" cy="34"/>
              </a:xfrm>
              <a:custGeom>
                <a:avLst/>
                <a:gdLst>
                  <a:gd name="T0" fmla="*/ 44 w 52"/>
                  <a:gd name="T1" fmla="*/ 0 h 34"/>
                  <a:gd name="T2" fmla="*/ 52 w 52"/>
                  <a:gd name="T3" fmla="*/ 18 h 34"/>
                  <a:gd name="T4" fmla="*/ 4 w 52"/>
                  <a:gd name="T5" fmla="*/ 34 h 34"/>
                  <a:gd name="T6" fmla="*/ 0 w 52"/>
                  <a:gd name="T7" fmla="*/ 14 h 34"/>
                  <a:gd name="T8" fmla="*/ 44 w 52"/>
                  <a:gd name="T9" fmla="*/ 0 h 34"/>
                  <a:gd name="T10" fmla="*/ 0 60000 65536"/>
                  <a:gd name="T11" fmla="*/ 0 60000 65536"/>
                  <a:gd name="T12" fmla="*/ 0 60000 65536"/>
                  <a:gd name="T13" fmla="*/ 0 60000 65536"/>
                  <a:gd name="T14" fmla="*/ 0 60000 65536"/>
                  <a:gd name="T15" fmla="*/ 0 w 52"/>
                  <a:gd name="T16" fmla="*/ 0 h 34"/>
                  <a:gd name="T17" fmla="*/ 52 w 52"/>
                  <a:gd name="T18" fmla="*/ 34 h 34"/>
                </a:gdLst>
                <a:ahLst/>
                <a:cxnLst>
                  <a:cxn ang="T10">
                    <a:pos x="T0" y="T1"/>
                  </a:cxn>
                  <a:cxn ang="T11">
                    <a:pos x="T2" y="T3"/>
                  </a:cxn>
                  <a:cxn ang="T12">
                    <a:pos x="T4" y="T5"/>
                  </a:cxn>
                  <a:cxn ang="T13">
                    <a:pos x="T6" y="T7"/>
                  </a:cxn>
                  <a:cxn ang="T14">
                    <a:pos x="T8" y="T9"/>
                  </a:cxn>
                </a:cxnLst>
                <a:rect l="T15" t="T16" r="T17" b="T18"/>
                <a:pathLst>
                  <a:path w="52" h="34">
                    <a:moveTo>
                      <a:pt x="44" y="0"/>
                    </a:moveTo>
                    <a:lnTo>
                      <a:pt x="52" y="18"/>
                    </a:lnTo>
                    <a:lnTo>
                      <a:pt x="4" y="34"/>
                    </a:lnTo>
                    <a:lnTo>
                      <a:pt x="0" y="14"/>
                    </a:lnTo>
                    <a:lnTo>
                      <a:pt x="44" y="0"/>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08" name="Freeform 1031"/>
              <p:cNvSpPr>
                <a:spLocks/>
              </p:cNvSpPr>
              <p:nvPr/>
            </p:nvSpPr>
            <p:spPr bwMode="gray">
              <a:xfrm>
                <a:off x="3412" y="2400"/>
                <a:ext cx="28" cy="26"/>
              </a:xfrm>
              <a:custGeom>
                <a:avLst/>
                <a:gdLst>
                  <a:gd name="T0" fmla="*/ 0 w 28"/>
                  <a:gd name="T1" fmla="*/ 26 h 26"/>
                  <a:gd name="T2" fmla="*/ 28 w 28"/>
                  <a:gd name="T3" fmla="*/ 16 h 26"/>
                  <a:gd name="T4" fmla="*/ 26 w 28"/>
                  <a:gd name="T5" fmla="*/ 0 h 26"/>
                  <a:gd name="T6" fmla="*/ 0 w 28"/>
                  <a:gd name="T7" fmla="*/ 8 h 26"/>
                  <a:gd name="T8" fmla="*/ 0 w 28"/>
                  <a:gd name="T9" fmla="*/ 26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26"/>
                    </a:moveTo>
                    <a:lnTo>
                      <a:pt x="28" y="16"/>
                    </a:lnTo>
                    <a:lnTo>
                      <a:pt x="26" y="0"/>
                    </a:lnTo>
                    <a:lnTo>
                      <a:pt x="0" y="8"/>
                    </a:lnTo>
                    <a:lnTo>
                      <a:pt x="0" y="26"/>
                    </a:lnTo>
                    <a:close/>
                  </a:path>
                </a:pathLst>
              </a:custGeom>
              <a:solidFill>
                <a:schemeClr val="accent2"/>
              </a:solidFill>
              <a:ln w="9525">
                <a:noFill/>
                <a:round/>
                <a:headEnd/>
                <a:tailEnd/>
              </a:ln>
            </p:spPr>
            <p:txBody>
              <a:bodyPr wrap="none" anchor="ctr"/>
              <a:lstStyle/>
              <a:p>
                <a:pPr defTabSz="912546"/>
                <a:endParaRPr>
                  <a:solidFill>
                    <a:srgbClr val="000000"/>
                  </a:solidFill>
                </a:endParaRPr>
              </a:p>
            </p:txBody>
          </p:sp>
          <p:sp>
            <p:nvSpPr>
              <p:cNvPr id="441409" name="Freeform 1032"/>
              <p:cNvSpPr>
                <a:spLocks/>
              </p:cNvSpPr>
              <p:nvPr/>
            </p:nvSpPr>
            <p:spPr bwMode="gray">
              <a:xfrm>
                <a:off x="3394" y="2418"/>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10" name="Freeform 1033"/>
              <p:cNvSpPr>
                <a:spLocks/>
              </p:cNvSpPr>
              <p:nvPr/>
            </p:nvSpPr>
            <p:spPr bwMode="gray">
              <a:xfrm>
                <a:off x="3436" y="2404"/>
                <a:ext cx="22" cy="14"/>
              </a:xfrm>
              <a:custGeom>
                <a:avLst/>
                <a:gdLst>
                  <a:gd name="T0" fmla="*/ 10 w 22"/>
                  <a:gd name="T1" fmla="*/ 2 h 14"/>
                  <a:gd name="T2" fmla="*/ 12 w 22"/>
                  <a:gd name="T3" fmla="*/ 10 h 14"/>
                  <a:gd name="T4" fmla="*/ 10 w 22"/>
                  <a:gd name="T5" fmla="*/ 2 h 14"/>
                  <a:gd name="T6" fmla="*/ 0 60000 65536"/>
                  <a:gd name="T7" fmla="*/ 0 60000 65536"/>
                  <a:gd name="T8" fmla="*/ 0 60000 65536"/>
                  <a:gd name="T9" fmla="*/ 0 w 22"/>
                  <a:gd name="T10" fmla="*/ 0 h 14"/>
                  <a:gd name="T11" fmla="*/ 22 w 22"/>
                  <a:gd name="T12" fmla="*/ 14 h 14"/>
                </a:gdLst>
                <a:ahLst/>
                <a:cxnLst>
                  <a:cxn ang="T6">
                    <a:pos x="T0" y="T1"/>
                  </a:cxn>
                  <a:cxn ang="T7">
                    <a:pos x="T2" y="T3"/>
                  </a:cxn>
                  <a:cxn ang="T8">
                    <a:pos x="T4" y="T5"/>
                  </a:cxn>
                </a:cxnLst>
                <a:rect l="T9" t="T10" r="T11" b="T12"/>
                <a:pathLst>
                  <a:path w="22" h="14">
                    <a:moveTo>
                      <a:pt x="10" y="2"/>
                    </a:moveTo>
                    <a:cubicBezTo>
                      <a:pt x="0" y="8"/>
                      <a:pt x="4" y="14"/>
                      <a:pt x="12" y="10"/>
                    </a:cubicBezTo>
                    <a:cubicBezTo>
                      <a:pt x="22" y="8"/>
                      <a:pt x="18" y="0"/>
                      <a:pt x="10" y="2"/>
                    </a:cubicBezTo>
                    <a:close/>
                  </a:path>
                </a:pathLst>
              </a:custGeom>
              <a:solidFill>
                <a:srgbClr val="DDDDDD"/>
              </a:solidFill>
              <a:ln w="9525">
                <a:noFill/>
                <a:round/>
                <a:headEnd/>
                <a:tailEnd/>
              </a:ln>
            </p:spPr>
            <p:txBody>
              <a:bodyPr wrap="none" anchor="ctr"/>
              <a:lstStyle/>
              <a:p>
                <a:pPr defTabSz="912546"/>
                <a:endParaRPr>
                  <a:solidFill>
                    <a:srgbClr val="000000"/>
                  </a:solidFill>
                </a:endParaRPr>
              </a:p>
            </p:txBody>
          </p:sp>
          <p:sp>
            <p:nvSpPr>
              <p:cNvPr id="441411" name="Freeform 1034"/>
              <p:cNvSpPr>
                <a:spLocks/>
              </p:cNvSpPr>
              <p:nvPr/>
            </p:nvSpPr>
            <p:spPr bwMode="gray">
              <a:xfrm>
                <a:off x="3360" y="2362"/>
                <a:ext cx="12" cy="28"/>
              </a:xfrm>
              <a:custGeom>
                <a:avLst/>
                <a:gdLst>
                  <a:gd name="T0" fmla="*/ 12 w 12"/>
                  <a:gd name="T1" fmla="*/ 6 h 28"/>
                  <a:gd name="T2" fmla="*/ 12 w 12"/>
                  <a:gd name="T3" fmla="*/ 28 h 28"/>
                  <a:gd name="T4" fmla="*/ 0 w 12"/>
                  <a:gd name="T5" fmla="*/ 20 h 28"/>
                  <a:gd name="T6" fmla="*/ 0 w 12"/>
                  <a:gd name="T7" fmla="*/ 0 h 28"/>
                  <a:gd name="T8" fmla="*/ 12 w 12"/>
                  <a:gd name="T9" fmla="*/ 6 h 28"/>
                  <a:gd name="T10" fmla="*/ 0 60000 65536"/>
                  <a:gd name="T11" fmla="*/ 0 60000 65536"/>
                  <a:gd name="T12" fmla="*/ 0 60000 65536"/>
                  <a:gd name="T13" fmla="*/ 0 60000 65536"/>
                  <a:gd name="T14" fmla="*/ 0 60000 65536"/>
                  <a:gd name="T15" fmla="*/ 0 w 12"/>
                  <a:gd name="T16" fmla="*/ 0 h 28"/>
                  <a:gd name="T17" fmla="*/ 12 w 12"/>
                  <a:gd name="T18" fmla="*/ 28 h 28"/>
                </a:gdLst>
                <a:ahLst/>
                <a:cxnLst>
                  <a:cxn ang="T10">
                    <a:pos x="T0" y="T1"/>
                  </a:cxn>
                  <a:cxn ang="T11">
                    <a:pos x="T2" y="T3"/>
                  </a:cxn>
                  <a:cxn ang="T12">
                    <a:pos x="T4" y="T5"/>
                  </a:cxn>
                  <a:cxn ang="T13">
                    <a:pos x="T6" y="T7"/>
                  </a:cxn>
                  <a:cxn ang="T14">
                    <a:pos x="T8" y="T9"/>
                  </a:cxn>
                </a:cxnLst>
                <a:rect l="T15" t="T16" r="T17" b="T18"/>
                <a:pathLst>
                  <a:path w="12" h="28">
                    <a:moveTo>
                      <a:pt x="12" y="6"/>
                    </a:moveTo>
                    <a:lnTo>
                      <a:pt x="12" y="28"/>
                    </a:lnTo>
                    <a:lnTo>
                      <a:pt x="0" y="20"/>
                    </a:lnTo>
                    <a:lnTo>
                      <a:pt x="0" y="0"/>
                    </a:lnTo>
                    <a:lnTo>
                      <a:pt x="12" y="6"/>
                    </a:lnTo>
                    <a:close/>
                  </a:path>
                </a:pathLst>
              </a:custGeom>
              <a:solidFill>
                <a:srgbClr val="0C6074"/>
              </a:solidFill>
              <a:ln w="9525">
                <a:noFill/>
                <a:round/>
                <a:headEnd/>
                <a:tailEnd/>
              </a:ln>
            </p:spPr>
            <p:txBody>
              <a:bodyPr wrap="none" anchor="ctr"/>
              <a:lstStyle/>
              <a:p>
                <a:pPr defTabSz="912546"/>
                <a:endParaRPr>
                  <a:solidFill>
                    <a:srgbClr val="000000"/>
                  </a:solidFill>
                </a:endParaRPr>
              </a:p>
            </p:txBody>
          </p:sp>
          <p:sp>
            <p:nvSpPr>
              <p:cNvPr id="441412" name="Freeform 1035"/>
              <p:cNvSpPr>
                <a:spLocks/>
              </p:cNvSpPr>
              <p:nvPr/>
            </p:nvSpPr>
            <p:spPr bwMode="gray">
              <a:xfrm>
                <a:off x="3220" y="2328"/>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13" name="Freeform 1036"/>
              <p:cNvSpPr>
                <a:spLocks/>
              </p:cNvSpPr>
              <p:nvPr/>
            </p:nvSpPr>
            <p:spPr bwMode="gray">
              <a:xfrm>
                <a:off x="3372" y="2424"/>
                <a:ext cx="16" cy="20"/>
              </a:xfrm>
              <a:custGeom>
                <a:avLst/>
                <a:gdLst>
                  <a:gd name="T0" fmla="*/ 6 w 16"/>
                  <a:gd name="T1" fmla="*/ 0 h 20"/>
                  <a:gd name="T2" fmla="*/ 6 w 16"/>
                  <a:gd name="T3" fmla="*/ 18 h 20"/>
                  <a:gd name="T4" fmla="*/ 6 w 16"/>
                  <a:gd name="T5" fmla="*/ 0 h 20"/>
                  <a:gd name="T6" fmla="*/ 0 60000 65536"/>
                  <a:gd name="T7" fmla="*/ 0 60000 65536"/>
                  <a:gd name="T8" fmla="*/ 0 60000 65536"/>
                  <a:gd name="T9" fmla="*/ 0 w 16"/>
                  <a:gd name="T10" fmla="*/ 0 h 20"/>
                  <a:gd name="T11" fmla="*/ 16 w 16"/>
                  <a:gd name="T12" fmla="*/ 20 h 20"/>
                </a:gdLst>
                <a:ahLst/>
                <a:cxnLst>
                  <a:cxn ang="T6">
                    <a:pos x="T0" y="T1"/>
                  </a:cxn>
                  <a:cxn ang="T7">
                    <a:pos x="T2" y="T3"/>
                  </a:cxn>
                  <a:cxn ang="T8">
                    <a:pos x="T4" y="T5"/>
                  </a:cxn>
                </a:cxnLst>
                <a:rect l="T9" t="T10" r="T11" b="T12"/>
                <a:pathLst>
                  <a:path w="16" h="20">
                    <a:moveTo>
                      <a:pt x="6" y="0"/>
                    </a:moveTo>
                    <a:cubicBezTo>
                      <a:pt x="16" y="4"/>
                      <a:pt x="10" y="20"/>
                      <a:pt x="6" y="18"/>
                    </a:cubicBezTo>
                    <a:cubicBezTo>
                      <a:pt x="0" y="1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14" name="Freeform 1037"/>
              <p:cNvSpPr>
                <a:spLocks/>
              </p:cNvSpPr>
              <p:nvPr/>
            </p:nvSpPr>
            <p:spPr bwMode="gray">
              <a:xfrm>
                <a:off x="3238" y="234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15" name="Freeform 1038"/>
              <p:cNvSpPr>
                <a:spLocks/>
              </p:cNvSpPr>
              <p:nvPr/>
            </p:nvSpPr>
            <p:spPr bwMode="gray">
              <a:xfrm>
                <a:off x="3294" y="2376"/>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16" name="Freeform 1039"/>
              <p:cNvSpPr>
                <a:spLocks/>
              </p:cNvSpPr>
              <p:nvPr/>
            </p:nvSpPr>
            <p:spPr bwMode="gray">
              <a:xfrm>
                <a:off x="3314" y="2390"/>
                <a:ext cx="16" cy="10"/>
              </a:xfrm>
              <a:custGeom>
                <a:avLst/>
                <a:gdLst>
                  <a:gd name="T0" fmla="*/ 6 w 16"/>
                  <a:gd name="T1" fmla="*/ 0 h 10"/>
                  <a:gd name="T2" fmla="*/ 6 w 16"/>
                  <a:gd name="T3" fmla="*/ 8 h 10"/>
                  <a:gd name="T4" fmla="*/ 6 w 16"/>
                  <a:gd name="T5" fmla="*/ 0 h 10"/>
                  <a:gd name="T6" fmla="*/ 0 60000 65536"/>
                  <a:gd name="T7" fmla="*/ 0 60000 65536"/>
                  <a:gd name="T8" fmla="*/ 0 60000 65536"/>
                  <a:gd name="T9" fmla="*/ 0 w 16"/>
                  <a:gd name="T10" fmla="*/ 0 h 10"/>
                  <a:gd name="T11" fmla="*/ 16 w 16"/>
                  <a:gd name="T12" fmla="*/ 10 h 10"/>
                </a:gdLst>
                <a:ahLst/>
                <a:cxnLst>
                  <a:cxn ang="T6">
                    <a:pos x="T0" y="T1"/>
                  </a:cxn>
                  <a:cxn ang="T7">
                    <a:pos x="T2" y="T3"/>
                  </a:cxn>
                  <a:cxn ang="T8">
                    <a:pos x="T4" y="T5"/>
                  </a:cxn>
                </a:cxnLst>
                <a:rect l="T9" t="T10" r="T11" b="T12"/>
                <a:pathLst>
                  <a:path w="16" h="10">
                    <a:moveTo>
                      <a:pt x="6" y="0"/>
                    </a:moveTo>
                    <a:cubicBezTo>
                      <a:pt x="16" y="4"/>
                      <a:pt x="10" y="10"/>
                      <a:pt x="6" y="8"/>
                    </a:cubicBezTo>
                    <a:cubicBezTo>
                      <a:pt x="0" y="6"/>
                      <a:pt x="0" y="2"/>
                      <a:pt x="6" y="0"/>
                    </a:cubicBez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sp>
            <p:nvSpPr>
              <p:cNvPr id="441417" name="Freeform 1040"/>
              <p:cNvSpPr>
                <a:spLocks/>
              </p:cNvSpPr>
              <p:nvPr/>
            </p:nvSpPr>
            <p:spPr bwMode="gray">
              <a:xfrm>
                <a:off x="3208" y="2280"/>
                <a:ext cx="153" cy="87"/>
              </a:xfrm>
              <a:custGeom>
                <a:avLst/>
                <a:gdLst>
                  <a:gd name="T0" fmla="*/ 0 w 153"/>
                  <a:gd name="T1" fmla="*/ 0 h 87"/>
                  <a:gd name="T2" fmla="*/ 132 w 153"/>
                  <a:gd name="T3" fmla="*/ 68 h 87"/>
                  <a:gd name="T4" fmla="*/ 132 w 153"/>
                  <a:gd name="T5" fmla="*/ 76 h 87"/>
                  <a:gd name="T6" fmla="*/ 4 w 153"/>
                  <a:gd name="T7" fmla="*/ 8 h 87"/>
                  <a:gd name="T8" fmla="*/ 0 w 153"/>
                  <a:gd name="T9" fmla="*/ 0 h 87"/>
                  <a:gd name="T10" fmla="*/ 0 60000 65536"/>
                  <a:gd name="T11" fmla="*/ 0 60000 65536"/>
                  <a:gd name="T12" fmla="*/ 0 60000 65536"/>
                  <a:gd name="T13" fmla="*/ 0 60000 65536"/>
                  <a:gd name="T14" fmla="*/ 0 60000 65536"/>
                  <a:gd name="T15" fmla="*/ 0 w 153"/>
                  <a:gd name="T16" fmla="*/ 0 h 87"/>
                  <a:gd name="T17" fmla="*/ 153 w 153"/>
                  <a:gd name="T18" fmla="*/ 87 h 87"/>
                </a:gdLst>
                <a:ahLst/>
                <a:cxnLst>
                  <a:cxn ang="T10">
                    <a:pos x="T0" y="T1"/>
                  </a:cxn>
                  <a:cxn ang="T11">
                    <a:pos x="T2" y="T3"/>
                  </a:cxn>
                  <a:cxn ang="T12">
                    <a:pos x="T4" y="T5"/>
                  </a:cxn>
                  <a:cxn ang="T13">
                    <a:pos x="T6" y="T7"/>
                  </a:cxn>
                  <a:cxn ang="T14">
                    <a:pos x="T8" y="T9"/>
                  </a:cxn>
                </a:cxnLst>
                <a:rect l="T15" t="T16" r="T17" b="T18"/>
                <a:pathLst>
                  <a:path w="153" h="87">
                    <a:moveTo>
                      <a:pt x="0" y="0"/>
                    </a:moveTo>
                    <a:lnTo>
                      <a:pt x="132" y="68"/>
                    </a:lnTo>
                    <a:cubicBezTo>
                      <a:pt x="132" y="70"/>
                      <a:pt x="153" y="87"/>
                      <a:pt x="132" y="76"/>
                    </a:cubicBezTo>
                    <a:lnTo>
                      <a:pt x="4" y="8"/>
                    </a:lnTo>
                    <a:lnTo>
                      <a:pt x="0" y="0"/>
                    </a:lnTo>
                    <a:close/>
                  </a:path>
                </a:pathLst>
              </a:custGeom>
              <a:solidFill>
                <a:schemeClr val="folHlink"/>
              </a:solidFill>
              <a:ln w="9525">
                <a:noFill/>
                <a:round/>
                <a:headEnd/>
                <a:tailEnd/>
              </a:ln>
            </p:spPr>
            <p:txBody>
              <a:bodyPr wrap="none" anchor="ctr"/>
              <a:lstStyle/>
              <a:p>
                <a:pPr defTabSz="912546"/>
                <a:endParaRPr>
                  <a:solidFill>
                    <a:srgbClr val="000000"/>
                  </a:solidFill>
                </a:endParaRPr>
              </a:p>
            </p:txBody>
          </p:sp>
        </p:grpSp>
      </p:grpSp>
      <p:sp>
        <p:nvSpPr>
          <p:cNvPr id="265233" name="Rectangle 1041"/>
          <p:cNvSpPr>
            <a:spLocks noChangeArrowheads="1"/>
          </p:cNvSpPr>
          <p:nvPr/>
        </p:nvSpPr>
        <p:spPr bwMode="gray">
          <a:xfrm>
            <a:off x="255666" y="1313920"/>
            <a:ext cx="2667000" cy="304800"/>
          </a:xfrm>
          <a:prstGeom prst="rect">
            <a:avLst/>
          </a:prstGeom>
          <a:noFill/>
          <a:ln w="12700">
            <a:noFill/>
            <a:miter lim="800000"/>
            <a:headEnd/>
            <a:tailEnd/>
          </a:ln>
          <a:effectLst/>
        </p:spPr>
        <p:txBody>
          <a:bodyPr lIns="71853" tIns="0" rIns="0" bIns="0"/>
          <a:lstStyle/>
          <a:p>
            <a:pPr marL="171102" indent="-171102" defTabSz="760454" eaLnBrk="0" hangingPunct="0">
              <a:spcAft>
                <a:spcPct val="20000"/>
              </a:spcAft>
              <a:buClr>
                <a:srgbClr val="F0AB00"/>
              </a:buClr>
              <a:buFont typeface="SAPDings" pitchFamily="49" charset="2"/>
              <a:buChar char="%"/>
            </a:pPr>
            <a:r>
              <a:rPr lang="en-US" sz="1200" b="1" dirty="0">
                <a:solidFill>
                  <a:srgbClr val="000000"/>
                </a:solidFill>
              </a:rPr>
              <a:t>Delivering Turn-Key Solutions</a:t>
            </a:r>
          </a:p>
        </p:txBody>
      </p:sp>
      <p:sp>
        <p:nvSpPr>
          <p:cNvPr id="265234" name="Rectangle 1042"/>
          <p:cNvSpPr>
            <a:spLocks noChangeArrowheads="1"/>
          </p:cNvSpPr>
          <p:nvPr/>
        </p:nvSpPr>
        <p:spPr bwMode="gray">
          <a:xfrm>
            <a:off x="3387698" y="1313920"/>
            <a:ext cx="2667000" cy="304800"/>
          </a:xfrm>
          <a:prstGeom prst="rect">
            <a:avLst/>
          </a:prstGeom>
          <a:noFill/>
          <a:ln w="12700">
            <a:noFill/>
            <a:miter lim="800000"/>
            <a:headEnd/>
            <a:tailEnd/>
          </a:ln>
          <a:effectLst/>
        </p:spPr>
        <p:txBody>
          <a:bodyPr lIns="71853" tIns="0" rIns="0" bIns="0"/>
          <a:lstStyle/>
          <a:p>
            <a:pPr marL="171102" indent="-171102" defTabSz="760454" eaLnBrk="0" hangingPunct="0">
              <a:spcAft>
                <a:spcPct val="20000"/>
              </a:spcAft>
              <a:buClr>
                <a:srgbClr val="F0AB00"/>
              </a:buClr>
              <a:buFont typeface="SAPDings" pitchFamily="49" charset="2"/>
              <a:buChar char="%"/>
            </a:pPr>
            <a:r>
              <a:rPr lang="en-US" sz="1200" b="1" dirty="0">
                <a:solidFill>
                  <a:srgbClr val="000000"/>
                </a:solidFill>
              </a:rPr>
              <a:t>Leveraging Eco-systems</a:t>
            </a:r>
          </a:p>
        </p:txBody>
      </p:sp>
      <p:sp>
        <p:nvSpPr>
          <p:cNvPr id="265235" name="Rectangle 1043"/>
          <p:cNvSpPr>
            <a:spLocks noChangeArrowheads="1"/>
          </p:cNvSpPr>
          <p:nvPr/>
        </p:nvSpPr>
        <p:spPr bwMode="gray">
          <a:xfrm>
            <a:off x="6172200" y="1313920"/>
            <a:ext cx="2667000" cy="304800"/>
          </a:xfrm>
          <a:prstGeom prst="rect">
            <a:avLst/>
          </a:prstGeom>
          <a:noFill/>
          <a:ln w="12700">
            <a:noFill/>
            <a:miter lim="800000"/>
            <a:headEnd/>
            <a:tailEnd/>
          </a:ln>
          <a:effectLst/>
        </p:spPr>
        <p:txBody>
          <a:bodyPr lIns="71853" tIns="0" rIns="0" bIns="0"/>
          <a:lstStyle/>
          <a:p>
            <a:pPr marL="171102" indent="-171102" defTabSz="760454" eaLnBrk="0" hangingPunct="0">
              <a:spcAft>
                <a:spcPct val="20000"/>
              </a:spcAft>
              <a:buClr>
                <a:srgbClr val="F0AB00"/>
              </a:buClr>
              <a:buFont typeface="SAPDings" pitchFamily="49" charset="2"/>
              <a:buChar char="%"/>
            </a:pPr>
            <a:r>
              <a:rPr lang="en-US" sz="1200" b="1" dirty="0">
                <a:solidFill>
                  <a:srgbClr val="000000"/>
                </a:solidFill>
              </a:rPr>
              <a:t>Leveraging New Technologies</a:t>
            </a:r>
          </a:p>
        </p:txBody>
      </p:sp>
    </p:spTree>
    <p:extLst>
      <p:ext uri="{BB962C8B-B14F-4D97-AF65-F5344CB8AC3E}">
        <p14:creationId xmlns:p14="http://schemas.microsoft.com/office/powerpoint/2010/main" val="2074972937"/>
      </p:ext>
    </p:extLst>
  </p:cSld>
  <p:clrMapOvr>
    <a:masterClrMapping/>
  </p:clrMapOvr>
  <p:transition>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98323" y="4598172"/>
            <a:ext cx="1195937" cy="1106378"/>
          </a:xfrm>
          <a:prstGeom prst="rect">
            <a:avLst/>
          </a:prstGeom>
          <a:ln>
            <a:noFill/>
          </a:ln>
        </p:spPr>
      </p:pic>
      <p:sp>
        <p:nvSpPr>
          <p:cNvPr id="2" name="Title 1"/>
          <p:cNvSpPr>
            <a:spLocks noGrp="1"/>
          </p:cNvSpPr>
          <p:nvPr>
            <p:ph type="title"/>
          </p:nvPr>
        </p:nvSpPr>
        <p:spPr/>
        <p:txBody>
          <a:bodyPr/>
          <a:lstStyle/>
          <a:p>
            <a:pPr>
              <a:spcBef>
                <a:spcPts val="0"/>
              </a:spcBef>
            </a:pPr>
            <a:r>
              <a:rPr lang="de-DE" sz="2500" dirty="0">
                <a:solidFill>
                  <a:srgbClr val="000000"/>
                </a:solidFill>
                <a:latin typeface="Times New Roman" pitchFamily="18" charset="0"/>
                <a:ea typeface="+mn-ea"/>
                <a:cs typeface="Times New Roman" pitchFamily="18" charset="0"/>
              </a:rPr>
              <a:t/>
            </a:r>
            <a:br>
              <a:rPr lang="de-DE" sz="2500" dirty="0">
                <a:solidFill>
                  <a:srgbClr val="000000"/>
                </a:solidFill>
                <a:latin typeface="Times New Roman" pitchFamily="18" charset="0"/>
                <a:ea typeface="+mn-ea"/>
                <a:cs typeface="Times New Roman" pitchFamily="18" charset="0"/>
              </a:rPr>
            </a:br>
            <a:r>
              <a:rPr lang="de-DE" sz="2000" dirty="0">
                <a:solidFill>
                  <a:schemeClr val="tx1"/>
                </a:solidFill>
                <a:ea typeface="+mn-ea"/>
                <a:cs typeface="Arial" pitchFamily="34" charset="0"/>
              </a:rPr>
              <a:t>SAP </a:t>
            </a:r>
            <a:r>
              <a:rPr lang="de-DE" sz="2000" dirty="0" err="1">
                <a:solidFill>
                  <a:schemeClr val="tx1"/>
                </a:solidFill>
                <a:ea typeface="+mn-ea"/>
                <a:cs typeface="Arial" pitchFamily="34" charset="0"/>
              </a:rPr>
              <a:t>for</a:t>
            </a:r>
            <a:r>
              <a:rPr lang="de-DE" sz="2000" dirty="0">
                <a:solidFill>
                  <a:schemeClr val="tx1"/>
                </a:solidFill>
                <a:ea typeface="+mn-ea"/>
                <a:cs typeface="Arial" pitchFamily="34" charset="0"/>
              </a:rPr>
              <a:t> Industrial </a:t>
            </a:r>
            <a:r>
              <a:rPr lang="de-DE" sz="2000" dirty="0" err="1">
                <a:solidFill>
                  <a:schemeClr val="tx1"/>
                </a:solidFill>
                <a:ea typeface="+mn-ea"/>
                <a:cs typeface="Arial" pitchFamily="34" charset="0"/>
              </a:rPr>
              <a:t>Machinery</a:t>
            </a:r>
            <a:r>
              <a:rPr lang="de-DE" sz="2000" dirty="0">
                <a:solidFill>
                  <a:schemeClr val="tx1"/>
                </a:solidFill>
                <a:ea typeface="+mn-ea"/>
                <a:cs typeface="Arial" pitchFamily="34" charset="0"/>
              </a:rPr>
              <a:t> &amp; Components</a:t>
            </a:r>
            <a:r>
              <a:rPr lang="de-DE" sz="2000" dirty="0">
                <a:solidFill>
                  <a:schemeClr val="tx1"/>
                </a:solidFill>
                <a:ea typeface="+mn-ea"/>
                <a:cs typeface="Times New Roman" pitchFamily="18" charset="0"/>
              </a:rPr>
              <a:t/>
            </a:r>
            <a:br>
              <a:rPr lang="de-DE" sz="2000" dirty="0">
                <a:solidFill>
                  <a:schemeClr val="tx1"/>
                </a:solidFill>
                <a:ea typeface="+mn-ea"/>
                <a:cs typeface="Times New Roman" pitchFamily="18" charset="0"/>
              </a:rPr>
            </a:br>
            <a:r>
              <a:rPr lang="de-DE" dirty="0" smtClean="0">
                <a:solidFill>
                  <a:schemeClr val="tx1"/>
                </a:solidFill>
                <a:ea typeface="+mn-ea"/>
                <a:cs typeface="Arial" pitchFamily="34" charset="0"/>
              </a:rPr>
              <a:t>5 Elements </a:t>
            </a:r>
            <a:r>
              <a:rPr lang="de-DE" dirty="0" err="1" smtClean="0">
                <a:solidFill>
                  <a:schemeClr val="tx1"/>
                </a:solidFill>
                <a:ea typeface="+mn-ea"/>
                <a:cs typeface="Arial" pitchFamily="34" charset="0"/>
              </a:rPr>
              <a:t>of</a:t>
            </a:r>
            <a:r>
              <a:rPr lang="de-DE" dirty="0" smtClean="0">
                <a:solidFill>
                  <a:schemeClr val="tx1"/>
                </a:solidFill>
                <a:ea typeface="+mn-ea"/>
                <a:cs typeface="Arial" pitchFamily="34" charset="0"/>
              </a:rPr>
              <a:t> Industry 4.0 / Integrated Industry</a:t>
            </a:r>
            <a:r>
              <a:rPr lang="de-DE" sz="2500" dirty="0">
                <a:solidFill>
                  <a:schemeClr val="bg1">
                    <a:lumMod val="50000"/>
                  </a:schemeClr>
                </a:solidFill>
                <a:ea typeface="+mn-ea"/>
                <a:cs typeface="Arial" pitchFamily="34" charset="0"/>
              </a:rPr>
              <a:t/>
            </a:r>
            <a:br>
              <a:rPr lang="de-DE" sz="2500" dirty="0">
                <a:solidFill>
                  <a:schemeClr val="bg1">
                    <a:lumMod val="50000"/>
                  </a:schemeClr>
                </a:solidFill>
                <a:ea typeface="+mn-ea"/>
                <a:cs typeface="Arial" pitchFamily="34" charset="0"/>
              </a:rPr>
            </a:br>
            <a:endParaRPr lang="de-DE" dirty="0">
              <a:solidFill>
                <a:schemeClr val="bg1">
                  <a:lumMod val="50000"/>
                </a:schemeClr>
              </a:solidFill>
              <a:cs typeface="Arial" pitchFamily="34" charset="0"/>
            </a:endParaRPr>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8959" y="1434502"/>
            <a:ext cx="1195937" cy="967356"/>
          </a:xfrm>
          <a:prstGeom prst="rect">
            <a:avLst/>
          </a:prstGeom>
          <a:ln>
            <a:noFill/>
          </a:ln>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85887" y="2527200"/>
            <a:ext cx="1195734" cy="967356"/>
          </a:xfrm>
          <a:prstGeom prst="rect">
            <a:avLst/>
          </a:prstGeom>
          <a:solidFill>
            <a:srgbClr val="0066CC"/>
          </a:solidFill>
          <a:ln>
            <a:noFill/>
          </a:ln>
        </p:spPr>
      </p:pic>
      <p:sp>
        <p:nvSpPr>
          <p:cNvPr id="20" name="TextBox 19"/>
          <p:cNvSpPr txBox="1"/>
          <p:nvPr/>
        </p:nvSpPr>
        <p:spPr>
          <a:xfrm>
            <a:off x="2864477" y="1782667"/>
            <a:ext cx="2296671" cy="369300"/>
          </a:xfrm>
          <a:prstGeom prst="rect">
            <a:avLst/>
          </a:prstGeom>
          <a:noFill/>
        </p:spPr>
        <p:txBody>
          <a:bodyPr wrap="square" lIns="91410" tIns="45704" rIns="91410" bIns="45704" rtlCol="0">
            <a:spAutoFit/>
          </a:bodyPr>
          <a:lstStyle/>
          <a:p>
            <a:pPr defTabSz="914091" fontAlgn="base">
              <a:spcBef>
                <a:spcPct val="50000"/>
              </a:spcBef>
              <a:spcAft>
                <a:spcPct val="0"/>
              </a:spcAft>
              <a:buClr>
                <a:srgbClr val="F0AB00"/>
              </a:buClr>
              <a:buSzPct val="80000"/>
            </a:pPr>
            <a:r>
              <a:rPr b="1" kern="0" dirty="0" smtClean="0">
                <a:solidFill>
                  <a:srgbClr val="000000"/>
                </a:solidFill>
                <a:ea typeface="Arial Unicode MS" pitchFamily="34" charset="-128"/>
                <a:cs typeface="Arial Unicode MS" pitchFamily="34" charset="-128"/>
              </a:rPr>
              <a:t>People &amp; Machines</a:t>
            </a:r>
          </a:p>
        </p:txBody>
      </p:sp>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77057" y="3574781"/>
            <a:ext cx="1195937" cy="977527"/>
          </a:xfrm>
          <a:prstGeom prst="rect">
            <a:avLst/>
          </a:prstGeom>
          <a:ln>
            <a:noFill/>
          </a:ln>
        </p:spPr>
      </p:pic>
      <p:sp>
        <p:nvSpPr>
          <p:cNvPr id="41" name="TextBox 40"/>
          <p:cNvSpPr txBox="1"/>
          <p:nvPr/>
        </p:nvSpPr>
        <p:spPr>
          <a:xfrm>
            <a:off x="2794021" y="2793244"/>
            <a:ext cx="2701140" cy="369300"/>
          </a:xfrm>
          <a:prstGeom prst="rect">
            <a:avLst/>
          </a:prstGeom>
          <a:noFill/>
        </p:spPr>
        <p:txBody>
          <a:bodyPr wrap="square" lIns="91410" tIns="45704" rIns="91410" bIns="45704" rtlCol="0">
            <a:spAutoFit/>
          </a:bodyPr>
          <a:lstStyle/>
          <a:p>
            <a:pPr algn="ctr" defTabSz="914091" fontAlgn="base">
              <a:spcBef>
                <a:spcPct val="50000"/>
              </a:spcBef>
              <a:spcAft>
                <a:spcPct val="0"/>
              </a:spcAft>
              <a:buClr>
                <a:srgbClr val="F0AB00"/>
              </a:buClr>
              <a:buSzPct val="80000"/>
            </a:pPr>
            <a:r>
              <a:rPr b="1" kern="0" dirty="0" smtClean="0">
                <a:solidFill>
                  <a:srgbClr val="000000"/>
                </a:solidFill>
                <a:ea typeface="Arial Unicode MS" pitchFamily="34" charset="-128"/>
                <a:cs typeface="Arial Unicode MS" pitchFamily="34" charset="-128"/>
              </a:rPr>
              <a:t>New </a:t>
            </a:r>
            <a:r>
              <a:rPr b="1" kern="0" dirty="0">
                <a:solidFill>
                  <a:srgbClr val="000000"/>
                </a:solidFill>
                <a:ea typeface="Arial Unicode MS" pitchFamily="34" charset="-128"/>
                <a:cs typeface="Arial Unicode MS" pitchFamily="34" charset="-128"/>
              </a:rPr>
              <a:t>B</a:t>
            </a:r>
            <a:r>
              <a:rPr b="1" kern="0" dirty="0" smtClean="0">
                <a:solidFill>
                  <a:srgbClr val="000000"/>
                </a:solidFill>
                <a:ea typeface="Arial Unicode MS" pitchFamily="34" charset="-128"/>
                <a:cs typeface="Arial Unicode MS" pitchFamily="34" charset="-128"/>
              </a:rPr>
              <a:t>usiness </a:t>
            </a:r>
            <a:r>
              <a:rPr b="1" kern="0" dirty="0">
                <a:solidFill>
                  <a:srgbClr val="000000"/>
                </a:solidFill>
                <a:ea typeface="Arial Unicode MS" pitchFamily="34" charset="-128"/>
                <a:cs typeface="Arial Unicode MS" pitchFamily="34" charset="-128"/>
              </a:rPr>
              <a:t>M</a:t>
            </a:r>
            <a:r>
              <a:rPr b="1" kern="0" dirty="0" smtClean="0">
                <a:solidFill>
                  <a:srgbClr val="000000"/>
                </a:solidFill>
                <a:ea typeface="Arial Unicode MS" pitchFamily="34" charset="-128"/>
                <a:cs typeface="Arial Unicode MS" pitchFamily="34" charset="-128"/>
              </a:rPr>
              <a:t>odels</a:t>
            </a:r>
          </a:p>
        </p:txBody>
      </p:sp>
      <p:sp>
        <p:nvSpPr>
          <p:cNvPr id="42" name="TextBox 41"/>
          <p:cNvSpPr txBox="1"/>
          <p:nvPr/>
        </p:nvSpPr>
        <p:spPr>
          <a:xfrm>
            <a:off x="2873102" y="3877952"/>
            <a:ext cx="2950545" cy="369300"/>
          </a:xfrm>
          <a:prstGeom prst="rect">
            <a:avLst/>
          </a:prstGeom>
          <a:noFill/>
        </p:spPr>
        <p:txBody>
          <a:bodyPr wrap="square" lIns="91410" tIns="45704" rIns="91410" bIns="45704" rtlCol="0">
            <a:spAutoFit/>
          </a:bodyPr>
          <a:lstStyle/>
          <a:p>
            <a:pPr defTabSz="914091" fontAlgn="base">
              <a:spcBef>
                <a:spcPct val="50000"/>
              </a:spcBef>
              <a:spcAft>
                <a:spcPct val="0"/>
              </a:spcAft>
              <a:buClr>
                <a:srgbClr val="F0AB00"/>
              </a:buClr>
              <a:buSzPct val="80000"/>
            </a:pPr>
            <a:r>
              <a:rPr lang="en-US" b="1" kern="0" dirty="0" smtClean="0">
                <a:solidFill>
                  <a:srgbClr val="000000"/>
                </a:solidFill>
                <a:ea typeface="Arial Unicode MS" pitchFamily="34" charset="-128"/>
                <a:cs typeface="Arial Unicode MS" pitchFamily="34" charset="-128"/>
              </a:rPr>
              <a:t>End-to-End Processes</a:t>
            </a:r>
          </a:p>
        </p:txBody>
      </p:sp>
      <p:sp>
        <p:nvSpPr>
          <p:cNvPr id="45" name="TextBox 44"/>
          <p:cNvSpPr txBox="1"/>
          <p:nvPr/>
        </p:nvSpPr>
        <p:spPr>
          <a:xfrm>
            <a:off x="2860375" y="5810896"/>
            <a:ext cx="2782127" cy="369300"/>
          </a:xfrm>
          <a:prstGeom prst="rect">
            <a:avLst/>
          </a:prstGeom>
          <a:noFill/>
        </p:spPr>
        <p:txBody>
          <a:bodyPr vert="horz" wrap="square" lIns="91410" tIns="45704" rIns="91410" bIns="45704" rtlCol="0" anchor="ctr" anchorCtr="0">
            <a:spAutoFit/>
          </a:bodyPr>
          <a:lstStyle/>
          <a:p>
            <a:pPr defTabSz="914091" fontAlgn="base">
              <a:spcAft>
                <a:spcPct val="0"/>
              </a:spcAft>
              <a:buClr>
                <a:srgbClr val="F0AB00"/>
              </a:buClr>
              <a:buSzPct val="80000"/>
            </a:pPr>
            <a:r>
              <a:rPr lang="en-US" b="1" kern="0" dirty="0" smtClean="0">
                <a:solidFill>
                  <a:srgbClr val="000000"/>
                </a:solidFill>
                <a:ea typeface="Arial Unicode MS" pitchFamily="34" charset="-128"/>
                <a:cs typeface="Arial Unicode MS" pitchFamily="34" charset="-128"/>
              </a:rPr>
              <a:t>Machine Life Cycle</a:t>
            </a:r>
          </a:p>
        </p:txBody>
      </p:sp>
      <p:sp>
        <p:nvSpPr>
          <p:cNvPr id="36" name="Flowchart: Connector 35"/>
          <p:cNvSpPr/>
          <p:nvPr/>
        </p:nvSpPr>
        <p:spPr bwMode="gray">
          <a:xfrm>
            <a:off x="2480437" y="1833405"/>
            <a:ext cx="284509" cy="233353"/>
          </a:xfrm>
          <a:prstGeom prst="flowChartConnector">
            <a:avLst/>
          </a:prstGeom>
          <a:solidFill>
            <a:schemeClr val="accent1"/>
          </a:solidFill>
          <a:ln w="6350" algn="ctr">
            <a:solidFill>
              <a:schemeClr val="accent1"/>
            </a:solid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rPr>
              <a:t>1</a:t>
            </a:r>
          </a:p>
        </p:txBody>
      </p:sp>
      <p:sp>
        <p:nvSpPr>
          <p:cNvPr id="53" name="Flowchart: Connector 52"/>
          <p:cNvSpPr/>
          <p:nvPr/>
        </p:nvSpPr>
        <p:spPr bwMode="gray">
          <a:xfrm>
            <a:off x="2476274" y="2853276"/>
            <a:ext cx="284509" cy="233353"/>
          </a:xfrm>
          <a:prstGeom prst="flowChartConnector">
            <a:avLst/>
          </a:prstGeom>
          <a:solidFill>
            <a:schemeClr val="accent1"/>
          </a:solidFill>
          <a:ln w="6350" algn="ctr">
            <a:solidFill>
              <a:schemeClr val="accent1"/>
            </a:solid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2</a:t>
            </a:r>
            <a:endParaRPr kern="0" dirty="0" smtClean="0">
              <a:solidFill>
                <a:srgbClr val="000000"/>
              </a:solidFill>
              <a:ea typeface="Arial Unicode MS" pitchFamily="34" charset="-128"/>
              <a:cs typeface="Arial Unicode MS" pitchFamily="34" charset="-128"/>
            </a:endParaRPr>
          </a:p>
        </p:txBody>
      </p:sp>
      <p:sp>
        <p:nvSpPr>
          <p:cNvPr id="54" name="Flowchart: Connector 53"/>
          <p:cNvSpPr/>
          <p:nvPr/>
        </p:nvSpPr>
        <p:spPr bwMode="gray">
          <a:xfrm>
            <a:off x="2482957" y="3928691"/>
            <a:ext cx="284509" cy="233353"/>
          </a:xfrm>
          <a:prstGeom prst="flowChartConnector">
            <a:avLst/>
          </a:prstGeom>
          <a:solidFill>
            <a:schemeClr val="accent1"/>
          </a:solidFill>
          <a:ln w="6350" algn="ctr">
            <a:solidFill>
              <a:schemeClr val="accent1"/>
            </a:solid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3</a:t>
            </a:r>
            <a:endParaRPr kern="0" dirty="0" smtClean="0">
              <a:solidFill>
                <a:srgbClr val="000000"/>
              </a:solidFill>
              <a:ea typeface="Arial Unicode MS" pitchFamily="34" charset="-128"/>
              <a:cs typeface="Arial Unicode MS" pitchFamily="34" charset="-128"/>
            </a:endParaRPr>
          </a:p>
        </p:txBody>
      </p:sp>
      <p:sp>
        <p:nvSpPr>
          <p:cNvPr id="55" name="Flowchart: Connector 54"/>
          <p:cNvSpPr/>
          <p:nvPr/>
        </p:nvSpPr>
        <p:spPr bwMode="gray">
          <a:xfrm>
            <a:off x="2479331" y="4936220"/>
            <a:ext cx="284509" cy="233353"/>
          </a:xfrm>
          <a:prstGeom prst="flowChartConnector">
            <a:avLst/>
          </a:prstGeom>
          <a:solidFill>
            <a:schemeClr val="accent1"/>
          </a:solidFill>
          <a:ln w="6350" algn="ctr">
            <a:solidFill>
              <a:schemeClr val="accent1"/>
            </a:solid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r>
              <a:rPr kern="0" dirty="0" smtClean="0">
                <a:solidFill>
                  <a:srgbClr val="000000"/>
                </a:solidFill>
                <a:ea typeface="Arial Unicode MS" pitchFamily="34" charset="-128"/>
                <a:cs typeface="Arial Unicode MS" pitchFamily="34" charset="-128"/>
              </a:rPr>
              <a:t>4</a:t>
            </a:r>
          </a:p>
        </p:txBody>
      </p:sp>
      <p:sp>
        <p:nvSpPr>
          <p:cNvPr id="56" name="Flowchart: Connector 55"/>
          <p:cNvSpPr/>
          <p:nvPr/>
        </p:nvSpPr>
        <p:spPr bwMode="gray">
          <a:xfrm>
            <a:off x="2489916" y="5878872"/>
            <a:ext cx="284509" cy="233353"/>
          </a:xfrm>
          <a:prstGeom prst="flowChartConnector">
            <a:avLst/>
          </a:prstGeom>
          <a:solidFill>
            <a:schemeClr val="accent1"/>
          </a:solidFill>
          <a:ln w="6350" algn="ctr">
            <a:solidFill>
              <a:schemeClr val="accent1"/>
            </a:solidFill>
            <a:miter lim="800000"/>
            <a:headEnd/>
            <a:tailEnd/>
          </a:ln>
        </p:spPr>
        <p:txBody>
          <a:bodyPr lIns="89970" tIns="71975" rIns="89970" bIns="71975" rtlCol="0" anchor="ctr"/>
          <a:lstStyle/>
          <a:p>
            <a:pPr algn="ctr" defTabSz="914091" fontAlgn="base">
              <a:spcBef>
                <a:spcPct val="50000"/>
              </a:spcBef>
              <a:spcAft>
                <a:spcPct val="0"/>
              </a:spcAft>
              <a:buClr>
                <a:srgbClr val="F0AB00"/>
              </a:buClr>
              <a:buSzPct val="80000"/>
            </a:pPr>
            <a:r>
              <a:rPr kern="0" dirty="0">
                <a:solidFill>
                  <a:srgbClr val="000000"/>
                </a:solidFill>
                <a:ea typeface="Arial Unicode MS" pitchFamily="34" charset="-128"/>
                <a:cs typeface="Arial Unicode MS" pitchFamily="34" charset="-128"/>
              </a:rPr>
              <a:t>5</a:t>
            </a:r>
            <a:endParaRPr kern="0" dirty="0" smtClean="0">
              <a:solidFill>
                <a:srgbClr val="000000"/>
              </a:solidFill>
              <a:ea typeface="Arial Unicode MS" pitchFamily="34" charset="-128"/>
              <a:cs typeface="Arial Unicode MS" pitchFamily="34" charset="-128"/>
            </a:endParaRPr>
          </a:p>
        </p:txBody>
      </p:sp>
      <p:sp>
        <p:nvSpPr>
          <p:cNvPr id="40" name="TextBox 39"/>
          <p:cNvSpPr txBox="1"/>
          <p:nvPr/>
        </p:nvSpPr>
        <p:spPr>
          <a:xfrm>
            <a:off x="2869561" y="4842351"/>
            <a:ext cx="2296671" cy="369300"/>
          </a:xfrm>
          <a:prstGeom prst="rect">
            <a:avLst/>
          </a:prstGeom>
          <a:noFill/>
        </p:spPr>
        <p:txBody>
          <a:bodyPr wrap="square" lIns="91410" tIns="45704" rIns="91410" bIns="45704" rtlCol="0">
            <a:spAutoFit/>
          </a:bodyPr>
          <a:lstStyle/>
          <a:p>
            <a:pPr defTabSz="914091" fontAlgn="base">
              <a:spcBef>
                <a:spcPct val="50000"/>
              </a:spcBef>
              <a:spcAft>
                <a:spcPct val="0"/>
              </a:spcAft>
              <a:buClr>
                <a:srgbClr val="F0AB00"/>
              </a:buClr>
              <a:buSzPct val="80000"/>
            </a:pPr>
            <a:r>
              <a:rPr lang="en-US" b="1" kern="0" dirty="0" smtClean="0">
                <a:solidFill>
                  <a:srgbClr val="000000"/>
                </a:solidFill>
                <a:ea typeface="Arial Unicode MS" pitchFamily="34" charset="-128"/>
                <a:cs typeface="Arial Unicode MS" pitchFamily="34" charset="-128"/>
              </a:rPr>
              <a:t>Vertical Integration</a:t>
            </a:r>
          </a:p>
        </p:txBody>
      </p:sp>
      <p:sp>
        <p:nvSpPr>
          <p:cNvPr id="44" name="TextBox 43"/>
          <p:cNvSpPr txBox="1"/>
          <p:nvPr/>
        </p:nvSpPr>
        <p:spPr>
          <a:xfrm>
            <a:off x="5585889" y="5887641"/>
            <a:ext cx="1309285" cy="338522"/>
          </a:xfrm>
          <a:prstGeom prst="rect">
            <a:avLst/>
          </a:prstGeom>
          <a:noFill/>
        </p:spPr>
        <p:txBody>
          <a:bodyPr wrap="square" lIns="91410" tIns="45704" rIns="91410" bIns="45704" rtlCol="0">
            <a:spAutoFit/>
          </a:bodyPr>
          <a:lstStyle/>
          <a:p>
            <a:pPr defTabSz="914091" fontAlgn="base">
              <a:spcBef>
                <a:spcPct val="50000"/>
              </a:spcBef>
              <a:spcAft>
                <a:spcPct val="0"/>
              </a:spcAft>
              <a:buClr>
                <a:srgbClr val="F0AB00"/>
              </a:buClr>
              <a:buSzPct val="80000"/>
            </a:pPr>
            <a:r>
              <a:rPr sz="1600" kern="0" dirty="0">
                <a:solidFill>
                  <a:srgbClr val="000000"/>
                </a:solidFill>
                <a:ea typeface="Arial Unicode MS" pitchFamily="34" charset="-128"/>
                <a:cs typeface="Arial Unicode MS" pitchFamily="34" charset="-128"/>
              </a:rPr>
              <a:t>+ 20 </a:t>
            </a:r>
            <a:r>
              <a:rPr sz="1600" kern="0" dirty="0" err="1">
                <a:solidFill>
                  <a:srgbClr val="000000"/>
                </a:solidFill>
                <a:ea typeface="Arial Unicode MS" pitchFamily="34" charset="-128"/>
                <a:cs typeface="Arial Unicode MS" pitchFamily="34" charset="-128"/>
              </a:rPr>
              <a:t>years</a:t>
            </a:r>
            <a:endParaRPr sz="16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29991296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800" dirty="0">
                <a:solidFill>
                  <a:schemeClr val="tx1"/>
                </a:solidFill>
              </a:rPr>
              <a:t>SAP for Industrial Machinery &amp; Components</a:t>
            </a:r>
            <a:br>
              <a:rPr lang="en-US" sz="1800" dirty="0">
                <a:solidFill>
                  <a:schemeClr val="tx1"/>
                </a:solidFill>
              </a:rPr>
            </a:br>
            <a:r>
              <a:rPr lang="en-US" dirty="0" smtClean="0">
                <a:solidFill>
                  <a:schemeClr val="tx1"/>
                </a:solidFill>
              </a:rPr>
              <a:t>5 Elements of Industry 4.0 / Integrated Industry: The future will come automatically- </a:t>
            </a:r>
            <a:endParaRPr lang="en-US" dirty="0">
              <a:solidFill>
                <a:schemeClr val="tx1"/>
              </a:solidFill>
            </a:endParaRPr>
          </a:p>
        </p:txBody>
      </p:sp>
      <p:grpSp>
        <p:nvGrpSpPr>
          <p:cNvPr id="114" name="Group 113"/>
          <p:cNvGrpSpPr/>
          <p:nvPr/>
        </p:nvGrpSpPr>
        <p:grpSpPr>
          <a:xfrm>
            <a:off x="1477" y="1231646"/>
            <a:ext cx="9143999" cy="1055164"/>
            <a:chOff x="1477" y="1239463"/>
            <a:chExt cx="9143999" cy="1055164"/>
          </a:xfrm>
        </p:grpSpPr>
        <p:sp>
          <p:nvSpPr>
            <p:cNvPr id="4" name="Rectangle 3"/>
            <p:cNvSpPr/>
            <p:nvPr/>
          </p:nvSpPr>
          <p:spPr bwMode="gray">
            <a:xfrm>
              <a:off x="1477" y="1274390"/>
              <a:ext cx="9143999" cy="102023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9" name="Rounded Rectangle 8"/>
            <p:cNvSpPr/>
            <p:nvPr>
              <p:custDataLst>
                <p:tags r:id="rId9"/>
              </p:custDataLst>
            </p:nvPr>
          </p:nvSpPr>
          <p:spPr bwMode="gray">
            <a:xfrm>
              <a:off x="327010" y="1391621"/>
              <a:ext cx="1585381" cy="747732"/>
            </a:xfrm>
            <a:prstGeom prst="roundRect">
              <a:avLst/>
            </a:prstGeom>
            <a:solidFill>
              <a:schemeClr val="accent1">
                <a:lumMod val="60000"/>
                <a:lumOff val="40000"/>
              </a:schemeClr>
            </a:solidFill>
            <a:ln w="6350" algn="ctr">
              <a:noFill/>
              <a:miter lim="800000"/>
              <a:headEnd/>
              <a:tailEnd/>
            </a:ln>
          </p:spPr>
          <p:txBody>
            <a:bodyPr lIns="36000" tIns="72000" rIns="36000" bIns="72000" rtlCol="0" anchor="ct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People &amp; Machines </a:t>
              </a:r>
            </a:p>
          </p:txBody>
        </p:sp>
        <p:sp>
          <p:nvSpPr>
            <p:cNvPr id="10" name="Oval 9"/>
            <p:cNvSpPr>
              <a:spLocks noChangeAspect="1" noChangeArrowheads="1"/>
            </p:cNvSpPr>
            <p:nvPr/>
          </p:nvSpPr>
          <p:spPr bwMode="auto">
            <a:xfrm>
              <a:off x="195131" y="1310900"/>
              <a:ext cx="317601" cy="319000"/>
            </a:xfrm>
            <a:prstGeom prst="ellipse">
              <a:avLst/>
            </a:prstGeom>
            <a:solidFill>
              <a:schemeClr val="accent1"/>
            </a:solidFill>
            <a:ln w="28575" algn="ctr">
              <a:solidFill>
                <a:schemeClr val="accent1"/>
              </a:solidFill>
              <a:round/>
              <a:headEnd/>
              <a:tailEnd/>
            </a:ln>
            <a:effectLst>
              <a:outerShdw dist="38100" dir="2700000" algn="tl" rotWithShape="0">
                <a:srgbClr val="000000">
                  <a:alpha val="39999"/>
                </a:srgbClr>
              </a:outerShdw>
            </a:effectLst>
          </p:spPr>
          <p:txBody>
            <a:bodyPr wrap="none" lIns="90000" tIns="46800" rIns="90000" bIns="46800" anchor="ctr"/>
            <a:lstStyle/>
            <a:p>
              <a:pPr marL="244349" indent="-244349" algn="ctr">
                <a:buClr>
                  <a:srgbClr val="F0AB00"/>
                </a:buClr>
                <a:buSzPct val="80000"/>
              </a:pPr>
              <a:r>
                <a:rPr lang="en-US" sz="1400" b="1" dirty="0">
                  <a:solidFill>
                    <a:srgbClr val="000000"/>
                  </a:solidFill>
                  <a:latin typeface="Arial Black" pitchFamily="34" charset="0"/>
                </a:rPr>
                <a:t>1</a:t>
              </a:r>
            </a:p>
          </p:txBody>
        </p:sp>
        <p:sp>
          <p:nvSpPr>
            <p:cNvPr id="12" name="Text Placeholder 2"/>
            <p:cNvSpPr txBox="1">
              <a:spLocks/>
            </p:cNvSpPr>
            <p:nvPr>
              <p:custDataLst>
                <p:tags r:id="rId10"/>
              </p:custDataLst>
            </p:nvPr>
          </p:nvSpPr>
          <p:spPr bwMode="gray">
            <a:xfrm>
              <a:off x="3806035" y="1239463"/>
              <a:ext cx="5225821" cy="1055164"/>
            </a:xfrm>
            <a:prstGeom prst="rect">
              <a:avLst/>
            </a:prstGeom>
          </p:spPr>
          <p:txBody>
            <a:bodyPr vert="horz" lIns="91440" tIns="91440" rIns="91440" bIns="91440" rtlCol="0">
              <a:noAutofit/>
            </a:bodyPr>
            <a:lstStyle/>
            <a:p>
              <a:pPr marL="269738" lvl="2" indent="-180882">
                <a:spcBef>
                  <a:spcPts val="420"/>
                </a:spcBef>
                <a:buClr>
                  <a:srgbClr val="F0AB00"/>
                </a:buClr>
                <a:buSzPct val="100000"/>
                <a:buFont typeface="Arial Black" pitchFamily="34" charset="0"/>
                <a:buChar char="&gt;"/>
              </a:pPr>
              <a:r>
                <a:rPr lang="en-US" sz="1200" dirty="0">
                  <a:solidFill>
                    <a:srgbClr val="000000"/>
                  </a:solidFill>
                </a:rPr>
                <a:t>Increasing Digitalization – Virtual World and Real World coming together – </a:t>
              </a:r>
              <a:r>
                <a:rPr lang="en-US" sz="1200" dirty="0" smtClean="0">
                  <a:solidFill>
                    <a:srgbClr val="000000"/>
                  </a:solidFill>
                </a:rPr>
                <a:t>“White </a:t>
              </a:r>
              <a:r>
                <a:rPr lang="en-US" sz="1200" dirty="0">
                  <a:solidFill>
                    <a:srgbClr val="000000"/>
                  </a:solidFill>
                </a:rPr>
                <a:t>Collar </a:t>
              </a:r>
              <a:r>
                <a:rPr lang="en-US" sz="1200" dirty="0" smtClean="0">
                  <a:solidFill>
                    <a:srgbClr val="000000"/>
                  </a:solidFill>
                </a:rPr>
                <a:t>Robots”</a:t>
              </a:r>
              <a:endParaRPr lang="en-US" sz="1200" dirty="0">
                <a:solidFill>
                  <a:srgbClr val="000000"/>
                </a:solidFill>
              </a:endParaRPr>
            </a:p>
            <a:p>
              <a:pPr marL="269738" lvl="2" indent="-180882">
                <a:spcBef>
                  <a:spcPts val="420"/>
                </a:spcBef>
                <a:buClr>
                  <a:srgbClr val="F0AB00"/>
                </a:buClr>
                <a:buSzPct val="100000"/>
                <a:buFont typeface="Arial Black" pitchFamily="34" charset="0"/>
                <a:buChar char="&gt;"/>
              </a:pPr>
              <a:r>
                <a:rPr lang="en-US" sz="1200" dirty="0" smtClean="0">
                  <a:solidFill>
                    <a:srgbClr val="000000"/>
                  </a:solidFill>
                </a:rPr>
                <a:t>What </a:t>
              </a:r>
              <a:r>
                <a:rPr lang="en-US" sz="1200" dirty="0">
                  <a:solidFill>
                    <a:srgbClr val="000000"/>
                  </a:solidFill>
                </a:rPr>
                <a:t>can be automated, will be automated</a:t>
              </a:r>
            </a:p>
            <a:p>
              <a:pPr marL="269738" lvl="2" indent="-180882">
                <a:spcBef>
                  <a:spcPts val="420"/>
                </a:spcBef>
                <a:buClr>
                  <a:srgbClr val="F0AB00"/>
                </a:buClr>
                <a:buSzPct val="100000"/>
                <a:buFont typeface="Arial Black" pitchFamily="34" charset="0"/>
                <a:buChar char="&gt;"/>
              </a:pPr>
              <a:r>
                <a:rPr lang="en-US" sz="1200" dirty="0" smtClean="0">
                  <a:solidFill>
                    <a:srgbClr val="000000"/>
                  </a:solidFill>
                </a:rPr>
                <a:t>Human </a:t>
              </a:r>
              <a:r>
                <a:rPr lang="en-US" sz="1200" dirty="0">
                  <a:solidFill>
                    <a:srgbClr val="000000"/>
                  </a:solidFill>
                </a:rPr>
                <a:t>– Machine Interface need  to be developed new </a:t>
              </a:r>
            </a:p>
          </p:txBody>
        </p:sp>
      </p:grpSp>
      <p:grpSp>
        <p:nvGrpSpPr>
          <p:cNvPr id="115" name="Group 114"/>
          <p:cNvGrpSpPr/>
          <p:nvPr/>
        </p:nvGrpSpPr>
        <p:grpSpPr>
          <a:xfrm>
            <a:off x="-1388" y="2278993"/>
            <a:ext cx="9141131" cy="1055164"/>
            <a:chOff x="1477" y="1239463"/>
            <a:chExt cx="9141131" cy="1055164"/>
          </a:xfrm>
        </p:grpSpPr>
        <p:sp>
          <p:nvSpPr>
            <p:cNvPr id="116" name="Rectangle 115"/>
            <p:cNvSpPr/>
            <p:nvPr/>
          </p:nvSpPr>
          <p:spPr bwMode="gray">
            <a:xfrm>
              <a:off x="1477" y="1274390"/>
              <a:ext cx="9141131" cy="102023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17" name="Rounded Rectangle 116"/>
            <p:cNvSpPr/>
            <p:nvPr>
              <p:custDataLst>
                <p:tags r:id="rId7"/>
              </p:custDataLst>
            </p:nvPr>
          </p:nvSpPr>
          <p:spPr bwMode="gray">
            <a:xfrm>
              <a:off x="327010" y="1391621"/>
              <a:ext cx="1585381" cy="747732"/>
            </a:xfrm>
            <a:prstGeom prst="roundRect">
              <a:avLst/>
            </a:prstGeom>
            <a:solidFill>
              <a:schemeClr val="accent1">
                <a:lumMod val="60000"/>
                <a:lumOff val="40000"/>
              </a:schemeClr>
            </a:solidFill>
            <a:ln w="6350" algn="ctr">
              <a:noFill/>
              <a:miter lim="800000"/>
              <a:headEnd/>
              <a:tailEnd/>
            </a:ln>
          </p:spPr>
          <p:txBody>
            <a:bodyPr lIns="36000" tIns="72000" rIns="36000" bIns="72000" rtlCol="0" anchor="ct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  New Business Models</a:t>
              </a:r>
            </a:p>
          </p:txBody>
        </p:sp>
        <p:sp>
          <p:nvSpPr>
            <p:cNvPr id="118" name="Oval 117"/>
            <p:cNvSpPr>
              <a:spLocks noChangeAspect="1" noChangeArrowheads="1"/>
            </p:cNvSpPr>
            <p:nvPr/>
          </p:nvSpPr>
          <p:spPr bwMode="auto">
            <a:xfrm>
              <a:off x="195131" y="1310900"/>
              <a:ext cx="317601" cy="319000"/>
            </a:xfrm>
            <a:prstGeom prst="ellipse">
              <a:avLst/>
            </a:prstGeom>
            <a:solidFill>
              <a:schemeClr val="accent1"/>
            </a:solidFill>
            <a:ln w="28575" algn="ctr">
              <a:solidFill>
                <a:schemeClr val="accent1"/>
              </a:solidFill>
              <a:round/>
              <a:headEnd/>
              <a:tailEnd/>
            </a:ln>
            <a:effectLst>
              <a:outerShdw dist="38100" dir="2700000" algn="tl" rotWithShape="0">
                <a:srgbClr val="000000">
                  <a:alpha val="39999"/>
                </a:srgbClr>
              </a:outerShdw>
            </a:effectLst>
          </p:spPr>
          <p:txBody>
            <a:bodyPr wrap="none" lIns="90000" tIns="46800" rIns="90000" bIns="46800" anchor="ctr"/>
            <a:lstStyle/>
            <a:p>
              <a:pPr marL="244349" indent="-244349" algn="ctr">
                <a:buClr>
                  <a:srgbClr val="F0AB00"/>
                </a:buClr>
                <a:buSzPct val="80000"/>
              </a:pPr>
              <a:r>
                <a:rPr lang="en-US" sz="1400" b="1" dirty="0">
                  <a:solidFill>
                    <a:srgbClr val="000000"/>
                  </a:solidFill>
                  <a:latin typeface="Arial Black" pitchFamily="34" charset="0"/>
                </a:rPr>
                <a:t>2</a:t>
              </a:r>
            </a:p>
          </p:txBody>
        </p:sp>
        <p:sp>
          <p:nvSpPr>
            <p:cNvPr id="119" name="Text Placeholder 2"/>
            <p:cNvSpPr txBox="1">
              <a:spLocks/>
            </p:cNvSpPr>
            <p:nvPr>
              <p:custDataLst>
                <p:tags r:id="rId8"/>
              </p:custDataLst>
            </p:nvPr>
          </p:nvSpPr>
          <p:spPr bwMode="gray">
            <a:xfrm>
              <a:off x="3806035" y="1239463"/>
              <a:ext cx="5228687" cy="1055164"/>
            </a:xfrm>
            <a:prstGeom prst="rect">
              <a:avLst/>
            </a:prstGeom>
          </p:spPr>
          <p:txBody>
            <a:bodyPr vert="horz" lIns="91440" tIns="91440" rIns="91440" bIns="91440" rtlCol="0">
              <a:noAutofit/>
            </a:bodyPr>
            <a:lstStyle/>
            <a:p>
              <a:pPr marL="269738" lvl="2" indent="-180882">
                <a:spcBef>
                  <a:spcPts val="420"/>
                </a:spcBef>
                <a:buClr>
                  <a:srgbClr val="F0AB00"/>
                </a:buClr>
                <a:buSzPct val="100000"/>
                <a:buFont typeface="Arial Black" pitchFamily="34" charset="0"/>
                <a:buChar char="&gt;"/>
              </a:pPr>
              <a:r>
                <a:rPr lang="en-US" sz="1200" dirty="0">
                  <a:solidFill>
                    <a:srgbClr val="000000"/>
                  </a:solidFill>
                </a:rPr>
                <a:t>Collaborative Consumption; Sharing Economy; Asset Light lifestyle</a:t>
              </a:r>
            </a:p>
            <a:p>
              <a:pPr marL="269738" lvl="2" indent="-180882">
                <a:spcBef>
                  <a:spcPts val="420"/>
                </a:spcBef>
                <a:buClr>
                  <a:srgbClr val="F0AB00"/>
                </a:buClr>
                <a:buSzPct val="100000"/>
                <a:buFont typeface="Arial Black" pitchFamily="34" charset="0"/>
                <a:buChar char="&gt;"/>
              </a:pPr>
              <a:r>
                <a:rPr lang="en-US" sz="1200" dirty="0">
                  <a:solidFill>
                    <a:srgbClr val="000000"/>
                  </a:solidFill>
                </a:rPr>
                <a:t>New Industrial Downstream Service </a:t>
              </a:r>
              <a:r>
                <a:rPr lang="en-US" sz="1200" dirty="0" err="1">
                  <a:solidFill>
                    <a:srgbClr val="000000"/>
                  </a:solidFill>
                </a:rPr>
                <a:t>e.g.“Machine</a:t>
              </a:r>
              <a:r>
                <a:rPr lang="en-US" sz="1200" dirty="0">
                  <a:solidFill>
                    <a:srgbClr val="000000"/>
                  </a:solidFill>
                </a:rPr>
                <a:t> Benchmarking” </a:t>
              </a:r>
            </a:p>
            <a:p>
              <a:pPr marL="269738" lvl="2" indent="-180882">
                <a:spcBef>
                  <a:spcPts val="420"/>
                </a:spcBef>
                <a:buClr>
                  <a:srgbClr val="F0AB00"/>
                </a:buClr>
                <a:buSzPct val="100000"/>
                <a:buFont typeface="Arial Black" pitchFamily="34" charset="0"/>
                <a:buChar char="&gt;"/>
              </a:pPr>
              <a:r>
                <a:rPr lang="en-US" sz="1200" dirty="0">
                  <a:solidFill>
                    <a:srgbClr val="000000"/>
                  </a:solidFill>
                </a:rPr>
                <a:t>Pay on Production Models; Scan and Copy (3D); Usage Based Billing</a:t>
              </a:r>
            </a:p>
            <a:p>
              <a:pPr marL="269738" lvl="2" indent="-180882">
                <a:spcBef>
                  <a:spcPts val="420"/>
                </a:spcBef>
                <a:buClr>
                  <a:srgbClr val="F0AB00"/>
                </a:buClr>
                <a:buSzPct val="100000"/>
                <a:buFont typeface="Arial Black" pitchFamily="34" charset="0"/>
                <a:buChar char="&gt;"/>
              </a:pPr>
              <a:r>
                <a:rPr lang="en-US" sz="1200" dirty="0">
                  <a:solidFill>
                    <a:srgbClr val="000000"/>
                  </a:solidFill>
                </a:rPr>
                <a:t>Asset Life Cycle Business Models with continuously changing partners</a:t>
              </a:r>
            </a:p>
            <a:p>
              <a:pPr marL="269738" lvl="2" indent="-180882">
                <a:spcBef>
                  <a:spcPts val="420"/>
                </a:spcBef>
                <a:buClr>
                  <a:srgbClr val="F0AB00"/>
                </a:buClr>
                <a:buSzPct val="100000"/>
                <a:buFont typeface="Arial Black" pitchFamily="34" charset="0"/>
                <a:buChar char="&gt;"/>
              </a:pPr>
              <a:endParaRPr lang="en-US" sz="1200" dirty="0">
                <a:solidFill>
                  <a:srgbClr val="000000"/>
                </a:solidFill>
              </a:endParaRPr>
            </a:p>
          </p:txBody>
        </p:sp>
      </p:grpSp>
      <p:grpSp>
        <p:nvGrpSpPr>
          <p:cNvPr id="121" name="Group 120"/>
          <p:cNvGrpSpPr/>
          <p:nvPr/>
        </p:nvGrpSpPr>
        <p:grpSpPr>
          <a:xfrm>
            <a:off x="-4259" y="3334157"/>
            <a:ext cx="11046084" cy="1055164"/>
            <a:chOff x="1477" y="1239463"/>
            <a:chExt cx="11046084" cy="1055164"/>
          </a:xfrm>
        </p:grpSpPr>
        <p:sp>
          <p:nvSpPr>
            <p:cNvPr id="122" name="Rectangle 121"/>
            <p:cNvSpPr/>
            <p:nvPr/>
          </p:nvSpPr>
          <p:spPr bwMode="gray">
            <a:xfrm>
              <a:off x="1477" y="1274390"/>
              <a:ext cx="9143999" cy="102023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23" name="Rounded Rectangle 122"/>
            <p:cNvSpPr/>
            <p:nvPr>
              <p:custDataLst>
                <p:tags r:id="rId5"/>
              </p:custDataLst>
            </p:nvPr>
          </p:nvSpPr>
          <p:spPr bwMode="gray">
            <a:xfrm>
              <a:off x="327010" y="1391621"/>
              <a:ext cx="1585381" cy="747732"/>
            </a:xfrm>
            <a:prstGeom prst="roundRect">
              <a:avLst/>
            </a:prstGeom>
            <a:solidFill>
              <a:schemeClr val="accent1">
                <a:lumMod val="60000"/>
                <a:lumOff val="40000"/>
              </a:schemeClr>
            </a:solidFill>
            <a:ln w="6350" algn="ctr">
              <a:noFill/>
              <a:miter lim="800000"/>
              <a:headEnd/>
              <a:tailEnd/>
            </a:ln>
          </p:spPr>
          <p:txBody>
            <a:bodyPr lIns="36000" tIns="72000" rIns="36000" bIns="72000" rtlCol="0" anchor="ct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E2E Process</a:t>
              </a:r>
            </a:p>
          </p:txBody>
        </p:sp>
        <p:sp>
          <p:nvSpPr>
            <p:cNvPr id="124" name="Oval 123"/>
            <p:cNvSpPr>
              <a:spLocks noChangeAspect="1" noChangeArrowheads="1"/>
            </p:cNvSpPr>
            <p:nvPr/>
          </p:nvSpPr>
          <p:spPr bwMode="auto">
            <a:xfrm>
              <a:off x="195131" y="1310900"/>
              <a:ext cx="317601" cy="319000"/>
            </a:xfrm>
            <a:prstGeom prst="ellipse">
              <a:avLst/>
            </a:prstGeom>
            <a:solidFill>
              <a:schemeClr val="accent1"/>
            </a:solidFill>
            <a:ln w="28575" algn="ctr">
              <a:solidFill>
                <a:schemeClr val="accent1"/>
              </a:solidFill>
              <a:round/>
              <a:headEnd/>
              <a:tailEnd/>
            </a:ln>
            <a:effectLst>
              <a:outerShdw dist="38100" dir="2700000" algn="tl" rotWithShape="0">
                <a:srgbClr val="000000">
                  <a:alpha val="39999"/>
                </a:srgbClr>
              </a:outerShdw>
            </a:effectLst>
          </p:spPr>
          <p:txBody>
            <a:bodyPr wrap="none" lIns="90000" tIns="46800" rIns="90000" bIns="46800" anchor="ctr"/>
            <a:lstStyle/>
            <a:p>
              <a:pPr marL="244349" indent="-244349" algn="ctr">
                <a:buClr>
                  <a:srgbClr val="F0AB00"/>
                </a:buClr>
                <a:buSzPct val="80000"/>
              </a:pPr>
              <a:r>
                <a:rPr lang="en-US" sz="1400" b="1" dirty="0">
                  <a:solidFill>
                    <a:srgbClr val="000000"/>
                  </a:solidFill>
                  <a:latin typeface="Arial Black" pitchFamily="34" charset="0"/>
                </a:rPr>
                <a:t>3</a:t>
              </a:r>
            </a:p>
          </p:txBody>
        </p:sp>
        <p:sp>
          <p:nvSpPr>
            <p:cNvPr id="125" name="Text Placeholder 2"/>
            <p:cNvSpPr txBox="1">
              <a:spLocks/>
            </p:cNvSpPr>
            <p:nvPr>
              <p:custDataLst>
                <p:tags r:id="rId6"/>
              </p:custDataLst>
            </p:nvPr>
          </p:nvSpPr>
          <p:spPr bwMode="gray">
            <a:xfrm>
              <a:off x="3823287" y="1239463"/>
              <a:ext cx="7224274" cy="1055164"/>
            </a:xfrm>
            <a:prstGeom prst="rect">
              <a:avLst/>
            </a:prstGeom>
          </p:spPr>
          <p:txBody>
            <a:bodyPr vert="horz" lIns="91440" tIns="91440" rIns="91440" bIns="91440" rtlCol="0">
              <a:noAutofit/>
            </a:bodyPr>
            <a:lstStyle/>
            <a:p>
              <a:pPr marL="269738" lvl="2" indent="-180882">
                <a:spcBef>
                  <a:spcPts val="420"/>
                </a:spcBef>
                <a:buClr>
                  <a:srgbClr val="F0AB00"/>
                </a:buClr>
                <a:buSzPct val="100000"/>
                <a:buFont typeface="Arial Black" pitchFamily="34" charset="0"/>
                <a:buChar char="&gt;"/>
              </a:pPr>
              <a:r>
                <a:rPr lang="en-US" sz="1200" dirty="0">
                  <a:solidFill>
                    <a:srgbClr val="000000"/>
                  </a:solidFill>
                </a:rPr>
                <a:t>Networked and decentralized organized services (Fractal) </a:t>
              </a:r>
            </a:p>
            <a:p>
              <a:pPr marL="269738" lvl="2" indent="-180882">
                <a:spcBef>
                  <a:spcPts val="420"/>
                </a:spcBef>
                <a:buClr>
                  <a:srgbClr val="F0AB00"/>
                </a:buClr>
                <a:buSzPct val="100000"/>
                <a:buFont typeface="Arial Black" pitchFamily="34" charset="0"/>
                <a:buChar char="&gt;"/>
              </a:pPr>
              <a:r>
                <a:rPr lang="en-US" sz="1200" dirty="0">
                  <a:solidFill>
                    <a:srgbClr val="000000"/>
                  </a:solidFill>
                </a:rPr>
                <a:t>Cyber Physical Networks; Usages of Vision and Noise</a:t>
              </a:r>
            </a:p>
            <a:p>
              <a:pPr marL="269738" lvl="2" indent="-180882">
                <a:spcBef>
                  <a:spcPts val="420"/>
                </a:spcBef>
                <a:buClr>
                  <a:srgbClr val="F0AB00"/>
                </a:buClr>
                <a:buSzPct val="100000"/>
                <a:buFont typeface="Arial Black" pitchFamily="34" charset="0"/>
                <a:buChar char="&gt;"/>
              </a:pPr>
              <a:r>
                <a:rPr lang="en-US" sz="1200" dirty="0">
                  <a:solidFill>
                    <a:srgbClr val="000000"/>
                  </a:solidFill>
                </a:rPr>
                <a:t>Heterogynous system structure need to need harmonized</a:t>
              </a:r>
            </a:p>
            <a:p>
              <a:pPr marL="269738" lvl="2" indent="-180882">
                <a:spcBef>
                  <a:spcPts val="420"/>
                </a:spcBef>
                <a:buClr>
                  <a:srgbClr val="F0AB00"/>
                </a:buClr>
                <a:buSzPct val="100000"/>
                <a:buFont typeface="Arial Black" pitchFamily="34" charset="0"/>
                <a:buChar char="&gt;"/>
              </a:pPr>
              <a:r>
                <a:rPr lang="en-US" sz="1200" dirty="0">
                  <a:solidFill>
                    <a:srgbClr val="000000"/>
                  </a:solidFill>
                </a:rPr>
                <a:t>Plug &amp; Produce – Dynamic Processes </a:t>
              </a:r>
            </a:p>
            <a:p>
              <a:pPr marL="269738" lvl="2" indent="-180882">
                <a:spcBef>
                  <a:spcPts val="420"/>
                </a:spcBef>
                <a:buClr>
                  <a:srgbClr val="F0AB00"/>
                </a:buClr>
                <a:buSzPct val="100000"/>
                <a:buFont typeface="Arial Black" pitchFamily="34" charset="0"/>
                <a:buChar char="&gt;"/>
              </a:pPr>
              <a:endParaRPr lang="en-US" sz="1200" dirty="0">
                <a:solidFill>
                  <a:srgbClr val="000000"/>
                </a:solidFill>
              </a:endParaRPr>
            </a:p>
          </p:txBody>
        </p:sp>
      </p:grpSp>
      <p:grpSp>
        <p:nvGrpSpPr>
          <p:cNvPr id="127" name="Group 126"/>
          <p:cNvGrpSpPr/>
          <p:nvPr/>
        </p:nvGrpSpPr>
        <p:grpSpPr>
          <a:xfrm>
            <a:off x="1500" y="4381504"/>
            <a:ext cx="11100711" cy="1055164"/>
            <a:chOff x="1477" y="1239463"/>
            <a:chExt cx="11100711" cy="1055164"/>
          </a:xfrm>
        </p:grpSpPr>
        <p:sp>
          <p:nvSpPr>
            <p:cNvPr id="128" name="Rectangle 127"/>
            <p:cNvSpPr/>
            <p:nvPr/>
          </p:nvSpPr>
          <p:spPr bwMode="gray">
            <a:xfrm>
              <a:off x="1477" y="1274390"/>
              <a:ext cx="9143999" cy="102023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29" name="Rounded Rectangle 128"/>
            <p:cNvSpPr/>
            <p:nvPr>
              <p:custDataLst>
                <p:tags r:id="rId3"/>
              </p:custDataLst>
            </p:nvPr>
          </p:nvSpPr>
          <p:spPr bwMode="gray">
            <a:xfrm>
              <a:off x="327010" y="1391621"/>
              <a:ext cx="1585381" cy="747732"/>
            </a:xfrm>
            <a:prstGeom prst="roundRect">
              <a:avLst/>
            </a:prstGeom>
            <a:solidFill>
              <a:schemeClr val="accent1">
                <a:lumMod val="60000"/>
                <a:lumOff val="40000"/>
              </a:schemeClr>
            </a:solidFill>
            <a:ln w="6350" algn="ctr">
              <a:noFill/>
              <a:miter lim="800000"/>
              <a:headEnd/>
              <a:tailEnd/>
            </a:ln>
          </p:spPr>
          <p:txBody>
            <a:bodyPr lIns="36000" tIns="72000" rIns="36000" bIns="72000" rtlCol="0" anchor="ct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Vertical Integration  </a:t>
              </a:r>
            </a:p>
          </p:txBody>
        </p:sp>
        <p:sp>
          <p:nvSpPr>
            <p:cNvPr id="130" name="Oval 129"/>
            <p:cNvSpPr>
              <a:spLocks noChangeAspect="1" noChangeArrowheads="1"/>
            </p:cNvSpPr>
            <p:nvPr/>
          </p:nvSpPr>
          <p:spPr bwMode="auto">
            <a:xfrm>
              <a:off x="195131" y="1310900"/>
              <a:ext cx="317601" cy="319000"/>
            </a:xfrm>
            <a:prstGeom prst="ellipse">
              <a:avLst/>
            </a:prstGeom>
            <a:solidFill>
              <a:schemeClr val="accent1"/>
            </a:solidFill>
            <a:ln w="28575" algn="ctr">
              <a:solidFill>
                <a:schemeClr val="accent1"/>
              </a:solidFill>
              <a:round/>
              <a:headEnd/>
              <a:tailEnd/>
            </a:ln>
            <a:effectLst>
              <a:outerShdw dist="38100" dir="2700000" algn="tl" rotWithShape="0">
                <a:srgbClr val="000000">
                  <a:alpha val="39999"/>
                </a:srgbClr>
              </a:outerShdw>
            </a:effectLst>
          </p:spPr>
          <p:txBody>
            <a:bodyPr wrap="none" lIns="90000" tIns="46800" rIns="90000" bIns="46800" anchor="ctr"/>
            <a:lstStyle/>
            <a:p>
              <a:pPr marL="244349" indent="-244349" algn="ctr">
                <a:buClr>
                  <a:srgbClr val="F0AB00"/>
                </a:buClr>
                <a:buSzPct val="80000"/>
              </a:pPr>
              <a:r>
                <a:rPr lang="en-US" sz="1400" b="1" dirty="0">
                  <a:solidFill>
                    <a:srgbClr val="000000"/>
                  </a:solidFill>
                  <a:latin typeface="Arial Black" pitchFamily="34" charset="0"/>
                </a:rPr>
                <a:t>4</a:t>
              </a:r>
            </a:p>
          </p:txBody>
        </p:sp>
        <p:sp>
          <p:nvSpPr>
            <p:cNvPr id="131" name="Text Placeholder 2"/>
            <p:cNvSpPr txBox="1">
              <a:spLocks/>
            </p:cNvSpPr>
            <p:nvPr>
              <p:custDataLst>
                <p:tags r:id="rId4"/>
              </p:custDataLst>
            </p:nvPr>
          </p:nvSpPr>
          <p:spPr bwMode="gray">
            <a:xfrm>
              <a:off x="3823287" y="1239463"/>
              <a:ext cx="7278901" cy="1055164"/>
            </a:xfrm>
            <a:prstGeom prst="rect">
              <a:avLst/>
            </a:prstGeom>
          </p:spPr>
          <p:txBody>
            <a:bodyPr vert="horz" lIns="91440" tIns="91440" rIns="91440" bIns="91440" rtlCol="0">
              <a:noAutofit/>
            </a:bodyPr>
            <a:lstStyle/>
            <a:p>
              <a:pPr marL="269738" lvl="2" indent="-180882">
                <a:spcBef>
                  <a:spcPts val="420"/>
                </a:spcBef>
                <a:buClr>
                  <a:srgbClr val="F0AB00"/>
                </a:buClr>
                <a:buSzPct val="100000"/>
                <a:buFont typeface="Arial Black" pitchFamily="34" charset="0"/>
                <a:buChar char="&gt;"/>
              </a:pPr>
              <a:r>
                <a:rPr lang="en-US" sz="1200" dirty="0">
                  <a:solidFill>
                    <a:srgbClr val="000000"/>
                  </a:solidFill>
                </a:rPr>
                <a:t>Automation of business processes</a:t>
              </a:r>
            </a:p>
            <a:p>
              <a:pPr marL="269738" lvl="2" indent="-180882">
                <a:spcBef>
                  <a:spcPts val="420"/>
                </a:spcBef>
                <a:buClr>
                  <a:srgbClr val="F0AB00"/>
                </a:buClr>
                <a:buSzPct val="100000"/>
                <a:buFont typeface="Arial Black" pitchFamily="34" charset="0"/>
                <a:buChar char="&gt;"/>
              </a:pPr>
              <a:r>
                <a:rPr lang="en-US" sz="1200" dirty="0">
                  <a:solidFill>
                    <a:srgbClr val="000000"/>
                  </a:solidFill>
                </a:rPr>
                <a:t>Creation and processing of data on all levels of details </a:t>
              </a:r>
            </a:p>
            <a:p>
              <a:pPr marL="269738" lvl="2" indent="-180882">
                <a:spcBef>
                  <a:spcPts val="420"/>
                </a:spcBef>
                <a:buClr>
                  <a:srgbClr val="F0AB00"/>
                </a:buClr>
                <a:buSzPct val="100000"/>
                <a:buFont typeface="Arial Black" pitchFamily="34" charset="0"/>
                <a:buChar char="&gt;"/>
              </a:pPr>
              <a:r>
                <a:rPr lang="en-US" sz="1200" dirty="0">
                  <a:solidFill>
                    <a:srgbClr val="000000"/>
                  </a:solidFill>
                </a:rPr>
                <a:t>Assembly &amp; Sub Assembly are self-controlled and part of the </a:t>
              </a:r>
              <a:r>
                <a:rPr lang="en-US" sz="1200" dirty="0" err="1">
                  <a:solidFill>
                    <a:srgbClr val="000000"/>
                  </a:solidFill>
                </a:rPr>
                <a:t>autom</a:t>
              </a:r>
              <a:r>
                <a:rPr lang="en-US" sz="1200" dirty="0">
                  <a:solidFill>
                    <a:srgbClr val="000000"/>
                  </a:solidFill>
                </a:rPr>
                <a:t>.   </a:t>
              </a:r>
            </a:p>
            <a:p>
              <a:pPr marL="269738" lvl="2" indent="-180882">
                <a:spcBef>
                  <a:spcPts val="420"/>
                </a:spcBef>
                <a:buClr>
                  <a:srgbClr val="F0AB00"/>
                </a:buClr>
                <a:buSzPct val="100000"/>
                <a:buFont typeface="Arial Black" pitchFamily="34" charset="0"/>
                <a:buChar char="&gt;"/>
              </a:pPr>
              <a:r>
                <a:rPr lang="en-US" sz="1200" dirty="0">
                  <a:solidFill>
                    <a:srgbClr val="000000"/>
                  </a:solidFill>
                </a:rPr>
                <a:t>People Safety needs to be reached on the highest level possible </a:t>
              </a:r>
            </a:p>
          </p:txBody>
        </p:sp>
      </p:grpSp>
      <p:grpSp>
        <p:nvGrpSpPr>
          <p:cNvPr id="133" name="Group 132"/>
          <p:cNvGrpSpPr/>
          <p:nvPr/>
        </p:nvGrpSpPr>
        <p:grpSpPr>
          <a:xfrm>
            <a:off x="1500" y="5437149"/>
            <a:ext cx="9143999" cy="1055164"/>
            <a:chOff x="1477" y="1239463"/>
            <a:chExt cx="9143999" cy="1055164"/>
          </a:xfrm>
        </p:grpSpPr>
        <p:sp>
          <p:nvSpPr>
            <p:cNvPr id="134" name="Rectangle 133"/>
            <p:cNvSpPr/>
            <p:nvPr/>
          </p:nvSpPr>
          <p:spPr bwMode="gray">
            <a:xfrm>
              <a:off x="1477" y="1274390"/>
              <a:ext cx="9143999" cy="1020236"/>
            </a:xfrm>
            <a:prstGeom prst="rect">
              <a:avLst/>
            </a:prstGeom>
            <a:solidFill>
              <a:schemeClr val="bg1">
                <a:lumMod val="9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35" name="Rounded Rectangle 134"/>
            <p:cNvSpPr/>
            <p:nvPr>
              <p:custDataLst>
                <p:tags r:id="rId1"/>
              </p:custDataLst>
            </p:nvPr>
          </p:nvSpPr>
          <p:spPr bwMode="gray">
            <a:xfrm>
              <a:off x="327010" y="1391621"/>
              <a:ext cx="1585381" cy="747732"/>
            </a:xfrm>
            <a:prstGeom prst="roundRect">
              <a:avLst/>
            </a:prstGeom>
            <a:solidFill>
              <a:schemeClr val="accent1">
                <a:lumMod val="60000"/>
                <a:lumOff val="40000"/>
              </a:schemeClr>
            </a:solidFill>
            <a:ln w="6350" algn="ctr">
              <a:noFill/>
              <a:miter lim="800000"/>
              <a:headEnd/>
              <a:tailEnd/>
            </a:ln>
          </p:spPr>
          <p:txBody>
            <a:bodyPr lIns="36000" tIns="72000" rIns="36000" bIns="72000" rtlCol="0" anchor="ct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Machine Life Cycle </a:t>
              </a:r>
            </a:p>
          </p:txBody>
        </p:sp>
        <p:sp>
          <p:nvSpPr>
            <p:cNvPr id="136" name="Oval 135"/>
            <p:cNvSpPr>
              <a:spLocks noChangeAspect="1" noChangeArrowheads="1"/>
            </p:cNvSpPr>
            <p:nvPr/>
          </p:nvSpPr>
          <p:spPr bwMode="auto">
            <a:xfrm>
              <a:off x="195131" y="1310900"/>
              <a:ext cx="317601" cy="319000"/>
            </a:xfrm>
            <a:prstGeom prst="ellipse">
              <a:avLst/>
            </a:prstGeom>
            <a:solidFill>
              <a:schemeClr val="accent1"/>
            </a:solidFill>
            <a:ln w="28575" algn="ctr">
              <a:solidFill>
                <a:schemeClr val="accent1"/>
              </a:solidFill>
              <a:round/>
              <a:headEnd/>
              <a:tailEnd/>
            </a:ln>
            <a:effectLst>
              <a:outerShdw dist="38100" dir="2700000" algn="tl" rotWithShape="0">
                <a:srgbClr val="000000">
                  <a:alpha val="39999"/>
                </a:srgbClr>
              </a:outerShdw>
            </a:effectLst>
          </p:spPr>
          <p:txBody>
            <a:bodyPr wrap="none" lIns="90000" tIns="46800" rIns="90000" bIns="46800" anchor="ctr"/>
            <a:lstStyle/>
            <a:p>
              <a:pPr marL="244349" indent="-244349" algn="ctr">
                <a:buClr>
                  <a:srgbClr val="F0AB00"/>
                </a:buClr>
                <a:buSzPct val="80000"/>
              </a:pPr>
              <a:r>
                <a:rPr lang="en-US" sz="1400" b="1" dirty="0">
                  <a:solidFill>
                    <a:srgbClr val="000000"/>
                  </a:solidFill>
                  <a:latin typeface="Arial Black" pitchFamily="34" charset="0"/>
                </a:rPr>
                <a:t>5</a:t>
              </a:r>
            </a:p>
          </p:txBody>
        </p:sp>
        <p:sp>
          <p:nvSpPr>
            <p:cNvPr id="137" name="Text Placeholder 2"/>
            <p:cNvSpPr txBox="1">
              <a:spLocks/>
            </p:cNvSpPr>
            <p:nvPr>
              <p:custDataLst>
                <p:tags r:id="rId2"/>
              </p:custDataLst>
            </p:nvPr>
          </p:nvSpPr>
          <p:spPr bwMode="gray">
            <a:xfrm>
              <a:off x="3840540" y="1239463"/>
              <a:ext cx="5251692" cy="1055164"/>
            </a:xfrm>
            <a:prstGeom prst="rect">
              <a:avLst/>
            </a:prstGeom>
          </p:spPr>
          <p:txBody>
            <a:bodyPr vert="horz" lIns="91440" tIns="91440" rIns="91440" bIns="91440" rtlCol="0">
              <a:noAutofit/>
            </a:bodyPr>
            <a:lstStyle/>
            <a:p>
              <a:pPr marL="269738" lvl="2" indent="-180882">
                <a:spcBef>
                  <a:spcPts val="420"/>
                </a:spcBef>
                <a:buClr>
                  <a:srgbClr val="F0AB00"/>
                </a:buClr>
                <a:buSzPct val="100000"/>
                <a:buFont typeface="Arial Black" pitchFamily="34" charset="0"/>
                <a:buChar char="&gt;"/>
              </a:pPr>
              <a:r>
                <a:rPr lang="en-US" sz="1200" dirty="0">
                  <a:solidFill>
                    <a:srgbClr val="000000"/>
                  </a:solidFill>
                </a:rPr>
                <a:t>Alignment of the different life cycle of Software, Mechanics, </a:t>
              </a:r>
              <a:r>
                <a:rPr lang="en-US" sz="1200" dirty="0" err="1">
                  <a:solidFill>
                    <a:srgbClr val="000000"/>
                  </a:solidFill>
                </a:rPr>
                <a:t>Automatisation</a:t>
              </a:r>
              <a:r>
                <a:rPr lang="en-US" sz="1200" dirty="0">
                  <a:solidFill>
                    <a:srgbClr val="000000"/>
                  </a:solidFill>
                </a:rPr>
                <a:t> and the respective area for usage in production, energy, process areas need to be aligned over a longer period of time</a:t>
              </a:r>
              <a:r>
                <a:rPr lang="en-US" sz="1200" dirty="0" smtClean="0">
                  <a:solidFill>
                    <a:srgbClr val="000000"/>
                  </a:solidFill>
                </a:rPr>
                <a:t>.</a:t>
              </a:r>
            </a:p>
            <a:p>
              <a:pPr marL="269738" lvl="2" indent="-180882">
                <a:spcBef>
                  <a:spcPts val="420"/>
                </a:spcBef>
                <a:buClr>
                  <a:srgbClr val="F0AB00"/>
                </a:buClr>
                <a:buSzPct val="100000"/>
                <a:buFont typeface="Arial Black" pitchFamily="34" charset="0"/>
                <a:buChar char="&gt;"/>
              </a:pPr>
              <a:r>
                <a:rPr lang="en-US" sz="1200" dirty="0" smtClean="0">
                  <a:solidFill>
                    <a:srgbClr val="000000"/>
                  </a:solidFill>
                </a:rPr>
                <a:t>Incentive &amp; Registration Models to stay connected  </a:t>
              </a:r>
              <a:endParaRPr lang="en-US" sz="1200" dirty="0">
                <a:solidFill>
                  <a:srgbClr val="000000"/>
                </a:solidFill>
              </a:endParaRPr>
            </a:p>
          </p:txBody>
        </p:sp>
      </p:grpSp>
      <p:pic>
        <p:nvPicPr>
          <p:cNvPr id="31" name="Picture 3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70197" y="1405313"/>
            <a:ext cx="1006248" cy="752751"/>
          </a:xfrm>
          <a:prstGeom prst="rect">
            <a:avLst/>
          </a:prstGeom>
          <a:ln>
            <a:noFill/>
          </a:ln>
        </p:spPr>
      </p:pic>
      <p:pic>
        <p:nvPicPr>
          <p:cNvPr id="32" name="Picture 3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473484" y="3474780"/>
            <a:ext cx="1002960" cy="786390"/>
          </a:xfrm>
          <a:prstGeom prst="rect">
            <a:avLst/>
          </a:prstGeom>
        </p:spPr>
      </p:pic>
      <p:pic>
        <p:nvPicPr>
          <p:cNvPr id="33" name="Picture 3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438579" y="2427558"/>
            <a:ext cx="1037867" cy="792963"/>
          </a:xfrm>
          <a:prstGeom prst="rect">
            <a:avLst/>
          </a:prstGeom>
          <a:solidFill>
            <a:srgbClr val="0066CC"/>
          </a:solidFill>
          <a:ln>
            <a:noFill/>
          </a:ln>
        </p:spPr>
      </p:pic>
      <p:pic>
        <p:nvPicPr>
          <p:cNvPr id="34" name="Picture 3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526408" y="4473280"/>
            <a:ext cx="950036" cy="880772"/>
          </a:xfrm>
          <a:prstGeom prst="rect">
            <a:avLst/>
          </a:prstGeom>
        </p:spPr>
      </p:pic>
      <p:sp>
        <p:nvSpPr>
          <p:cNvPr id="35" name="TextBox 34"/>
          <p:cNvSpPr txBox="1"/>
          <p:nvPr/>
        </p:nvSpPr>
        <p:spPr>
          <a:xfrm>
            <a:off x="2438577" y="5736540"/>
            <a:ext cx="1309285" cy="338522"/>
          </a:xfrm>
          <a:prstGeom prst="rect">
            <a:avLst/>
          </a:prstGeom>
          <a:noFill/>
        </p:spPr>
        <p:txBody>
          <a:bodyPr wrap="square" lIns="91410" tIns="45704" rIns="91410" bIns="45704" rtlCol="0">
            <a:spAutoFit/>
          </a:bodyPr>
          <a:lstStyle/>
          <a:p>
            <a:pPr defTabSz="914091" fontAlgn="base">
              <a:spcBef>
                <a:spcPct val="50000"/>
              </a:spcBef>
              <a:spcAft>
                <a:spcPct val="0"/>
              </a:spcAft>
              <a:buClr>
                <a:srgbClr val="F0AB00"/>
              </a:buClr>
              <a:buSzPct val="80000"/>
            </a:pPr>
            <a:r>
              <a:rPr sz="1600" kern="0" dirty="0">
                <a:solidFill>
                  <a:srgbClr val="000000"/>
                </a:solidFill>
                <a:ea typeface="Arial Unicode MS" pitchFamily="34" charset="-128"/>
                <a:cs typeface="Arial Unicode MS" pitchFamily="34" charset="-128"/>
              </a:rPr>
              <a:t>+ 20 </a:t>
            </a:r>
            <a:r>
              <a:rPr sz="1600" kern="0" dirty="0" err="1">
                <a:solidFill>
                  <a:srgbClr val="000000"/>
                </a:solidFill>
                <a:ea typeface="Arial Unicode MS" pitchFamily="34" charset="-128"/>
                <a:cs typeface="Arial Unicode MS" pitchFamily="34" charset="-128"/>
              </a:rPr>
              <a:t>years</a:t>
            </a:r>
            <a:endParaRPr sz="1600" kern="0" dirty="0">
              <a:solidFill>
                <a:srgbClr val="000000"/>
              </a:solidFill>
              <a:ea typeface="Arial Unicode MS" pitchFamily="34" charset="-128"/>
              <a:cs typeface="Arial Unicode MS" pitchFamily="34" charset="-128"/>
            </a:endParaRPr>
          </a:p>
        </p:txBody>
      </p:sp>
    </p:spTree>
    <p:extLst>
      <p:ext uri="{BB962C8B-B14F-4D97-AF65-F5344CB8AC3E}">
        <p14:creationId xmlns:p14="http://schemas.microsoft.com/office/powerpoint/2010/main" val="39185510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1"/>
                </a:solidFill>
              </a:rPr>
              <a:t>The Machinery Cloud Emerges: Emerging Applications</a:t>
            </a:r>
            <a:br>
              <a:rPr lang="en-US" dirty="0" smtClean="0">
                <a:solidFill>
                  <a:schemeClr val="tx1"/>
                </a:solidFill>
              </a:rPr>
            </a:br>
            <a:r>
              <a:rPr lang="en-US" sz="1700" dirty="0">
                <a:solidFill>
                  <a:schemeClr val="tx1"/>
                </a:solidFill>
              </a:rPr>
              <a:t>Some Examples</a:t>
            </a:r>
          </a:p>
        </p:txBody>
      </p:sp>
      <p:sp>
        <p:nvSpPr>
          <p:cNvPr id="258" name="Striped Right Arrow 257"/>
          <p:cNvSpPr/>
          <p:nvPr/>
        </p:nvSpPr>
        <p:spPr bwMode="gray">
          <a:xfrm rot="16200000">
            <a:off x="2948623" y="3052716"/>
            <a:ext cx="367468" cy="262145"/>
          </a:xfrm>
          <a:prstGeom prst="stripedRightArrow">
            <a:avLst/>
          </a:prstGeom>
          <a:solidFill>
            <a:schemeClr val="accent1"/>
          </a:solidFill>
          <a:ln w="6350" algn="ctr">
            <a:noFill/>
            <a:miter lim="800000"/>
            <a:headEnd/>
            <a:tailEnd/>
          </a:ln>
        </p:spPr>
        <p:txBody>
          <a:bodyPr lIns="75469" tIns="60374" rIns="75469" bIns="60374" rtlCol="0" anchor="ctr"/>
          <a:lstStyle/>
          <a:p>
            <a:pPr algn="ctr" defTabSz="766782" fontAlgn="base">
              <a:spcBef>
                <a:spcPct val="50000"/>
              </a:spcBef>
              <a:spcAft>
                <a:spcPct val="0"/>
              </a:spcAft>
              <a:buClr>
                <a:srgbClr val="F0AB00"/>
              </a:buClr>
              <a:buSzPct val="80000"/>
            </a:pPr>
            <a:endParaRPr lang="en-US" sz="1700" kern="0" dirty="0" err="1">
              <a:solidFill>
                <a:srgbClr val="000000"/>
              </a:solidFill>
              <a:ea typeface="Arial Unicode MS" pitchFamily="34" charset="-128"/>
              <a:cs typeface="Arial Unicode MS" pitchFamily="34" charset="-128"/>
            </a:endParaRPr>
          </a:p>
        </p:txBody>
      </p:sp>
      <p:sp>
        <p:nvSpPr>
          <p:cNvPr id="261" name="Striped Right Arrow 260"/>
          <p:cNvSpPr/>
          <p:nvPr/>
        </p:nvSpPr>
        <p:spPr bwMode="gray">
          <a:xfrm rot="16200000">
            <a:off x="5630106" y="3052716"/>
            <a:ext cx="367468" cy="262145"/>
          </a:xfrm>
          <a:prstGeom prst="stripedRightArrow">
            <a:avLst/>
          </a:prstGeom>
          <a:solidFill>
            <a:schemeClr val="accent1"/>
          </a:solidFill>
          <a:ln w="6350" algn="ctr">
            <a:noFill/>
            <a:miter lim="800000"/>
            <a:headEnd/>
            <a:tailEnd/>
          </a:ln>
        </p:spPr>
        <p:txBody>
          <a:bodyPr lIns="75469" tIns="60374" rIns="75469" bIns="60374" rtlCol="0" anchor="ctr"/>
          <a:lstStyle/>
          <a:p>
            <a:pPr algn="ctr" defTabSz="766782" fontAlgn="base">
              <a:spcBef>
                <a:spcPct val="50000"/>
              </a:spcBef>
              <a:spcAft>
                <a:spcPct val="0"/>
              </a:spcAft>
              <a:buClr>
                <a:srgbClr val="F0AB00"/>
              </a:buClr>
              <a:buSzPct val="80000"/>
            </a:pPr>
            <a:endParaRPr lang="en-US" sz="1700" kern="0" dirty="0" err="1">
              <a:solidFill>
                <a:srgbClr val="000000"/>
              </a:solidFill>
              <a:ea typeface="Arial Unicode MS" pitchFamily="34" charset="-128"/>
              <a:cs typeface="Arial Unicode MS" pitchFamily="34" charset="-128"/>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8690" y="3392448"/>
            <a:ext cx="4974774" cy="2872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4169" y="1573715"/>
            <a:ext cx="1654839" cy="1417735"/>
          </a:xfrm>
          <a:prstGeom prst="rect">
            <a:avLst/>
          </a:prstGeom>
          <a:effectLst>
            <a:outerShdw blurRad="50800" dist="38100" dir="2700000" algn="tl" rotWithShape="0">
              <a:prstClr val="black">
                <a:alpha val="40000"/>
              </a:prstClr>
            </a:outerShdw>
          </a:effectLst>
        </p:spPr>
      </p:pic>
      <p:pic>
        <p:nvPicPr>
          <p:cNvPr id="12" name="Picture 11" descr="EERM_0107_0008_9_KPI Dashboard Heatmap.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7081" y="1573715"/>
            <a:ext cx="1404506" cy="1406821"/>
          </a:xfrm>
          <a:prstGeom prst="rect">
            <a:avLst/>
          </a:prstGeom>
          <a:effectLst>
            <a:outerShdw blurRad="50800" dist="38100" dir="2700000" algn="tl" rotWithShape="0">
              <a:prstClr val="black">
                <a:alpha val="40000"/>
              </a:prstClr>
            </a:outerShdw>
          </a:effectLst>
        </p:spPr>
      </p:pic>
      <p:pic>
        <p:nvPicPr>
          <p:cNvPr id="13" name="Picture 12" descr="ScreenShot663"/>
          <p:cNvPicPr>
            <a:picLocks noGrp="1" noChangeAspect="1"/>
          </p:cNvPicPr>
          <p:nvPr isPhoto="1"/>
        </p:nvPicPr>
        <p:blipFill>
          <a:blip r:embed="rId6" cstate="print">
            <a:lum/>
            <a:extLst>
              <a:ext uri="{28A0092B-C50C-407E-A947-70E740481C1C}">
                <a14:useLocalDpi xmlns:a14="http://schemas.microsoft.com/office/drawing/2010/main" val="0"/>
              </a:ext>
            </a:extLst>
          </a:blip>
          <a:stretch>
            <a:fillRect/>
          </a:stretch>
        </p:blipFill>
        <p:spPr>
          <a:xfrm>
            <a:off x="135232" y="1573707"/>
            <a:ext cx="1453714" cy="1453756"/>
          </a:xfrm>
          <a:prstGeom prst="rect">
            <a:avLst/>
          </a:prstGeom>
          <a:noFill/>
          <a:ln>
            <a:noFill/>
          </a:ln>
          <a:effectLst>
            <a:outerShdw blurRad="50800" dist="38100" dir="2700000" algn="tl" rotWithShape="0">
              <a:prstClr val="black">
                <a:alpha val="40000"/>
              </a:prstClr>
            </a:outerShdw>
          </a:effectLst>
        </p:spPr>
      </p:pic>
      <p:sp>
        <p:nvSpPr>
          <p:cNvPr id="14" name="Title 1"/>
          <p:cNvSpPr txBox="1">
            <a:spLocks/>
          </p:cNvSpPr>
          <p:nvPr/>
        </p:nvSpPr>
        <p:spPr bwMode="gray">
          <a:xfrm>
            <a:off x="135232" y="1301141"/>
            <a:ext cx="1453714" cy="150668"/>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sz="1200" dirty="0">
                <a:solidFill>
                  <a:srgbClr val="000000"/>
                </a:solidFill>
              </a:rPr>
              <a:t>Service Tickets</a:t>
            </a:r>
          </a:p>
        </p:txBody>
      </p:sp>
      <p:sp>
        <p:nvSpPr>
          <p:cNvPr id="15" name="Title 1"/>
          <p:cNvSpPr txBox="1">
            <a:spLocks/>
          </p:cNvSpPr>
          <p:nvPr/>
        </p:nvSpPr>
        <p:spPr bwMode="gray">
          <a:xfrm>
            <a:off x="1797715" y="1326771"/>
            <a:ext cx="1453714" cy="150668"/>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sz="1200" dirty="0" smtClean="0">
                <a:solidFill>
                  <a:srgbClr val="000000"/>
                </a:solidFill>
              </a:rPr>
              <a:t>Machine Heat Map</a:t>
            </a:r>
            <a:endParaRPr lang="en-US" sz="1200" dirty="0">
              <a:solidFill>
                <a:srgbClr val="000000"/>
              </a:solidFill>
            </a:endParaRPr>
          </a:p>
        </p:txBody>
      </p:sp>
      <p:sp>
        <p:nvSpPr>
          <p:cNvPr id="17" name="Title 1"/>
          <p:cNvSpPr txBox="1">
            <a:spLocks/>
          </p:cNvSpPr>
          <p:nvPr/>
        </p:nvSpPr>
        <p:spPr bwMode="gray">
          <a:xfrm>
            <a:off x="7104724" y="1324093"/>
            <a:ext cx="1453714" cy="150668"/>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sz="1200" dirty="0">
                <a:solidFill>
                  <a:srgbClr val="000000"/>
                </a:solidFill>
              </a:rPr>
              <a:t>Customer Dashboard</a:t>
            </a:r>
          </a:p>
        </p:txBody>
      </p:sp>
      <p:pic>
        <p:nvPicPr>
          <p:cNvPr id="2051"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94859" y="1453486"/>
            <a:ext cx="2285405" cy="1546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bwMode="gray">
          <a:xfrm>
            <a:off x="4877715" y="1301141"/>
            <a:ext cx="702557" cy="1726322"/>
          </a:xfrm>
          <a:prstGeom prst="rect">
            <a:avLst/>
          </a:prstGeom>
          <a:solidFill>
            <a:schemeClr val="bg1"/>
          </a:solidFill>
          <a:ln w="6350" algn="ctr">
            <a:noFill/>
            <a:miter lim="800000"/>
            <a:headEnd/>
            <a:tailEnd/>
          </a:ln>
        </p:spPr>
        <p:txBody>
          <a:bodyPr lIns="75469" tIns="60374" rIns="75469" bIns="60374" spcCol="0" rtlCol="0" anchor="ctr"/>
          <a:lstStyle/>
          <a:p>
            <a:pPr algn="ctr" defTabSz="766782" fontAlgn="base">
              <a:spcBef>
                <a:spcPct val="50000"/>
              </a:spcBef>
              <a:spcAft>
                <a:spcPct val="0"/>
              </a:spcAft>
              <a:buClr>
                <a:srgbClr val="F0AB00"/>
              </a:buClr>
              <a:buSzPct val="80000"/>
            </a:pPr>
            <a:endParaRPr lang="en-US" sz="1700" kern="0" dirty="0" err="1">
              <a:solidFill>
                <a:srgbClr val="000000"/>
              </a:solidFill>
              <a:ea typeface="Arial Unicode MS" pitchFamily="34" charset="-128"/>
              <a:cs typeface="Arial Unicode MS" pitchFamily="34" charset="-128"/>
            </a:endParaRPr>
          </a:p>
        </p:txBody>
      </p:sp>
      <p:pic>
        <p:nvPicPr>
          <p:cNvPr id="8194"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28854" y="1456889"/>
            <a:ext cx="1969972" cy="152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
          <p:cNvSpPr txBox="1">
            <a:spLocks/>
          </p:cNvSpPr>
          <p:nvPr/>
        </p:nvSpPr>
        <p:spPr bwMode="gray">
          <a:xfrm>
            <a:off x="4081923" y="1301140"/>
            <a:ext cx="1453714" cy="150668"/>
          </a:xfrm>
          <a:prstGeom prst="rect">
            <a:avLst/>
          </a:prstGeom>
        </p:spPr>
        <p:txBody>
          <a:bodyPr vert="horz" lIns="0" tIns="0" rIns="0" bIns="0" rtlCol="0" anchor="ctr" anchorCtr="0">
            <a:noAutofit/>
          </a:bodyPr>
          <a:lstStyle>
            <a:lvl1pPr algn="l" defTabSz="1088776" rtl="0" eaLnBrk="1" latinLnBrk="0" hangingPunct="1">
              <a:spcBef>
                <a:spcPct val="0"/>
              </a:spcBef>
              <a:buNone/>
              <a:defRPr sz="2800" b="1" kern="1200">
                <a:solidFill>
                  <a:schemeClr val="accent2"/>
                </a:solidFill>
                <a:latin typeface="+mj-lt"/>
                <a:ea typeface="+mj-ea"/>
                <a:cs typeface="+mj-cs"/>
              </a:defRPr>
            </a:lvl1pPr>
          </a:lstStyle>
          <a:p>
            <a:r>
              <a:rPr lang="en-US" sz="1200" dirty="0">
                <a:solidFill>
                  <a:srgbClr val="000000"/>
                </a:solidFill>
              </a:rPr>
              <a:t>Predictive Analytics </a:t>
            </a:r>
          </a:p>
        </p:txBody>
      </p:sp>
    </p:spTree>
    <p:extLst>
      <p:ext uri="{BB962C8B-B14F-4D97-AF65-F5344CB8AC3E}">
        <p14:creationId xmlns:p14="http://schemas.microsoft.com/office/powerpoint/2010/main" val="651632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 name="Abgerundetes Rechteck 137"/>
          <p:cNvSpPr/>
          <p:nvPr/>
        </p:nvSpPr>
        <p:spPr bwMode="gray">
          <a:xfrm>
            <a:off x="848457" y="1744360"/>
            <a:ext cx="7413282" cy="4685015"/>
          </a:xfrm>
          <a:prstGeom prst="roundRect">
            <a:avLst>
              <a:gd name="adj" fmla="val 0"/>
            </a:avLst>
          </a:prstGeom>
          <a:solidFill>
            <a:schemeClr val="bg1">
              <a:lumMod val="95000"/>
            </a:schemeClr>
          </a:solidFill>
          <a:ln w="9525" algn="ctr">
            <a:noFill/>
            <a:miter lim="800000"/>
            <a:headEnd/>
            <a:tailEnd/>
          </a:ln>
          <a:effectLst/>
        </p:spPr>
        <p:txBody>
          <a:bodyPr lIns="63397" tIns="50714" rIns="63397" bIns="50714" anchor="ctr"/>
          <a:lstStyle/>
          <a:p>
            <a:pPr marL="129712" indent="-129712" algn="ctr" defTabSz="913627">
              <a:spcBef>
                <a:spcPct val="50000"/>
              </a:spcBef>
              <a:buClr>
                <a:srgbClr val="F0AB00"/>
              </a:buClr>
              <a:buSzPct val="80000"/>
              <a:defRPr/>
            </a:pPr>
            <a:endParaRPr lang="en-US" sz="1000" kern="0" dirty="0">
              <a:solidFill>
                <a:sysClr val="windowText" lastClr="000000"/>
              </a:solidFill>
              <a:latin typeface="Arial Black"/>
              <a:ea typeface="Arial Unicode MS" pitchFamily="34" charset="-128"/>
              <a:cs typeface="Arial Unicode MS" pitchFamily="34" charset="-128"/>
            </a:endParaRPr>
          </a:p>
        </p:txBody>
      </p:sp>
      <p:sp>
        <p:nvSpPr>
          <p:cNvPr id="802" name="Parallelogramm 11"/>
          <p:cNvSpPr>
            <a:spLocks noChangeArrowheads="1"/>
          </p:cNvSpPr>
          <p:nvPr/>
        </p:nvSpPr>
        <p:spPr bwMode="gray">
          <a:xfrm>
            <a:off x="2015115" y="2006621"/>
            <a:ext cx="5502000" cy="887418"/>
          </a:xfrm>
          <a:prstGeom prst="parallelogram">
            <a:avLst>
              <a:gd name="adj" fmla="val 0"/>
            </a:avLst>
          </a:prstGeom>
          <a:solidFill>
            <a:schemeClr val="accent2">
              <a:lumMod val="40000"/>
              <a:lumOff val="60000"/>
            </a:schemeClr>
          </a:solidFill>
          <a:ln w="6350" algn="ctr">
            <a:noFill/>
            <a:miter lim="800000"/>
            <a:headEnd/>
            <a:tailEnd/>
          </a:ln>
        </p:spPr>
        <p:txBody>
          <a:bodyPr lIns="50714" tIns="25356" rIns="50714" bIns="25356" rtlCol="0" anchor="ctr"/>
          <a:lstStyle/>
          <a:p>
            <a:pPr defTabSz="913627" fontAlgn="base">
              <a:spcBef>
                <a:spcPct val="50000"/>
              </a:spcBef>
              <a:spcAft>
                <a:spcPct val="0"/>
              </a:spcAft>
              <a:buClr>
                <a:srgbClr val="F0AB00"/>
              </a:buClr>
              <a:buSzPct val="80000"/>
            </a:pPr>
            <a:endParaRPr lang="en-US" sz="1200" dirty="0">
              <a:solidFill>
                <a:srgbClr val="FFFFFF"/>
              </a:solidFill>
            </a:endParaRPr>
          </a:p>
        </p:txBody>
      </p:sp>
      <p:sp>
        <p:nvSpPr>
          <p:cNvPr id="803" name="Titel 1"/>
          <p:cNvSpPr>
            <a:spLocks noGrp="1"/>
          </p:cNvSpPr>
          <p:nvPr>
            <p:ph type="title"/>
          </p:nvPr>
        </p:nvSpPr>
        <p:spPr/>
        <p:txBody>
          <a:bodyPr/>
          <a:lstStyle/>
          <a:p>
            <a:r>
              <a:rPr lang="en-US" dirty="0" smtClean="0"/>
              <a:t>Industry 4.0: Idea </a:t>
            </a:r>
            <a:r>
              <a:rPr lang="en-US" dirty="0" smtClean="0"/>
              <a:t>to Performance </a:t>
            </a:r>
            <a:br>
              <a:rPr lang="en-US" dirty="0" smtClean="0"/>
            </a:br>
            <a:r>
              <a:rPr lang="en-US" sz="1500" dirty="0" smtClean="0"/>
              <a:t>Integrated </a:t>
            </a:r>
            <a:r>
              <a:rPr lang="en-US" sz="1500" dirty="0"/>
              <a:t>Business Solutions to Accelerate Idea to Product and Service Performance </a:t>
            </a:r>
          </a:p>
        </p:txBody>
      </p:sp>
      <p:grpSp>
        <p:nvGrpSpPr>
          <p:cNvPr id="2" name="Group 200"/>
          <p:cNvGrpSpPr/>
          <p:nvPr/>
        </p:nvGrpSpPr>
        <p:grpSpPr>
          <a:xfrm>
            <a:off x="2236971" y="1194290"/>
            <a:ext cx="4973351" cy="684000"/>
            <a:chOff x="-214525" y="1312164"/>
            <a:chExt cx="13022637" cy="684000"/>
          </a:xfrm>
          <a:noFill/>
        </p:grpSpPr>
        <p:sp>
          <p:nvSpPr>
            <p:cNvPr id="805" name="Rounded Rectangle 804"/>
            <p:cNvSpPr/>
            <p:nvPr/>
          </p:nvSpPr>
          <p:spPr bwMode="gray">
            <a:xfrm>
              <a:off x="10887613" y="1312164"/>
              <a:ext cx="1920499" cy="684000"/>
            </a:xfrm>
            <a:prstGeom prst="roundRect">
              <a:avLst/>
            </a:prstGeom>
            <a:grpFill/>
            <a:ln w="6350" algn="ctr">
              <a:noFill/>
              <a:miter lim="800000"/>
              <a:headEnd/>
              <a:tailEnd/>
            </a:ln>
          </p:spPr>
          <p:txBody>
            <a:bodyPr lIns="72000" tIns="36000" rIns="72000" bIns="36000" rtlCol="0" anchor="ctr"/>
            <a:lstStyle/>
            <a:p>
              <a:pPr algn="ctr" defTabSz="913627" fontAlgn="base">
                <a:spcBef>
                  <a:spcPct val="50000"/>
                </a:spcBef>
                <a:spcAft>
                  <a:spcPct val="0"/>
                </a:spcAft>
                <a:buClr>
                  <a:srgbClr val="F0AB00"/>
                </a:buClr>
                <a:buSzPct val="80000"/>
              </a:pPr>
              <a:r>
                <a:rPr lang="en-US" sz="1200" b="1" dirty="0">
                  <a:solidFill>
                    <a:srgbClr val="CCCCCC">
                      <a:lumMod val="50000"/>
                    </a:srgbClr>
                  </a:solidFill>
                </a:rPr>
                <a:t>service</a:t>
              </a:r>
            </a:p>
          </p:txBody>
        </p:sp>
        <p:sp>
          <p:nvSpPr>
            <p:cNvPr id="806" name="Rounded Rectangle 805"/>
            <p:cNvSpPr/>
            <p:nvPr/>
          </p:nvSpPr>
          <p:spPr bwMode="gray">
            <a:xfrm>
              <a:off x="7913192" y="1312164"/>
              <a:ext cx="2196271" cy="684000"/>
            </a:xfrm>
            <a:prstGeom prst="roundRect">
              <a:avLst/>
            </a:prstGeom>
            <a:grpFill/>
            <a:ln w="6350" algn="ctr">
              <a:noFill/>
              <a:miter lim="800000"/>
              <a:headEnd/>
              <a:tailEnd/>
            </a:ln>
          </p:spPr>
          <p:txBody>
            <a:bodyPr lIns="72000" tIns="36000" rIns="72000" bIns="36000" rtlCol="0" anchor="ctr"/>
            <a:lstStyle/>
            <a:p>
              <a:pPr algn="ctr" defTabSz="913627" fontAlgn="base">
                <a:spcBef>
                  <a:spcPct val="50000"/>
                </a:spcBef>
                <a:spcAft>
                  <a:spcPct val="0"/>
                </a:spcAft>
                <a:buClr>
                  <a:srgbClr val="F0AB00"/>
                </a:buClr>
                <a:buSzPct val="80000"/>
              </a:pPr>
              <a:r>
                <a:rPr lang="en-US" sz="1200" b="1" dirty="0">
                  <a:solidFill>
                    <a:srgbClr val="CCCCCC">
                      <a:lumMod val="50000"/>
                    </a:srgbClr>
                  </a:solidFill>
                </a:rPr>
                <a:t>make</a:t>
              </a:r>
            </a:p>
          </p:txBody>
        </p:sp>
        <p:sp>
          <p:nvSpPr>
            <p:cNvPr id="807" name="Rounded Rectangle 806"/>
            <p:cNvSpPr/>
            <p:nvPr/>
          </p:nvSpPr>
          <p:spPr bwMode="gray">
            <a:xfrm>
              <a:off x="2432405" y="1312164"/>
              <a:ext cx="1920499" cy="684000"/>
            </a:xfrm>
            <a:prstGeom prst="roundRect">
              <a:avLst/>
            </a:prstGeom>
            <a:grpFill/>
            <a:ln w="6350" algn="ctr">
              <a:noFill/>
              <a:miter lim="800000"/>
              <a:headEnd/>
              <a:tailEnd/>
            </a:ln>
          </p:spPr>
          <p:txBody>
            <a:bodyPr lIns="72000" tIns="36000" rIns="72000" bIns="36000" rtlCol="0" anchor="ctr"/>
            <a:lstStyle/>
            <a:p>
              <a:pPr algn="ctr" defTabSz="913627" fontAlgn="base">
                <a:spcBef>
                  <a:spcPct val="50000"/>
                </a:spcBef>
                <a:spcAft>
                  <a:spcPct val="0"/>
                </a:spcAft>
                <a:buClr>
                  <a:srgbClr val="F0AB00"/>
                </a:buClr>
                <a:buSzPct val="80000"/>
              </a:pPr>
              <a:r>
                <a:rPr lang="en-US" sz="1200" b="1" dirty="0">
                  <a:solidFill>
                    <a:srgbClr val="CCCCCC">
                      <a:lumMod val="50000"/>
                    </a:srgbClr>
                  </a:solidFill>
                </a:rPr>
                <a:t>design</a:t>
              </a:r>
            </a:p>
          </p:txBody>
        </p:sp>
        <p:sp>
          <p:nvSpPr>
            <p:cNvPr id="808" name="Rounded Rectangle 807"/>
            <p:cNvSpPr/>
            <p:nvPr/>
          </p:nvSpPr>
          <p:spPr bwMode="gray">
            <a:xfrm>
              <a:off x="-214525" y="1312164"/>
              <a:ext cx="2272152" cy="684000"/>
            </a:xfrm>
            <a:prstGeom prst="roundRect">
              <a:avLst/>
            </a:prstGeom>
            <a:grpFill/>
            <a:ln w="6350" algn="ctr">
              <a:noFill/>
              <a:miter lim="800000"/>
              <a:headEnd/>
              <a:tailEnd/>
            </a:ln>
          </p:spPr>
          <p:txBody>
            <a:bodyPr lIns="72000" tIns="36000" rIns="72000" bIns="36000" rtlCol="0" anchor="ctr"/>
            <a:lstStyle/>
            <a:p>
              <a:pPr algn="ctr" defTabSz="913627" fontAlgn="base">
                <a:spcBef>
                  <a:spcPct val="50000"/>
                </a:spcBef>
                <a:spcAft>
                  <a:spcPct val="0"/>
                </a:spcAft>
                <a:buClr>
                  <a:srgbClr val="F0AB00"/>
                </a:buClr>
                <a:buSzPct val="80000"/>
              </a:pPr>
              <a:r>
                <a:rPr lang="en-US" sz="1200" b="1" dirty="0">
                  <a:solidFill>
                    <a:srgbClr val="CCCCCC">
                      <a:lumMod val="50000"/>
                    </a:srgbClr>
                  </a:solidFill>
                </a:rPr>
                <a:t>innovate</a:t>
              </a:r>
            </a:p>
          </p:txBody>
        </p:sp>
      </p:grpSp>
      <p:sp>
        <p:nvSpPr>
          <p:cNvPr id="809" name="Rectangle 17"/>
          <p:cNvSpPr>
            <a:spLocks noChangeArrowheads="1"/>
          </p:cNvSpPr>
          <p:nvPr/>
        </p:nvSpPr>
        <p:spPr bwMode="gray">
          <a:xfrm>
            <a:off x="2015115" y="6009377"/>
            <a:ext cx="5502000" cy="323594"/>
          </a:xfrm>
          <a:prstGeom prst="rect">
            <a:avLst/>
          </a:prstGeom>
          <a:solidFill>
            <a:schemeClr val="tx1"/>
          </a:solidFill>
          <a:ln w="6350" algn="ctr">
            <a:noFill/>
            <a:miter lim="800000"/>
            <a:headEnd/>
            <a:tailEnd/>
          </a:ln>
        </p:spPr>
        <p:txBody>
          <a:bodyPr lIns="50714" tIns="25356" rIns="50714" bIns="25356" rtlCol="0" anchor="ctr"/>
          <a:lstStyle/>
          <a:p>
            <a:pPr algn="ctr" defTabSz="913627" fontAlgn="base">
              <a:spcBef>
                <a:spcPct val="50000"/>
              </a:spcBef>
              <a:spcAft>
                <a:spcPct val="0"/>
              </a:spcAft>
              <a:buClr>
                <a:srgbClr val="F0AB00"/>
              </a:buClr>
              <a:buSzPct val="80000"/>
            </a:pPr>
            <a:endParaRPr lang="en-US" sz="1700" dirty="0">
              <a:solidFill>
                <a:srgbClr val="FFFFFF"/>
              </a:solidFill>
            </a:endParaRPr>
          </a:p>
        </p:txBody>
      </p:sp>
      <p:sp>
        <p:nvSpPr>
          <p:cNvPr id="810" name="Parallelogramm 11"/>
          <p:cNvSpPr>
            <a:spLocks noChangeArrowheads="1"/>
          </p:cNvSpPr>
          <p:nvPr/>
        </p:nvSpPr>
        <p:spPr bwMode="gray">
          <a:xfrm>
            <a:off x="2015115" y="3333488"/>
            <a:ext cx="5502000" cy="348626"/>
          </a:xfrm>
          <a:prstGeom prst="parallelogram">
            <a:avLst>
              <a:gd name="adj" fmla="val 0"/>
            </a:avLst>
          </a:prstGeom>
          <a:solidFill>
            <a:schemeClr val="accent2">
              <a:lumMod val="60000"/>
              <a:lumOff val="40000"/>
            </a:schemeClr>
          </a:solidFill>
          <a:ln w="6350" algn="ctr">
            <a:noFill/>
            <a:miter lim="800000"/>
            <a:headEnd/>
            <a:tailEnd/>
          </a:ln>
        </p:spPr>
        <p:txBody>
          <a:bodyPr lIns="50714" tIns="25356" rIns="50714" bIns="25356" rtlCol="0" anchor="ctr"/>
          <a:lstStyle/>
          <a:p>
            <a:pPr defTabSz="913627" fontAlgn="base">
              <a:spcBef>
                <a:spcPct val="50000"/>
              </a:spcBef>
              <a:spcAft>
                <a:spcPct val="0"/>
              </a:spcAft>
              <a:buClr>
                <a:srgbClr val="F0AB00"/>
              </a:buClr>
              <a:buSzPct val="80000"/>
            </a:pPr>
            <a:endParaRPr lang="en-US" sz="1200" dirty="0">
              <a:solidFill>
                <a:srgbClr val="FFFFFF"/>
              </a:solidFill>
            </a:endParaRPr>
          </a:p>
        </p:txBody>
      </p:sp>
      <p:sp>
        <p:nvSpPr>
          <p:cNvPr id="811" name="Parallelogramm 11"/>
          <p:cNvSpPr>
            <a:spLocks noChangeArrowheads="1"/>
          </p:cNvSpPr>
          <p:nvPr/>
        </p:nvSpPr>
        <p:spPr bwMode="gray">
          <a:xfrm rot="10800000" flipV="1">
            <a:off x="2015304" y="2934190"/>
            <a:ext cx="5501755" cy="359693"/>
          </a:xfrm>
          <a:prstGeom prst="parallelogram">
            <a:avLst>
              <a:gd name="adj" fmla="val 0"/>
            </a:avLst>
          </a:prstGeom>
          <a:solidFill>
            <a:schemeClr val="accent2">
              <a:lumMod val="60000"/>
              <a:lumOff val="40000"/>
            </a:schemeClr>
          </a:solidFill>
          <a:ln w="6350" algn="ctr">
            <a:noFill/>
            <a:miter lim="800000"/>
            <a:headEnd/>
            <a:tailEnd/>
          </a:ln>
        </p:spPr>
        <p:txBody>
          <a:bodyPr lIns="50714" tIns="25356" rIns="50714" bIns="25356" rtlCol="0" anchor="ctr"/>
          <a:lstStyle/>
          <a:p>
            <a:pPr defTabSz="913627"/>
            <a:endParaRPr lang="en-US" sz="1200" dirty="0">
              <a:solidFill>
                <a:srgbClr val="FFFFFF"/>
              </a:solidFill>
            </a:endParaRPr>
          </a:p>
        </p:txBody>
      </p:sp>
      <p:sp>
        <p:nvSpPr>
          <p:cNvPr id="812" name="Parallelogramm 11"/>
          <p:cNvSpPr>
            <a:spLocks noChangeArrowheads="1"/>
          </p:cNvSpPr>
          <p:nvPr/>
        </p:nvSpPr>
        <p:spPr bwMode="gray">
          <a:xfrm>
            <a:off x="2015118" y="3722262"/>
            <a:ext cx="5501755" cy="1840345"/>
          </a:xfrm>
          <a:prstGeom prst="parallelogram">
            <a:avLst>
              <a:gd name="adj" fmla="val 0"/>
            </a:avLst>
          </a:prstGeom>
          <a:solidFill>
            <a:schemeClr val="accent2"/>
          </a:solidFill>
          <a:ln w="6350" algn="ctr">
            <a:noFill/>
            <a:miter lim="800000"/>
            <a:headEnd/>
            <a:tailEnd/>
          </a:ln>
        </p:spPr>
        <p:txBody>
          <a:bodyPr lIns="50714" tIns="25356" rIns="50714" bIns="25356" rtlCol="0" anchor="ctr"/>
          <a:lstStyle/>
          <a:p>
            <a:pPr algn="ctr" defTabSz="913627" fontAlgn="base">
              <a:spcBef>
                <a:spcPct val="50000"/>
              </a:spcBef>
              <a:spcAft>
                <a:spcPct val="0"/>
              </a:spcAft>
              <a:buClr>
                <a:srgbClr val="F0AB00"/>
              </a:buClr>
              <a:buSzPct val="80000"/>
            </a:pPr>
            <a:endParaRPr lang="en-US" sz="1200" dirty="0">
              <a:solidFill>
                <a:srgbClr val="FFFFFF"/>
              </a:solidFill>
            </a:endParaRPr>
          </a:p>
        </p:txBody>
      </p:sp>
      <p:sp>
        <p:nvSpPr>
          <p:cNvPr id="813" name="Text Box 129"/>
          <p:cNvSpPr txBox="1">
            <a:spLocks noChangeArrowheads="1"/>
          </p:cNvSpPr>
          <p:nvPr/>
        </p:nvSpPr>
        <p:spPr bwMode="gray">
          <a:xfrm>
            <a:off x="2072470" y="4126434"/>
            <a:ext cx="1578970" cy="251244"/>
          </a:xfrm>
          <a:prstGeom prst="rect">
            <a:avLst/>
          </a:prstGeom>
          <a:noFill/>
          <a:ln w="9525" algn="ctr">
            <a:noFill/>
            <a:miter lim="800000"/>
            <a:headEnd/>
            <a:tailEnd/>
          </a:ln>
          <a:effectLst/>
        </p:spPr>
        <p:txBody>
          <a:bodyPr wrap="square" lIns="63397" tIns="32967" rIns="63397" bIns="32967">
            <a:spAutoFit/>
          </a:bodyPr>
          <a:lstStyle/>
          <a:p>
            <a:pPr algn="ctr" defTabSz="644086">
              <a:buClr>
                <a:srgbClr val="F0AB00"/>
              </a:buClr>
              <a:defRPr/>
            </a:pPr>
            <a:r>
              <a:rPr lang="en-US" sz="1200" b="1" dirty="0">
                <a:solidFill>
                  <a:srgbClr val="FFFFFF"/>
                </a:solidFill>
              </a:rPr>
              <a:t>Modular Design</a:t>
            </a:r>
          </a:p>
        </p:txBody>
      </p:sp>
      <p:sp>
        <p:nvSpPr>
          <p:cNvPr id="814" name="Text Box 129"/>
          <p:cNvSpPr txBox="1">
            <a:spLocks noChangeArrowheads="1"/>
          </p:cNvSpPr>
          <p:nvPr/>
        </p:nvSpPr>
        <p:spPr bwMode="gray">
          <a:xfrm>
            <a:off x="3660439" y="4126434"/>
            <a:ext cx="2012256" cy="251244"/>
          </a:xfrm>
          <a:prstGeom prst="rect">
            <a:avLst/>
          </a:prstGeom>
          <a:noFill/>
          <a:ln w="9525" algn="ctr">
            <a:noFill/>
            <a:miter lim="800000"/>
            <a:headEnd/>
            <a:tailEnd/>
          </a:ln>
          <a:effectLst/>
        </p:spPr>
        <p:txBody>
          <a:bodyPr wrap="square" lIns="63397" tIns="32967" rIns="63397" bIns="32967">
            <a:spAutoFit/>
          </a:bodyPr>
          <a:lstStyle/>
          <a:p>
            <a:pPr algn="ctr" defTabSz="644086">
              <a:buClr>
                <a:srgbClr val="F0AB00"/>
              </a:buClr>
              <a:defRPr/>
            </a:pPr>
            <a:r>
              <a:rPr lang="en-US" sz="1200" b="1" dirty="0">
                <a:solidFill>
                  <a:srgbClr val="FFFFFF"/>
                </a:solidFill>
              </a:rPr>
              <a:t>Adaptive Manufacturing</a:t>
            </a:r>
          </a:p>
        </p:txBody>
      </p:sp>
      <p:sp>
        <p:nvSpPr>
          <p:cNvPr id="815" name="Text Box 129"/>
          <p:cNvSpPr txBox="1">
            <a:spLocks noChangeArrowheads="1"/>
          </p:cNvSpPr>
          <p:nvPr/>
        </p:nvSpPr>
        <p:spPr bwMode="gray">
          <a:xfrm>
            <a:off x="5608377" y="4126434"/>
            <a:ext cx="1601945" cy="251244"/>
          </a:xfrm>
          <a:prstGeom prst="rect">
            <a:avLst/>
          </a:prstGeom>
          <a:noFill/>
          <a:ln w="9525" algn="ctr">
            <a:noFill/>
            <a:miter lim="800000"/>
            <a:headEnd/>
            <a:tailEnd/>
          </a:ln>
          <a:effectLst/>
        </p:spPr>
        <p:txBody>
          <a:bodyPr wrap="square" lIns="63397" tIns="32967" rIns="63397" bIns="32967">
            <a:spAutoFit/>
          </a:bodyPr>
          <a:lstStyle/>
          <a:p>
            <a:pPr algn="ctr" defTabSz="644086">
              <a:buClr>
                <a:srgbClr val="F0AB00"/>
              </a:buClr>
              <a:defRPr/>
            </a:pPr>
            <a:r>
              <a:rPr lang="en-US" sz="1200" b="1" dirty="0">
                <a:solidFill>
                  <a:srgbClr val="FFFFFF"/>
                </a:solidFill>
              </a:rPr>
              <a:t>Connected Systems</a:t>
            </a:r>
          </a:p>
        </p:txBody>
      </p:sp>
      <p:sp>
        <p:nvSpPr>
          <p:cNvPr id="816" name="Rounded Rectangle 815"/>
          <p:cNvSpPr/>
          <p:nvPr/>
        </p:nvSpPr>
        <p:spPr bwMode="gray">
          <a:xfrm>
            <a:off x="4246731" y="1187938"/>
            <a:ext cx="838757" cy="684000"/>
          </a:xfrm>
          <a:prstGeom prst="roundRect">
            <a:avLst/>
          </a:prstGeom>
          <a:noFill/>
          <a:ln w="6350" algn="ctr">
            <a:noFill/>
            <a:miter lim="800000"/>
            <a:headEnd/>
            <a:tailEnd/>
          </a:ln>
        </p:spPr>
        <p:txBody>
          <a:bodyPr lIns="50714" tIns="25356" rIns="50714" bIns="25356" rtlCol="0" anchor="ctr"/>
          <a:lstStyle/>
          <a:p>
            <a:pPr algn="ctr" defTabSz="913627" fontAlgn="base">
              <a:spcBef>
                <a:spcPct val="50000"/>
              </a:spcBef>
              <a:spcAft>
                <a:spcPct val="0"/>
              </a:spcAft>
              <a:buClr>
                <a:srgbClr val="F0AB00"/>
              </a:buClr>
              <a:buSzPct val="80000"/>
            </a:pPr>
            <a:r>
              <a:rPr lang="en-US" sz="1200" b="1" dirty="0">
                <a:solidFill>
                  <a:srgbClr val="CCCCCC">
                    <a:lumMod val="50000"/>
                  </a:srgbClr>
                </a:solidFill>
              </a:rPr>
              <a:t>plan</a:t>
            </a:r>
          </a:p>
        </p:txBody>
      </p:sp>
      <p:grpSp>
        <p:nvGrpSpPr>
          <p:cNvPr id="3" name="Group 105"/>
          <p:cNvGrpSpPr/>
          <p:nvPr/>
        </p:nvGrpSpPr>
        <p:grpSpPr>
          <a:xfrm>
            <a:off x="924809" y="2322721"/>
            <a:ext cx="1025947" cy="4010256"/>
            <a:chOff x="245995" y="2323252"/>
            <a:chExt cx="1824856" cy="3504016"/>
          </a:xfrm>
        </p:grpSpPr>
        <p:sp>
          <p:nvSpPr>
            <p:cNvPr id="818" name="Rechteck 144"/>
            <p:cNvSpPr/>
            <p:nvPr/>
          </p:nvSpPr>
          <p:spPr bwMode="gray">
            <a:xfrm>
              <a:off x="245995" y="5524516"/>
              <a:ext cx="1824856" cy="302752"/>
            </a:xfrm>
            <a:prstGeom prst="rect">
              <a:avLst/>
            </a:prstGeom>
            <a:noFill/>
            <a:ln w="9525" algn="ctr">
              <a:noFill/>
              <a:miter lim="800000"/>
              <a:headEnd/>
              <a:tailEnd/>
            </a:ln>
          </p:spPr>
          <p:txBody>
            <a:bodyPr lIns="90000" tIns="72000" rIns="90000" bIns="72000" anchor="ctr"/>
            <a:lstStyle/>
            <a:p>
              <a:pPr marL="129712" indent="-129712" algn="ctr" defTabSz="644086">
                <a:spcBef>
                  <a:spcPct val="50000"/>
                </a:spcBef>
                <a:buClr>
                  <a:srgbClr val="F0AB00"/>
                </a:buClr>
                <a:buSzPct val="80000"/>
                <a:defRPr/>
              </a:pPr>
              <a:r>
                <a:rPr lang="en-US" sz="1200" b="1" dirty="0">
                  <a:solidFill>
                    <a:srgbClr val="0076CB">
                      <a:lumMod val="75000"/>
                    </a:srgbClr>
                  </a:solidFill>
                </a:rPr>
                <a:t>Integration </a:t>
              </a:r>
            </a:p>
          </p:txBody>
        </p:sp>
        <p:sp>
          <p:nvSpPr>
            <p:cNvPr id="819" name="Text Box 129"/>
            <p:cNvSpPr txBox="1">
              <a:spLocks noChangeArrowheads="1"/>
            </p:cNvSpPr>
            <p:nvPr/>
          </p:nvSpPr>
          <p:spPr bwMode="gray">
            <a:xfrm>
              <a:off x="245995" y="2323252"/>
              <a:ext cx="1824856" cy="243937"/>
            </a:xfrm>
            <a:prstGeom prst="rect">
              <a:avLst/>
            </a:prstGeom>
            <a:noFill/>
            <a:ln w="9525" algn="ctr">
              <a:noFill/>
              <a:miter lim="800000"/>
              <a:headEnd/>
              <a:tailEnd/>
            </a:ln>
            <a:effectLst/>
          </p:spPr>
          <p:txBody>
            <a:bodyPr wrap="square" lIns="72000" tIns="46800" rIns="0" bIns="46800">
              <a:spAutoFit/>
            </a:bodyPr>
            <a:lstStyle/>
            <a:p>
              <a:pPr algn="ctr" defTabSz="913627" fontAlgn="base">
                <a:spcBef>
                  <a:spcPct val="50000"/>
                </a:spcBef>
                <a:spcAft>
                  <a:spcPct val="0"/>
                </a:spcAft>
                <a:buClr>
                  <a:srgbClr val="F0AB00"/>
                </a:buClr>
                <a:buSzPct val="80000"/>
              </a:pPr>
              <a:r>
                <a:rPr lang="en-US" sz="1200" b="1" dirty="0">
                  <a:solidFill>
                    <a:srgbClr val="0076CB">
                      <a:lumMod val="75000"/>
                    </a:srgbClr>
                  </a:solidFill>
                </a:rPr>
                <a:t>Visualization</a:t>
              </a:r>
            </a:p>
          </p:txBody>
        </p:sp>
      </p:grpSp>
      <p:sp>
        <p:nvSpPr>
          <p:cNvPr id="820" name="TextBox 66"/>
          <p:cNvSpPr txBox="1">
            <a:spLocks noChangeArrowheads="1"/>
          </p:cNvSpPr>
          <p:nvPr/>
        </p:nvSpPr>
        <p:spPr bwMode="gray">
          <a:xfrm>
            <a:off x="2288454" y="6084094"/>
            <a:ext cx="604375" cy="138499"/>
          </a:xfrm>
          <a:prstGeom prst="rect">
            <a:avLst/>
          </a:prstGeom>
          <a:noFill/>
          <a:ln w="9525">
            <a:noFill/>
            <a:miter lim="800000"/>
            <a:headEnd/>
            <a:tailEnd/>
          </a:ln>
        </p:spPr>
        <p:txBody>
          <a:bodyPr wrap="square" lIns="0" tIns="0" rIns="0" bIns="0" anchor="ctr">
            <a:spAutoFit/>
          </a:bodyPr>
          <a:lstStyle/>
          <a:p>
            <a:pPr algn="ctr" defTabSz="644086">
              <a:defRPr/>
            </a:pPr>
            <a:r>
              <a:rPr lang="en-US" sz="900" kern="0" dirty="0">
                <a:solidFill>
                  <a:srgbClr val="FFFFFF"/>
                </a:solidFill>
              </a:rPr>
              <a:t>SAP ERP</a:t>
            </a:r>
          </a:p>
        </p:txBody>
      </p:sp>
      <p:sp>
        <p:nvSpPr>
          <p:cNvPr id="821" name="TextBox 66"/>
          <p:cNvSpPr txBox="1">
            <a:spLocks noChangeArrowheads="1"/>
          </p:cNvSpPr>
          <p:nvPr/>
        </p:nvSpPr>
        <p:spPr bwMode="gray">
          <a:xfrm>
            <a:off x="3334074" y="6084094"/>
            <a:ext cx="604375" cy="138499"/>
          </a:xfrm>
          <a:prstGeom prst="rect">
            <a:avLst/>
          </a:prstGeom>
          <a:noFill/>
          <a:ln w="9525">
            <a:noFill/>
            <a:miter lim="800000"/>
            <a:headEnd/>
            <a:tailEnd/>
          </a:ln>
        </p:spPr>
        <p:txBody>
          <a:bodyPr wrap="square" lIns="0" tIns="0" rIns="0" bIns="0" anchor="ctr">
            <a:spAutoFit/>
          </a:bodyPr>
          <a:lstStyle/>
          <a:p>
            <a:pPr algn="ctr" defTabSz="644086">
              <a:defRPr/>
            </a:pPr>
            <a:r>
              <a:rPr lang="en-US" sz="900" kern="0" dirty="0" err="1">
                <a:solidFill>
                  <a:srgbClr val="FFFFFF"/>
                </a:solidFill>
              </a:rPr>
              <a:t>CAx</a:t>
            </a:r>
            <a:endParaRPr lang="en-US" sz="900" kern="0" dirty="0">
              <a:solidFill>
                <a:srgbClr val="FFFFFF"/>
              </a:solidFill>
            </a:endParaRPr>
          </a:p>
        </p:txBody>
      </p:sp>
      <p:sp>
        <p:nvSpPr>
          <p:cNvPr id="822" name="TextBox 66"/>
          <p:cNvSpPr txBox="1">
            <a:spLocks noChangeArrowheads="1"/>
          </p:cNvSpPr>
          <p:nvPr/>
        </p:nvSpPr>
        <p:spPr bwMode="gray">
          <a:xfrm>
            <a:off x="5538190" y="6014843"/>
            <a:ext cx="604375" cy="276999"/>
          </a:xfrm>
          <a:prstGeom prst="rect">
            <a:avLst/>
          </a:prstGeom>
          <a:noFill/>
          <a:ln w="9525">
            <a:noFill/>
            <a:miter lim="800000"/>
            <a:headEnd/>
            <a:tailEnd/>
          </a:ln>
        </p:spPr>
        <p:txBody>
          <a:bodyPr wrap="square" lIns="0" tIns="0" rIns="0" bIns="0" anchor="ctr">
            <a:spAutoFit/>
          </a:bodyPr>
          <a:lstStyle/>
          <a:p>
            <a:pPr algn="ctr" defTabSz="644086">
              <a:defRPr/>
            </a:pPr>
            <a:r>
              <a:rPr lang="en-US" sz="900" kern="0" dirty="0">
                <a:solidFill>
                  <a:srgbClr val="FFFFFF"/>
                </a:solidFill>
              </a:rPr>
              <a:t>Smart Sensors</a:t>
            </a:r>
          </a:p>
        </p:txBody>
      </p:sp>
      <p:sp>
        <p:nvSpPr>
          <p:cNvPr id="823" name="TextBox 66"/>
          <p:cNvSpPr txBox="1">
            <a:spLocks noChangeArrowheads="1"/>
          </p:cNvSpPr>
          <p:nvPr/>
        </p:nvSpPr>
        <p:spPr bwMode="gray">
          <a:xfrm>
            <a:off x="6453213" y="6084094"/>
            <a:ext cx="831802" cy="138499"/>
          </a:xfrm>
          <a:prstGeom prst="rect">
            <a:avLst/>
          </a:prstGeom>
          <a:noFill/>
          <a:ln w="9525">
            <a:noFill/>
            <a:miter lim="800000"/>
            <a:headEnd/>
            <a:tailEnd/>
          </a:ln>
        </p:spPr>
        <p:txBody>
          <a:bodyPr wrap="square" lIns="0" tIns="0" rIns="0" bIns="0" anchor="ctr">
            <a:spAutoFit/>
          </a:bodyPr>
          <a:lstStyle/>
          <a:p>
            <a:pPr algn="ctr" defTabSz="644086">
              <a:defRPr/>
            </a:pPr>
            <a:r>
              <a:rPr lang="en-US" sz="900" kern="0" dirty="0">
                <a:solidFill>
                  <a:srgbClr val="FFFFFF"/>
                </a:solidFill>
              </a:rPr>
              <a:t>Social Networks</a:t>
            </a:r>
          </a:p>
        </p:txBody>
      </p:sp>
      <p:sp>
        <p:nvSpPr>
          <p:cNvPr id="824" name="TextBox 823"/>
          <p:cNvSpPr txBox="1"/>
          <p:nvPr/>
        </p:nvSpPr>
        <p:spPr>
          <a:xfrm>
            <a:off x="2398180" y="4384982"/>
            <a:ext cx="1067789" cy="586702"/>
          </a:xfrm>
          <a:prstGeom prst="rect">
            <a:avLst/>
          </a:prstGeom>
          <a:noFill/>
        </p:spPr>
        <p:txBody>
          <a:bodyPr wrap="square" lIns="0" tIns="0" rIns="0" bIns="0" rtlCol="0">
            <a:noAutofit/>
          </a:bodyPr>
          <a:lstStyle/>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Invent, plan, visualize</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Design for customer needs</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Systems engineering</a:t>
            </a:r>
          </a:p>
          <a:p>
            <a:pPr defTabSz="913627" fontAlgn="base">
              <a:spcAft>
                <a:spcPct val="0"/>
              </a:spcAft>
              <a:buClr>
                <a:srgbClr val="F0AB00"/>
              </a:buClr>
              <a:buSzPct val="80000"/>
            </a:pPr>
            <a:endParaRPr lang="en-US" sz="900" kern="0" dirty="0">
              <a:solidFill>
                <a:srgbClr val="FFFFFF"/>
              </a:solidFill>
              <a:ea typeface="Arial Unicode MS" pitchFamily="34" charset="-128"/>
              <a:cs typeface="Arial Unicode MS" pitchFamily="34" charset="-128"/>
            </a:endParaRPr>
          </a:p>
        </p:txBody>
      </p:sp>
      <p:sp>
        <p:nvSpPr>
          <p:cNvPr id="825" name="TextBox 824"/>
          <p:cNvSpPr txBox="1"/>
          <p:nvPr/>
        </p:nvSpPr>
        <p:spPr>
          <a:xfrm>
            <a:off x="4033667" y="4378887"/>
            <a:ext cx="1241329" cy="592797"/>
          </a:xfrm>
          <a:prstGeom prst="rect">
            <a:avLst/>
          </a:prstGeom>
          <a:noFill/>
        </p:spPr>
        <p:txBody>
          <a:bodyPr wrap="square" lIns="0" tIns="0" rIns="0" bIns="0" rtlCol="0">
            <a:noAutofit/>
          </a:bodyPr>
          <a:lstStyle/>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Interactive manufacturing networks</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Machine to machine communication</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Cyber physical systems</a:t>
            </a:r>
          </a:p>
          <a:p>
            <a:pPr defTabSz="913627" fontAlgn="base">
              <a:spcAft>
                <a:spcPct val="0"/>
              </a:spcAft>
              <a:buClr>
                <a:srgbClr val="F0AB00"/>
              </a:buClr>
              <a:buSzPct val="80000"/>
            </a:pPr>
            <a:endParaRPr lang="en-US" sz="900" kern="0" dirty="0">
              <a:solidFill>
                <a:srgbClr val="FFFFFF"/>
              </a:solidFill>
              <a:ea typeface="Arial Unicode MS" pitchFamily="34" charset="-128"/>
              <a:cs typeface="Arial Unicode MS" pitchFamily="34" charset="-128"/>
            </a:endParaRPr>
          </a:p>
        </p:txBody>
      </p:sp>
      <p:sp>
        <p:nvSpPr>
          <p:cNvPr id="826" name="TextBox 825"/>
          <p:cNvSpPr txBox="1"/>
          <p:nvPr/>
        </p:nvSpPr>
        <p:spPr>
          <a:xfrm>
            <a:off x="5812323" y="4374429"/>
            <a:ext cx="1354475" cy="592797"/>
          </a:xfrm>
          <a:prstGeom prst="rect">
            <a:avLst/>
          </a:prstGeom>
          <a:noFill/>
        </p:spPr>
        <p:txBody>
          <a:bodyPr wrap="square" lIns="0" tIns="0" rIns="0" bIns="0" rtlCol="0">
            <a:noAutofit/>
          </a:bodyPr>
          <a:lstStyle/>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Intelligent connected assets</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Just-in-time local 3D production</a:t>
            </a:r>
          </a:p>
          <a:p>
            <a:pPr marL="95882" indent="-95882" defTabSz="913627">
              <a:buClr>
                <a:srgbClr val="FFFFFF"/>
              </a:buClr>
              <a:buSzPct val="80000"/>
              <a:buFont typeface="Wingdings" pitchFamily="2" charset="2"/>
              <a:buChar char="§"/>
            </a:pPr>
            <a:r>
              <a:rPr lang="en-US" sz="900" kern="0" dirty="0">
                <a:solidFill>
                  <a:srgbClr val="FFFFFF"/>
                </a:solidFill>
                <a:ea typeface="Arial Unicode MS" pitchFamily="34" charset="-128"/>
                <a:cs typeface="Arial Unicode MS" pitchFamily="34" charset="-128"/>
              </a:rPr>
              <a:t>Connecting machines &amp; humans</a:t>
            </a:r>
          </a:p>
          <a:p>
            <a:pPr defTabSz="913627" fontAlgn="base">
              <a:spcAft>
                <a:spcPct val="0"/>
              </a:spcAft>
              <a:buClr>
                <a:srgbClr val="F0AB00"/>
              </a:buClr>
              <a:buSzPct val="80000"/>
            </a:pPr>
            <a:endParaRPr lang="en-US" sz="900" kern="0" dirty="0">
              <a:solidFill>
                <a:srgbClr val="FFFFFF"/>
              </a:solidFill>
              <a:ea typeface="Arial Unicode MS" pitchFamily="34" charset="-128"/>
              <a:cs typeface="Arial Unicode MS" pitchFamily="34" charset="-128"/>
            </a:endParaRPr>
          </a:p>
        </p:txBody>
      </p:sp>
      <p:grpSp>
        <p:nvGrpSpPr>
          <p:cNvPr id="4" name="Group 110"/>
          <p:cNvGrpSpPr/>
          <p:nvPr/>
        </p:nvGrpSpPr>
        <p:grpSpPr>
          <a:xfrm>
            <a:off x="1178217" y="4214332"/>
            <a:ext cx="386768" cy="376891"/>
            <a:chOff x="2057400" y="4064966"/>
            <a:chExt cx="2667000" cy="1799095"/>
          </a:xfrm>
        </p:grpSpPr>
        <p:sp>
          <p:nvSpPr>
            <p:cNvPr id="828" name="Freeform 827"/>
            <p:cNvSpPr/>
            <p:nvPr/>
          </p:nvSpPr>
          <p:spPr>
            <a:xfrm>
              <a:off x="3396203" y="4392635"/>
              <a:ext cx="1074099" cy="676884"/>
            </a:xfrm>
            <a:custGeom>
              <a:avLst/>
              <a:gdLst>
                <a:gd name="connsiteX0" fmla="*/ 316344 w 316458"/>
                <a:gd name="connsiteY0" fmla="*/ 0 h 199428"/>
                <a:gd name="connsiteX1" fmla="*/ 210972 w 316458"/>
                <a:gd name="connsiteY1" fmla="*/ 45389 h 199428"/>
                <a:gd name="connsiteX2" fmla="*/ 210972 w 316458"/>
                <a:gd name="connsiteY2" fmla="*/ 0 h 199428"/>
                <a:gd name="connsiteX3" fmla="*/ 210845 w 316458"/>
                <a:gd name="connsiteY3" fmla="*/ 0 h 199428"/>
                <a:gd name="connsiteX4" fmla="*/ 105486 w 316458"/>
                <a:gd name="connsiteY4" fmla="*/ 45389 h 199428"/>
                <a:gd name="connsiteX5" fmla="*/ 105486 w 316458"/>
                <a:gd name="connsiteY5" fmla="*/ 0 h 199428"/>
                <a:gd name="connsiteX6" fmla="*/ 105371 w 316458"/>
                <a:gd name="connsiteY6" fmla="*/ 0 h 199428"/>
                <a:gd name="connsiteX7" fmla="*/ 0 w 316458"/>
                <a:gd name="connsiteY7" fmla="*/ 45389 h 199428"/>
                <a:gd name="connsiteX8" fmla="*/ 0 w 316458"/>
                <a:gd name="connsiteY8" fmla="*/ 199428 h 199428"/>
                <a:gd name="connsiteX9" fmla="*/ 316458 w 316458"/>
                <a:gd name="connsiteY9" fmla="*/ 199428 h 199428"/>
                <a:gd name="connsiteX10" fmla="*/ 316458 w 316458"/>
                <a:gd name="connsiteY10" fmla="*/ 45389 h 199428"/>
                <a:gd name="connsiteX11" fmla="*/ 316458 w 316458"/>
                <a:gd name="connsiteY11" fmla="*/ 0 h 199428"/>
                <a:gd name="connsiteX12" fmla="*/ 316344 w 316458"/>
                <a:gd name="connsiteY12" fmla="*/ 0 h 19942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Lst>
              <a:rect l="l" t="t" r="r" b="b"/>
              <a:pathLst>
                <a:path w="316458" h="199428">
                  <a:moveTo>
                    <a:pt x="316344" y="0"/>
                  </a:moveTo>
                  <a:lnTo>
                    <a:pt x="210972" y="45389"/>
                  </a:lnTo>
                  <a:lnTo>
                    <a:pt x="210972" y="0"/>
                  </a:lnTo>
                  <a:lnTo>
                    <a:pt x="210845" y="0"/>
                  </a:lnTo>
                  <a:lnTo>
                    <a:pt x="105486" y="45389"/>
                  </a:lnTo>
                  <a:lnTo>
                    <a:pt x="105486" y="0"/>
                  </a:lnTo>
                  <a:lnTo>
                    <a:pt x="105371" y="0"/>
                  </a:lnTo>
                  <a:lnTo>
                    <a:pt x="0" y="45389"/>
                  </a:lnTo>
                  <a:lnTo>
                    <a:pt x="0" y="199428"/>
                  </a:lnTo>
                  <a:lnTo>
                    <a:pt x="316458" y="199428"/>
                  </a:lnTo>
                  <a:lnTo>
                    <a:pt x="316458" y="45389"/>
                  </a:lnTo>
                  <a:lnTo>
                    <a:pt x="316458" y="0"/>
                  </a:lnTo>
                  <a:lnTo>
                    <a:pt x="316344" y="0"/>
                  </a:lnTo>
                </a:path>
              </a:pathLst>
            </a:custGeom>
            <a:gradFill flip="none" rotWithShape="1">
              <a:gsLst>
                <a:gs pos="0">
                  <a:srgbClr val="003283"/>
                </a:gs>
                <a:gs pos="100000">
                  <a:srgbClr val="008FD3"/>
                </a:gs>
              </a:gsLst>
              <a:lin ang="162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29" name="Freeform 3"/>
            <p:cNvSpPr/>
            <p:nvPr/>
          </p:nvSpPr>
          <p:spPr>
            <a:xfrm>
              <a:off x="2079167" y="5189678"/>
              <a:ext cx="916550" cy="674383"/>
            </a:xfrm>
            <a:custGeom>
              <a:avLst/>
              <a:gdLst>
                <a:gd name="connsiteX0" fmla="*/ 72935 w 270040"/>
                <a:gd name="connsiteY0" fmla="*/ 98805 h 198691"/>
                <a:gd name="connsiteX1" fmla="*/ 787 w 270040"/>
                <a:gd name="connsiteY1" fmla="*/ 0 h 198691"/>
                <a:gd name="connsiteX2" fmla="*/ 197904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35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35" y="98805"/>
                  </a:moveTo>
                  <a:lnTo>
                    <a:pt x="787" y="0"/>
                  </a:lnTo>
                  <a:lnTo>
                    <a:pt x="197904" y="0"/>
                  </a:lnTo>
                  <a:lnTo>
                    <a:pt x="270040" y="98805"/>
                  </a:lnTo>
                  <a:lnTo>
                    <a:pt x="197116" y="198691"/>
                  </a:lnTo>
                  <a:lnTo>
                    <a:pt x="0" y="198691"/>
                  </a:lnTo>
                  <a:lnTo>
                    <a:pt x="72935" y="98805"/>
                  </a:lnTo>
                </a:path>
              </a:pathLst>
            </a:custGeom>
            <a:gradFill flip="none" rotWithShape="1">
              <a:gsLst>
                <a:gs pos="0">
                  <a:srgbClr val="003283"/>
                </a:gs>
                <a:gs pos="100000">
                  <a:srgbClr val="008FD3"/>
                </a:gs>
              </a:gsLst>
              <a:lin ang="162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30" name="Freeform 3"/>
            <p:cNvSpPr/>
            <p:nvPr/>
          </p:nvSpPr>
          <p:spPr>
            <a:xfrm>
              <a:off x="3807894" y="5189678"/>
              <a:ext cx="916506" cy="674383"/>
            </a:xfrm>
            <a:custGeom>
              <a:avLst/>
              <a:gdLst>
                <a:gd name="connsiteX0" fmla="*/ 72923 w 270027"/>
                <a:gd name="connsiteY0" fmla="*/ 98805 h 198691"/>
                <a:gd name="connsiteX1" fmla="*/ 761 w 270027"/>
                <a:gd name="connsiteY1" fmla="*/ 0 h 198691"/>
                <a:gd name="connsiteX2" fmla="*/ 197866 w 270027"/>
                <a:gd name="connsiteY2" fmla="*/ 0 h 198691"/>
                <a:gd name="connsiteX3" fmla="*/ 270027 w 270027"/>
                <a:gd name="connsiteY3" fmla="*/ 98805 h 198691"/>
                <a:gd name="connsiteX4" fmla="*/ 197091 w 270027"/>
                <a:gd name="connsiteY4" fmla="*/ 198691 h 198691"/>
                <a:gd name="connsiteX5" fmla="*/ 0 w 270027"/>
                <a:gd name="connsiteY5" fmla="*/ 198691 h 198691"/>
                <a:gd name="connsiteX6" fmla="*/ 72923 w 270027"/>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27" h="198691">
                  <a:moveTo>
                    <a:pt x="72923" y="98805"/>
                  </a:moveTo>
                  <a:lnTo>
                    <a:pt x="761" y="0"/>
                  </a:lnTo>
                  <a:lnTo>
                    <a:pt x="197866" y="0"/>
                  </a:lnTo>
                  <a:lnTo>
                    <a:pt x="270027" y="98805"/>
                  </a:lnTo>
                  <a:lnTo>
                    <a:pt x="197091" y="198691"/>
                  </a:lnTo>
                  <a:lnTo>
                    <a:pt x="0" y="198691"/>
                  </a:lnTo>
                  <a:lnTo>
                    <a:pt x="72923" y="98805"/>
                  </a:lnTo>
                </a:path>
              </a:pathLst>
            </a:custGeom>
            <a:gradFill flip="none" rotWithShape="1">
              <a:gsLst>
                <a:gs pos="0">
                  <a:srgbClr val="003283"/>
                </a:gs>
                <a:gs pos="100000">
                  <a:srgbClr val="008FD3"/>
                </a:gs>
              </a:gsLst>
              <a:lin ang="162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31" name="Freeform 3"/>
            <p:cNvSpPr/>
            <p:nvPr/>
          </p:nvSpPr>
          <p:spPr>
            <a:xfrm>
              <a:off x="2943508" y="5189678"/>
              <a:ext cx="916550" cy="674383"/>
            </a:xfrm>
            <a:custGeom>
              <a:avLst/>
              <a:gdLst>
                <a:gd name="connsiteX0" fmla="*/ 72923 w 270040"/>
                <a:gd name="connsiteY0" fmla="*/ 98805 h 198691"/>
                <a:gd name="connsiteX1" fmla="*/ 787 w 270040"/>
                <a:gd name="connsiteY1" fmla="*/ 0 h 198691"/>
                <a:gd name="connsiteX2" fmla="*/ 197891 w 270040"/>
                <a:gd name="connsiteY2" fmla="*/ 0 h 198691"/>
                <a:gd name="connsiteX3" fmla="*/ 270040 w 270040"/>
                <a:gd name="connsiteY3" fmla="*/ 98805 h 198691"/>
                <a:gd name="connsiteX4" fmla="*/ 197116 w 270040"/>
                <a:gd name="connsiteY4" fmla="*/ 198691 h 198691"/>
                <a:gd name="connsiteX5" fmla="*/ 0 w 270040"/>
                <a:gd name="connsiteY5" fmla="*/ 198691 h 198691"/>
                <a:gd name="connsiteX6" fmla="*/ 72923 w 270040"/>
                <a:gd name="connsiteY6" fmla="*/ 98805 h 19869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Lst>
              <a:rect l="l" t="t" r="r" b="b"/>
              <a:pathLst>
                <a:path w="270040" h="198691">
                  <a:moveTo>
                    <a:pt x="72923" y="98805"/>
                  </a:moveTo>
                  <a:lnTo>
                    <a:pt x="787" y="0"/>
                  </a:lnTo>
                  <a:lnTo>
                    <a:pt x="197891" y="0"/>
                  </a:lnTo>
                  <a:lnTo>
                    <a:pt x="270040" y="98805"/>
                  </a:lnTo>
                  <a:lnTo>
                    <a:pt x="197116" y="198691"/>
                  </a:lnTo>
                  <a:lnTo>
                    <a:pt x="0" y="198691"/>
                  </a:lnTo>
                  <a:lnTo>
                    <a:pt x="72923" y="98805"/>
                  </a:lnTo>
                </a:path>
              </a:pathLst>
            </a:custGeom>
            <a:gradFill flip="none" rotWithShape="1">
              <a:gsLst>
                <a:gs pos="0">
                  <a:srgbClr val="003283"/>
                </a:gs>
                <a:gs pos="100000">
                  <a:srgbClr val="008FD3"/>
                </a:gs>
              </a:gsLst>
              <a:lin ang="162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32" name="Freeform 3"/>
            <p:cNvSpPr/>
            <p:nvPr/>
          </p:nvSpPr>
          <p:spPr>
            <a:xfrm>
              <a:off x="2057400" y="4064966"/>
              <a:ext cx="1196345" cy="1004570"/>
            </a:xfrm>
            <a:custGeom>
              <a:avLst/>
              <a:gdLst>
                <a:gd name="connsiteX0" fmla="*/ 0 w 352475"/>
                <a:gd name="connsiteY0" fmla="*/ 0 h 295973"/>
                <a:gd name="connsiteX1" fmla="*/ 0 w 352475"/>
                <a:gd name="connsiteY1" fmla="*/ 295973 h 295973"/>
                <a:gd name="connsiteX2" fmla="*/ 133896 w 352475"/>
                <a:gd name="connsiteY2" fmla="*/ 295973 h 295973"/>
                <a:gd name="connsiteX3" fmla="*/ 133896 w 352475"/>
                <a:gd name="connsiteY3" fmla="*/ 250418 h 295973"/>
                <a:gd name="connsiteX4" fmla="*/ 220205 w 352475"/>
                <a:gd name="connsiteY4" fmla="*/ 250418 h 295973"/>
                <a:gd name="connsiteX5" fmla="*/ 220205 w 352475"/>
                <a:gd name="connsiteY5" fmla="*/ 295973 h 295973"/>
                <a:gd name="connsiteX6" fmla="*/ 352475 w 352475"/>
                <a:gd name="connsiteY6" fmla="*/ 295973 h 295973"/>
                <a:gd name="connsiteX7" fmla="*/ 352475 w 352475"/>
                <a:gd name="connsiteY7" fmla="*/ 0 h 295973"/>
                <a:gd name="connsiteX8" fmla="*/ 0 w 352475"/>
                <a:gd name="connsiteY8" fmla="*/ 0 h 29597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352475" h="295973">
                  <a:moveTo>
                    <a:pt x="0" y="0"/>
                  </a:moveTo>
                  <a:lnTo>
                    <a:pt x="0" y="295973"/>
                  </a:lnTo>
                  <a:lnTo>
                    <a:pt x="133896" y="295973"/>
                  </a:lnTo>
                  <a:lnTo>
                    <a:pt x="133896" y="250418"/>
                  </a:lnTo>
                  <a:lnTo>
                    <a:pt x="220205" y="250418"/>
                  </a:lnTo>
                  <a:lnTo>
                    <a:pt x="220205" y="295973"/>
                  </a:lnTo>
                  <a:lnTo>
                    <a:pt x="352475" y="295973"/>
                  </a:lnTo>
                  <a:lnTo>
                    <a:pt x="352475" y="0"/>
                  </a:lnTo>
                  <a:lnTo>
                    <a:pt x="0" y="0"/>
                  </a:lnTo>
                </a:path>
              </a:pathLst>
            </a:custGeom>
            <a:gradFill flip="none" rotWithShape="1">
              <a:gsLst>
                <a:gs pos="0">
                  <a:srgbClr val="003283"/>
                </a:gs>
                <a:gs pos="100000">
                  <a:srgbClr val="008FD3"/>
                </a:gs>
              </a:gsLst>
              <a:lin ang="162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grpSp>
          <p:nvGrpSpPr>
            <p:cNvPr id="5" name="Group 55"/>
            <p:cNvGrpSpPr/>
            <p:nvPr/>
          </p:nvGrpSpPr>
          <p:grpSpPr>
            <a:xfrm>
              <a:off x="2142093" y="4226047"/>
              <a:ext cx="1027134" cy="796091"/>
              <a:chOff x="4660454" y="3179749"/>
              <a:chExt cx="302621" cy="234550"/>
            </a:xfrm>
          </p:grpSpPr>
          <p:sp>
            <p:nvSpPr>
              <p:cNvPr id="841" name="Freeform 3"/>
              <p:cNvSpPr/>
              <p:nvPr/>
            </p:nvSpPr>
            <p:spPr>
              <a:xfrm>
                <a:off x="4660456" y="3382651"/>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2" name="Freeform 3"/>
              <p:cNvSpPr/>
              <p:nvPr/>
            </p:nvSpPr>
            <p:spPr>
              <a:xfrm>
                <a:off x="4660456" y="3331851"/>
                <a:ext cx="31661" cy="31648"/>
              </a:xfrm>
              <a:custGeom>
                <a:avLst/>
                <a:gdLst>
                  <a:gd name="connsiteX0" fmla="*/ 31661 w 31661"/>
                  <a:gd name="connsiteY0" fmla="*/ 31648 h 31648"/>
                  <a:gd name="connsiteX1" fmla="*/ 0 w 31661"/>
                  <a:gd name="connsiteY1" fmla="*/ 31648 h 31648"/>
                  <a:gd name="connsiteX2" fmla="*/ 0 w 31661"/>
                  <a:gd name="connsiteY2" fmla="*/ 0 h 31648"/>
                  <a:gd name="connsiteX3" fmla="*/ 31661 w 31661"/>
                  <a:gd name="connsiteY3" fmla="*/ 0 h 31648"/>
                  <a:gd name="connsiteX4" fmla="*/ 31661 w 31661"/>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48">
                    <a:moveTo>
                      <a:pt x="31661" y="31648"/>
                    </a:moveTo>
                    <a:lnTo>
                      <a:pt x="0" y="31648"/>
                    </a:lnTo>
                    <a:lnTo>
                      <a:pt x="0" y="0"/>
                    </a:lnTo>
                    <a:lnTo>
                      <a:pt x="31661" y="0"/>
                    </a:lnTo>
                    <a:lnTo>
                      <a:pt x="31661" y="31648"/>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3" name="Freeform 3"/>
              <p:cNvSpPr/>
              <p:nvPr/>
            </p:nvSpPr>
            <p:spPr>
              <a:xfrm>
                <a:off x="4660454" y="3281189"/>
                <a:ext cx="31661" cy="31610"/>
              </a:xfrm>
              <a:custGeom>
                <a:avLst/>
                <a:gdLst>
                  <a:gd name="connsiteX0" fmla="*/ 31661 w 31661"/>
                  <a:gd name="connsiteY0" fmla="*/ 31610 h 31610"/>
                  <a:gd name="connsiteX1" fmla="*/ 0 w 31661"/>
                  <a:gd name="connsiteY1" fmla="*/ 31610 h 31610"/>
                  <a:gd name="connsiteX2" fmla="*/ 0 w 31661"/>
                  <a:gd name="connsiteY2" fmla="*/ 0 h 31610"/>
                  <a:gd name="connsiteX3" fmla="*/ 31661 w 31661"/>
                  <a:gd name="connsiteY3" fmla="*/ 0 h 31610"/>
                  <a:gd name="connsiteX4" fmla="*/ 31661 w 31661"/>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10">
                    <a:moveTo>
                      <a:pt x="31661" y="31610"/>
                    </a:moveTo>
                    <a:lnTo>
                      <a:pt x="0" y="31610"/>
                    </a:lnTo>
                    <a:lnTo>
                      <a:pt x="0" y="0"/>
                    </a:lnTo>
                    <a:lnTo>
                      <a:pt x="31661" y="0"/>
                    </a:lnTo>
                    <a:lnTo>
                      <a:pt x="31661" y="3161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4" name="Freeform 3"/>
              <p:cNvSpPr/>
              <p:nvPr/>
            </p:nvSpPr>
            <p:spPr>
              <a:xfrm>
                <a:off x="4660455" y="3230377"/>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5" name="Freeform 3"/>
              <p:cNvSpPr/>
              <p:nvPr/>
            </p:nvSpPr>
            <p:spPr>
              <a:xfrm>
                <a:off x="4660457" y="3179754"/>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6" name="Freeform 3"/>
              <p:cNvSpPr/>
              <p:nvPr/>
            </p:nvSpPr>
            <p:spPr>
              <a:xfrm>
                <a:off x="4714432" y="3382651"/>
                <a:ext cx="31648" cy="31648"/>
              </a:xfrm>
              <a:custGeom>
                <a:avLst/>
                <a:gdLst>
                  <a:gd name="connsiteX0" fmla="*/ 31648 w 31648"/>
                  <a:gd name="connsiteY0" fmla="*/ 31648 h 31648"/>
                  <a:gd name="connsiteX1" fmla="*/ 0 w 31648"/>
                  <a:gd name="connsiteY1" fmla="*/ 31648 h 31648"/>
                  <a:gd name="connsiteX2" fmla="*/ 0 w 31648"/>
                  <a:gd name="connsiteY2" fmla="*/ 0 h 31648"/>
                  <a:gd name="connsiteX3" fmla="*/ 31648 w 31648"/>
                  <a:gd name="connsiteY3" fmla="*/ 0 h 31648"/>
                  <a:gd name="connsiteX4" fmla="*/ 31648 w 31648"/>
                  <a:gd name="connsiteY4" fmla="*/ 31648 h 31648"/>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48">
                    <a:moveTo>
                      <a:pt x="31648" y="31648"/>
                    </a:moveTo>
                    <a:lnTo>
                      <a:pt x="0" y="31648"/>
                    </a:lnTo>
                    <a:lnTo>
                      <a:pt x="0" y="0"/>
                    </a:lnTo>
                    <a:lnTo>
                      <a:pt x="31648" y="0"/>
                    </a:lnTo>
                    <a:lnTo>
                      <a:pt x="31648" y="31648"/>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7" name="Freeform 3"/>
              <p:cNvSpPr/>
              <p:nvPr/>
            </p:nvSpPr>
            <p:spPr>
              <a:xfrm>
                <a:off x="4714432" y="3331851"/>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8" name="Freeform 3"/>
              <p:cNvSpPr/>
              <p:nvPr/>
            </p:nvSpPr>
            <p:spPr>
              <a:xfrm>
                <a:off x="4714432" y="3281189"/>
                <a:ext cx="31648" cy="31610"/>
              </a:xfrm>
              <a:custGeom>
                <a:avLst/>
                <a:gdLst>
                  <a:gd name="connsiteX0" fmla="*/ 31648 w 31648"/>
                  <a:gd name="connsiteY0" fmla="*/ 31610 h 31610"/>
                  <a:gd name="connsiteX1" fmla="*/ 0 w 31648"/>
                  <a:gd name="connsiteY1" fmla="*/ 31610 h 31610"/>
                  <a:gd name="connsiteX2" fmla="*/ 0 w 31648"/>
                  <a:gd name="connsiteY2" fmla="*/ 0 h 31610"/>
                  <a:gd name="connsiteX3" fmla="*/ 31648 w 31648"/>
                  <a:gd name="connsiteY3" fmla="*/ 0 h 31610"/>
                  <a:gd name="connsiteX4" fmla="*/ 31648 w 31648"/>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10">
                    <a:moveTo>
                      <a:pt x="31648" y="31610"/>
                    </a:moveTo>
                    <a:lnTo>
                      <a:pt x="0" y="31610"/>
                    </a:lnTo>
                    <a:lnTo>
                      <a:pt x="0" y="0"/>
                    </a:lnTo>
                    <a:lnTo>
                      <a:pt x="31648" y="0"/>
                    </a:lnTo>
                    <a:lnTo>
                      <a:pt x="31648" y="3161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49" name="Freeform 3"/>
              <p:cNvSpPr/>
              <p:nvPr/>
            </p:nvSpPr>
            <p:spPr>
              <a:xfrm>
                <a:off x="4714432" y="3230377"/>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0" name="Freeform 3"/>
              <p:cNvSpPr/>
              <p:nvPr/>
            </p:nvSpPr>
            <p:spPr>
              <a:xfrm>
                <a:off x="4714431" y="3179754"/>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1" name="Freeform 3"/>
              <p:cNvSpPr/>
              <p:nvPr/>
            </p:nvSpPr>
            <p:spPr>
              <a:xfrm>
                <a:off x="4768404" y="3331851"/>
                <a:ext cx="31496" cy="31686"/>
              </a:xfrm>
              <a:custGeom>
                <a:avLst/>
                <a:gdLst>
                  <a:gd name="connsiteX0" fmla="*/ 31496 w 31496"/>
                  <a:gd name="connsiteY0" fmla="*/ 31686 h 31686"/>
                  <a:gd name="connsiteX1" fmla="*/ 0 w 31496"/>
                  <a:gd name="connsiteY1" fmla="*/ 31686 h 31686"/>
                  <a:gd name="connsiteX2" fmla="*/ 0 w 31496"/>
                  <a:gd name="connsiteY2" fmla="*/ 0 h 31686"/>
                  <a:gd name="connsiteX3" fmla="*/ 31496 w 31496"/>
                  <a:gd name="connsiteY3" fmla="*/ 0 h 31686"/>
                  <a:gd name="connsiteX4" fmla="*/ 31496 w 3149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86">
                    <a:moveTo>
                      <a:pt x="31496" y="31686"/>
                    </a:moveTo>
                    <a:lnTo>
                      <a:pt x="0" y="31686"/>
                    </a:lnTo>
                    <a:lnTo>
                      <a:pt x="0" y="0"/>
                    </a:lnTo>
                    <a:lnTo>
                      <a:pt x="31496" y="0"/>
                    </a:lnTo>
                    <a:lnTo>
                      <a:pt x="31496"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2" name="Freeform 3"/>
              <p:cNvSpPr/>
              <p:nvPr/>
            </p:nvSpPr>
            <p:spPr>
              <a:xfrm>
                <a:off x="4768405" y="3281189"/>
                <a:ext cx="31496" cy="31610"/>
              </a:xfrm>
              <a:custGeom>
                <a:avLst/>
                <a:gdLst>
                  <a:gd name="connsiteX0" fmla="*/ 31496 w 31496"/>
                  <a:gd name="connsiteY0" fmla="*/ 31610 h 31610"/>
                  <a:gd name="connsiteX1" fmla="*/ 0 w 31496"/>
                  <a:gd name="connsiteY1" fmla="*/ 31610 h 31610"/>
                  <a:gd name="connsiteX2" fmla="*/ 0 w 31496"/>
                  <a:gd name="connsiteY2" fmla="*/ 0 h 31610"/>
                  <a:gd name="connsiteX3" fmla="*/ 31496 w 31496"/>
                  <a:gd name="connsiteY3" fmla="*/ 0 h 31610"/>
                  <a:gd name="connsiteX4" fmla="*/ 31496 w 31496"/>
                  <a:gd name="connsiteY4" fmla="*/ 31610 h 31610"/>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10">
                    <a:moveTo>
                      <a:pt x="31496" y="31610"/>
                    </a:moveTo>
                    <a:lnTo>
                      <a:pt x="0" y="31610"/>
                    </a:lnTo>
                    <a:lnTo>
                      <a:pt x="0" y="0"/>
                    </a:lnTo>
                    <a:lnTo>
                      <a:pt x="31496" y="0"/>
                    </a:lnTo>
                    <a:lnTo>
                      <a:pt x="31496" y="3161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3" name="Freeform 3"/>
              <p:cNvSpPr/>
              <p:nvPr/>
            </p:nvSpPr>
            <p:spPr>
              <a:xfrm>
                <a:off x="4768407" y="3230379"/>
                <a:ext cx="31572" cy="31686"/>
              </a:xfrm>
              <a:custGeom>
                <a:avLst/>
                <a:gdLst>
                  <a:gd name="connsiteX0" fmla="*/ 31572 w 31572"/>
                  <a:gd name="connsiteY0" fmla="*/ 1689 h 31686"/>
                  <a:gd name="connsiteX1" fmla="*/ 31572 w 31572"/>
                  <a:gd name="connsiteY1" fmla="*/ 31686 h 31686"/>
                  <a:gd name="connsiteX2" fmla="*/ 0 w 31572"/>
                  <a:gd name="connsiteY2" fmla="*/ 31686 h 31686"/>
                  <a:gd name="connsiteX3" fmla="*/ 0 w 31572"/>
                  <a:gd name="connsiteY3" fmla="*/ 0 h 31686"/>
                  <a:gd name="connsiteX4" fmla="*/ 31572 w 31572"/>
                  <a:gd name="connsiteY4" fmla="*/ 0 h 31686"/>
                  <a:gd name="connsiteX5" fmla="*/ 31572 w 31572"/>
                  <a:gd name="connsiteY5" fmla="*/ 1689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31572" y="1689"/>
                    </a:moveTo>
                    <a:lnTo>
                      <a:pt x="31572" y="31686"/>
                    </a:lnTo>
                    <a:lnTo>
                      <a:pt x="0" y="31686"/>
                    </a:lnTo>
                    <a:lnTo>
                      <a:pt x="0" y="0"/>
                    </a:lnTo>
                    <a:lnTo>
                      <a:pt x="31572" y="0"/>
                    </a:lnTo>
                    <a:lnTo>
                      <a:pt x="31572" y="1689"/>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4" name="Freeform 3"/>
              <p:cNvSpPr/>
              <p:nvPr/>
            </p:nvSpPr>
            <p:spPr>
              <a:xfrm>
                <a:off x="4768415" y="3179754"/>
                <a:ext cx="31661" cy="31686"/>
              </a:xfrm>
              <a:custGeom>
                <a:avLst/>
                <a:gdLst>
                  <a:gd name="connsiteX0" fmla="*/ 31661 w 31661"/>
                  <a:gd name="connsiteY0" fmla="*/ 31686 h 31686"/>
                  <a:gd name="connsiteX1" fmla="*/ 0 w 31661"/>
                  <a:gd name="connsiteY1" fmla="*/ 31686 h 31686"/>
                  <a:gd name="connsiteX2" fmla="*/ 0 w 31661"/>
                  <a:gd name="connsiteY2" fmla="*/ 0 h 31686"/>
                  <a:gd name="connsiteX3" fmla="*/ 31661 w 31661"/>
                  <a:gd name="connsiteY3" fmla="*/ 0 h 31686"/>
                  <a:gd name="connsiteX4" fmla="*/ 31661 w 31661"/>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31661" y="31686"/>
                    </a:moveTo>
                    <a:lnTo>
                      <a:pt x="0" y="31686"/>
                    </a:lnTo>
                    <a:lnTo>
                      <a:pt x="0" y="0"/>
                    </a:lnTo>
                    <a:lnTo>
                      <a:pt x="31661" y="0"/>
                    </a:lnTo>
                    <a:lnTo>
                      <a:pt x="31661"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5" name="Freeform 3"/>
              <p:cNvSpPr/>
              <p:nvPr/>
            </p:nvSpPr>
            <p:spPr>
              <a:xfrm>
                <a:off x="4823570" y="3331901"/>
                <a:ext cx="31496" cy="31673"/>
              </a:xfrm>
              <a:custGeom>
                <a:avLst/>
                <a:gdLst>
                  <a:gd name="connsiteX0" fmla="*/ 31496 w 31496"/>
                  <a:gd name="connsiteY0" fmla="*/ 31673 h 31673"/>
                  <a:gd name="connsiteX1" fmla="*/ 0 w 31496"/>
                  <a:gd name="connsiteY1" fmla="*/ 31673 h 31673"/>
                  <a:gd name="connsiteX2" fmla="*/ 0 w 31496"/>
                  <a:gd name="connsiteY2" fmla="*/ 0 h 31673"/>
                  <a:gd name="connsiteX3" fmla="*/ 31496 w 31496"/>
                  <a:gd name="connsiteY3" fmla="*/ 0 h 31673"/>
                  <a:gd name="connsiteX4" fmla="*/ 31496 w 3149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3">
                    <a:moveTo>
                      <a:pt x="31496" y="31673"/>
                    </a:moveTo>
                    <a:lnTo>
                      <a:pt x="0" y="31673"/>
                    </a:lnTo>
                    <a:lnTo>
                      <a:pt x="0" y="0"/>
                    </a:lnTo>
                    <a:lnTo>
                      <a:pt x="31496" y="0"/>
                    </a:lnTo>
                    <a:lnTo>
                      <a:pt x="31496" y="31673"/>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6" name="Freeform 3"/>
              <p:cNvSpPr/>
              <p:nvPr/>
            </p:nvSpPr>
            <p:spPr>
              <a:xfrm>
                <a:off x="4823573" y="3281176"/>
                <a:ext cx="31496" cy="31674"/>
              </a:xfrm>
              <a:custGeom>
                <a:avLst/>
                <a:gdLst>
                  <a:gd name="connsiteX0" fmla="*/ 31496 w 31496"/>
                  <a:gd name="connsiteY0" fmla="*/ 31674 h 31674"/>
                  <a:gd name="connsiteX1" fmla="*/ 0 w 31496"/>
                  <a:gd name="connsiteY1" fmla="*/ 31674 h 31674"/>
                  <a:gd name="connsiteX2" fmla="*/ 0 w 31496"/>
                  <a:gd name="connsiteY2" fmla="*/ 0 h 31674"/>
                  <a:gd name="connsiteX3" fmla="*/ 31496 w 31496"/>
                  <a:gd name="connsiteY3" fmla="*/ 0 h 31674"/>
                  <a:gd name="connsiteX4" fmla="*/ 31496 w 3149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496" h="31674">
                    <a:moveTo>
                      <a:pt x="31496" y="31674"/>
                    </a:moveTo>
                    <a:lnTo>
                      <a:pt x="0" y="31674"/>
                    </a:lnTo>
                    <a:lnTo>
                      <a:pt x="0" y="0"/>
                    </a:lnTo>
                    <a:lnTo>
                      <a:pt x="31496" y="0"/>
                    </a:lnTo>
                    <a:lnTo>
                      <a:pt x="31496" y="31674"/>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7" name="Freeform 3"/>
              <p:cNvSpPr/>
              <p:nvPr/>
            </p:nvSpPr>
            <p:spPr>
              <a:xfrm>
                <a:off x="4823586" y="3230377"/>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8" name="Freeform 3"/>
              <p:cNvSpPr/>
              <p:nvPr/>
            </p:nvSpPr>
            <p:spPr>
              <a:xfrm>
                <a:off x="4823585" y="3179754"/>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59" name="Freeform 3"/>
              <p:cNvSpPr/>
              <p:nvPr/>
            </p:nvSpPr>
            <p:spPr>
              <a:xfrm>
                <a:off x="4876214" y="3179754"/>
                <a:ext cx="31661" cy="31686"/>
              </a:xfrm>
              <a:custGeom>
                <a:avLst/>
                <a:gdLst>
                  <a:gd name="connsiteX0" fmla="*/ 0 w 31661"/>
                  <a:gd name="connsiteY0" fmla="*/ 0 h 31686"/>
                  <a:gd name="connsiteX1" fmla="*/ 31660 w 31661"/>
                  <a:gd name="connsiteY1" fmla="*/ 0 h 31686"/>
                  <a:gd name="connsiteX2" fmla="*/ 31660 w 31661"/>
                  <a:gd name="connsiteY2" fmla="*/ 31686 h 31686"/>
                  <a:gd name="connsiteX3" fmla="*/ 0 w 31661"/>
                  <a:gd name="connsiteY3" fmla="*/ 31686 h 31686"/>
                  <a:gd name="connsiteX4" fmla="*/ 0 w 31661"/>
                  <a:gd name="connsiteY4" fmla="*/ 0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61" h="31686">
                    <a:moveTo>
                      <a:pt x="0" y="0"/>
                    </a:moveTo>
                    <a:lnTo>
                      <a:pt x="31660" y="0"/>
                    </a:lnTo>
                    <a:lnTo>
                      <a:pt x="31660" y="31686"/>
                    </a:lnTo>
                    <a:lnTo>
                      <a:pt x="0" y="31686"/>
                    </a:lnTo>
                    <a:lnTo>
                      <a:pt x="0"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0" name="Freeform 3"/>
              <p:cNvSpPr/>
              <p:nvPr/>
            </p:nvSpPr>
            <p:spPr>
              <a:xfrm>
                <a:off x="4876210" y="3230382"/>
                <a:ext cx="31572" cy="31686"/>
              </a:xfrm>
              <a:custGeom>
                <a:avLst/>
                <a:gdLst>
                  <a:gd name="connsiteX0" fmla="*/ 0 w 31572"/>
                  <a:gd name="connsiteY0" fmla="*/ 0 h 31686"/>
                  <a:gd name="connsiteX1" fmla="*/ 31572 w 31572"/>
                  <a:gd name="connsiteY1" fmla="*/ 0 h 31686"/>
                  <a:gd name="connsiteX2" fmla="*/ 31572 w 31572"/>
                  <a:gd name="connsiteY2" fmla="*/ 1689 h 31686"/>
                  <a:gd name="connsiteX3" fmla="*/ 31572 w 31572"/>
                  <a:gd name="connsiteY3" fmla="*/ 31686 h 31686"/>
                  <a:gd name="connsiteX4" fmla="*/ 0 w 31572"/>
                  <a:gd name="connsiteY4" fmla="*/ 31686 h 31686"/>
                  <a:gd name="connsiteX5" fmla="*/ 0 w 31572"/>
                  <a:gd name="connsiteY5" fmla="*/ 0 h 3168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31572" h="31686">
                    <a:moveTo>
                      <a:pt x="0" y="0"/>
                    </a:moveTo>
                    <a:lnTo>
                      <a:pt x="31572" y="0"/>
                    </a:lnTo>
                    <a:lnTo>
                      <a:pt x="31572" y="1689"/>
                    </a:lnTo>
                    <a:lnTo>
                      <a:pt x="31572" y="31686"/>
                    </a:lnTo>
                    <a:lnTo>
                      <a:pt x="0" y="31686"/>
                    </a:lnTo>
                    <a:lnTo>
                      <a:pt x="0" y="0"/>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1" name="Freeform 3"/>
              <p:cNvSpPr/>
              <p:nvPr/>
            </p:nvSpPr>
            <p:spPr>
              <a:xfrm>
                <a:off x="4877383" y="3382612"/>
                <a:ext cx="31673" cy="31686"/>
              </a:xfrm>
              <a:custGeom>
                <a:avLst/>
                <a:gdLst>
                  <a:gd name="connsiteX0" fmla="*/ 31673 w 31673"/>
                  <a:gd name="connsiteY0" fmla="*/ 31686 h 31686"/>
                  <a:gd name="connsiteX1" fmla="*/ 0 w 31673"/>
                  <a:gd name="connsiteY1" fmla="*/ 31686 h 31686"/>
                  <a:gd name="connsiteX2" fmla="*/ 0 w 31673"/>
                  <a:gd name="connsiteY2" fmla="*/ 0 h 31686"/>
                  <a:gd name="connsiteX3" fmla="*/ 31673 w 31673"/>
                  <a:gd name="connsiteY3" fmla="*/ 0 h 31686"/>
                  <a:gd name="connsiteX4" fmla="*/ 31673 w 31673"/>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86">
                    <a:moveTo>
                      <a:pt x="31673" y="31686"/>
                    </a:moveTo>
                    <a:lnTo>
                      <a:pt x="0" y="31686"/>
                    </a:lnTo>
                    <a:lnTo>
                      <a:pt x="0" y="0"/>
                    </a:lnTo>
                    <a:lnTo>
                      <a:pt x="31673" y="0"/>
                    </a:lnTo>
                    <a:lnTo>
                      <a:pt x="31673"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2" name="Freeform 3"/>
              <p:cNvSpPr/>
              <p:nvPr/>
            </p:nvSpPr>
            <p:spPr>
              <a:xfrm>
                <a:off x="4877384" y="3331901"/>
                <a:ext cx="31673" cy="31673"/>
              </a:xfrm>
              <a:custGeom>
                <a:avLst/>
                <a:gdLst>
                  <a:gd name="connsiteX0" fmla="*/ 31673 w 31673"/>
                  <a:gd name="connsiteY0" fmla="*/ 31673 h 31673"/>
                  <a:gd name="connsiteX1" fmla="*/ 0 w 31673"/>
                  <a:gd name="connsiteY1" fmla="*/ 31673 h 31673"/>
                  <a:gd name="connsiteX2" fmla="*/ 0 w 31673"/>
                  <a:gd name="connsiteY2" fmla="*/ 0 h 31673"/>
                  <a:gd name="connsiteX3" fmla="*/ 31673 w 31673"/>
                  <a:gd name="connsiteY3" fmla="*/ 0 h 31673"/>
                  <a:gd name="connsiteX4" fmla="*/ 31673 w 31673"/>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3">
                    <a:moveTo>
                      <a:pt x="31673" y="31673"/>
                    </a:moveTo>
                    <a:lnTo>
                      <a:pt x="0" y="31673"/>
                    </a:lnTo>
                    <a:lnTo>
                      <a:pt x="0" y="0"/>
                    </a:lnTo>
                    <a:lnTo>
                      <a:pt x="31673" y="0"/>
                    </a:lnTo>
                    <a:lnTo>
                      <a:pt x="31673" y="31673"/>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3" name="Freeform 3"/>
              <p:cNvSpPr/>
              <p:nvPr/>
            </p:nvSpPr>
            <p:spPr>
              <a:xfrm>
                <a:off x="4877389" y="3281176"/>
                <a:ext cx="31673" cy="31674"/>
              </a:xfrm>
              <a:custGeom>
                <a:avLst/>
                <a:gdLst>
                  <a:gd name="connsiteX0" fmla="*/ 31673 w 31673"/>
                  <a:gd name="connsiteY0" fmla="*/ 31674 h 31674"/>
                  <a:gd name="connsiteX1" fmla="*/ 0 w 31673"/>
                  <a:gd name="connsiteY1" fmla="*/ 31674 h 31674"/>
                  <a:gd name="connsiteX2" fmla="*/ 0 w 31673"/>
                  <a:gd name="connsiteY2" fmla="*/ 0 h 31674"/>
                  <a:gd name="connsiteX3" fmla="*/ 31673 w 31673"/>
                  <a:gd name="connsiteY3" fmla="*/ 0 h 31674"/>
                  <a:gd name="connsiteX4" fmla="*/ 31673 w 31673"/>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73" h="31674">
                    <a:moveTo>
                      <a:pt x="31673" y="31674"/>
                    </a:moveTo>
                    <a:lnTo>
                      <a:pt x="0" y="31674"/>
                    </a:lnTo>
                    <a:lnTo>
                      <a:pt x="0" y="0"/>
                    </a:lnTo>
                    <a:lnTo>
                      <a:pt x="31673" y="0"/>
                    </a:lnTo>
                    <a:lnTo>
                      <a:pt x="31673" y="31674"/>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4" name="Freeform 3"/>
              <p:cNvSpPr/>
              <p:nvPr/>
            </p:nvSpPr>
            <p:spPr>
              <a:xfrm>
                <a:off x="4931370" y="3382613"/>
                <a:ext cx="31686" cy="31686"/>
              </a:xfrm>
              <a:custGeom>
                <a:avLst/>
                <a:gdLst>
                  <a:gd name="connsiteX0" fmla="*/ 31686 w 31686"/>
                  <a:gd name="connsiteY0" fmla="*/ 31686 h 31686"/>
                  <a:gd name="connsiteX1" fmla="*/ 0 w 31686"/>
                  <a:gd name="connsiteY1" fmla="*/ 31686 h 31686"/>
                  <a:gd name="connsiteX2" fmla="*/ 0 w 31686"/>
                  <a:gd name="connsiteY2" fmla="*/ 0 h 31686"/>
                  <a:gd name="connsiteX3" fmla="*/ 31686 w 31686"/>
                  <a:gd name="connsiteY3" fmla="*/ 0 h 31686"/>
                  <a:gd name="connsiteX4" fmla="*/ 31686 w 31686"/>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86">
                    <a:moveTo>
                      <a:pt x="31686" y="31686"/>
                    </a:moveTo>
                    <a:lnTo>
                      <a:pt x="0" y="31686"/>
                    </a:lnTo>
                    <a:lnTo>
                      <a:pt x="0" y="0"/>
                    </a:lnTo>
                    <a:lnTo>
                      <a:pt x="31686" y="0"/>
                    </a:lnTo>
                    <a:lnTo>
                      <a:pt x="31686"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5" name="Freeform 3"/>
              <p:cNvSpPr/>
              <p:nvPr/>
            </p:nvSpPr>
            <p:spPr>
              <a:xfrm>
                <a:off x="4931374" y="3331901"/>
                <a:ext cx="31686" cy="31673"/>
              </a:xfrm>
              <a:custGeom>
                <a:avLst/>
                <a:gdLst>
                  <a:gd name="connsiteX0" fmla="*/ 31686 w 31686"/>
                  <a:gd name="connsiteY0" fmla="*/ 31673 h 31673"/>
                  <a:gd name="connsiteX1" fmla="*/ 0 w 31686"/>
                  <a:gd name="connsiteY1" fmla="*/ 31673 h 31673"/>
                  <a:gd name="connsiteX2" fmla="*/ 0 w 31686"/>
                  <a:gd name="connsiteY2" fmla="*/ 0 h 31673"/>
                  <a:gd name="connsiteX3" fmla="*/ 31686 w 31686"/>
                  <a:gd name="connsiteY3" fmla="*/ 0 h 31673"/>
                  <a:gd name="connsiteX4" fmla="*/ 31686 w 31686"/>
                  <a:gd name="connsiteY4" fmla="*/ 31673 h 31673"/>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3">
                    <a:moveTo>
                      <a:pt x="31686" y="31673"/>
                    </a:moveTo>
                    <a:lnTo>
                      <a:pt x="0" y="31673"/>
                    </a:lnTo>
                    <a:lnTo>
                      <a:pt x="0" y="0"/>
                    </a:lnTo>
                    <a:lnTo>
                      <a:pt x="31686" y="0"/>
                    </a:lnTo>
                    <a:lnTo>
                      <a:pt x="31686" y="31673"/>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6" name="Freeform 3"/>
              <p:cNvSpPr/>
              <p:nvPr/>
            </p:nvSpPr>
            <p:spPr>
              <a:xfrm>
                <a:off x="4931389" y="3281179"/>
                <a:ext cx="31686" cy="31674"/>
              </a:xfrm>
              <a:custGeom>
                <a:avLst/>
                <a:gdLst>
                  <a:gd name="connsiteX0" fmla="*/ 31686 w 31686"/>
                  <a:gd name="connsiteY0" fmla="*/ 31674 h 31674"/>
                  <a:gd name="connsiteX1" fmla="*/ 0 w 31686"/>
                  <a:gd name="connsiteY1" fmla="*/ 31674 h 31674"/>
                  <a:gd name="connsiteX2" fmla="*/ 0 w 31686"/>
                  <a:gd name="connsiteY2" fmla="*/ 0 h 31674"/>
                  <a:gd name="connsiteX3" fmla="*/ 31686 w 31686"/>
                  <a:gd name="connsiteY3" fmla="*/ 0 h 31674"/>
                  <a:gd name="connsiteX4" fmla="*/ 31686 w 31686"/>
                  <a:gd name="connsiteY4" fmla="*/ 31674 h 3167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86" h="31674">
                    <a:moveTo>
                      <a:pt x="31686" y="31674"/>
                    </a:moveTo>
                    <a:lnTo>
                      <a:pt x="0" y="31674"/>
                    </a:lnTo>
                    <a:lnTo>
                      <a:pt x="0" y="0"/>
                    </a:lnTo>
                    <a:lnTo>
                      <a:pt x="31686" y="0"/>
                    </a:lnTo>
                    <a:lnTo>
                      <a:pt x="31686" y="31674"/>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7" name="Freeform 3"/>
              <p:cNvSpPr/>
              <p:nvPr/>
            </p:nvSpPr>
            <p:spPr>
              <a:xfrm>
                <a:off x="4931413" y="3230381"/>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68" name="Freeform 3"/>
              <p:cNvSpPr/>
              <p:nvPr/>
            </p:nvSpPr>
            <p:spPr>
              <a:xfrm>
                <a:off x="4931397" y="3179749"/>
                <a:ext cx="31648" cy="31686"/>
              </a:xfrm>
              <a:custGeom>
                <a:avLst/>
                <a:gdLst>
                  <a:gd name="connsiteX0" fmla="*/ 31648 w 31648"/>
                  <a:gd name="connsiteY0" fmla="*/ 31686 h 31686"/>
                  <a:gd name="connsiteX1" fmla="*/ 0 w 31648"/>
                  <a:gd name="connsiteY1" fmla="*/ 31686 h 31686"/>
                  <a:gd name="connsiteX2" fmla="*/ 0 w 31648"/>
                  <a:gd name="connsiteY2" fmla="*/ 0 h 31686"/>
                  <a:gd name="connsiteX3" fmla="*/ 31648 w 31648"/>
                  <a:gd name="connsiteY3" fmla="*/ 0 h 31686"/>
                  <a:gd name="connsiteX4" fmla="*/ 31648 w 31648"/>
                  <a:gd name="connsiteY4" fmla="*/ 31686 h 31686"/>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31648" h="31686">
                    <a:moveTo>
                      <a:pt x="31648" y="31686"/>
                    </a:moveTo>
                    <a:lnTo>
                      <a:pt x="0" y="31686"/>
                    </a:lnTo>
                    <a:lnTo>
                      <a:pt x="0" y="0"/>
                    </a:lnTo>
                    <a:lnTo>
                      <a:pt x="31648" y="0"/>
                    </a:lnTo>
                    <a:lnTo>
                      <a:pt x="31648" y="31686"/>
                    </a:ln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grpSp>
        <p:grpSp>
          <p:nvGrpSpPr>
            <p:cNvPr id="6" name="Group 56"/>
            <p:cNvGrpSpPr/>
            <p:nvPr/>
          </p:nvGrpSpPr>
          <p:grpSpPr>
            <a:xfrm>
              <a:off x="3472334" y="4743330"/>
              <a:ext cx="911591" cy="237939"/>
              <a:chOff x="5052377" y="3310128"/>
              <a:chExt cx="268579" cy="70103"/>
            </a:xfrm>
            <a:solidFill>
              <a:schemeClr val="bg1"/>
            </a:solidFill>
          </p:grpSpPr>
          <p:sp>
            <p:nvSpPr>
              <p:cNvPr id="835" name="Rectangle 834"/>
              <p:cNvSpPr/>
              <p:nvPr/>
            </p:nvSpPr>
            <p:spPr>
              <a:xfrm>
                <a:off x="5052377"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sp>
            <p:nvSpPr>
              <p:cNvPr id="836" name="Rectangle 835"/>
              <p:cNvSpPr/>
              <p:nvPr/>
            </p:nvSpPr>
            <p:spPr>
              <a:xfrm>
                <a:off x="5150091"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sp>
            <p:nvSpPr>
              <p:cNvPr id="837" name="Rectangle 836"/>
              <p:cNvSpPr/>
              <p:nvPr/>
            </p:nvSpPr>
            <p:spPr>
              <a:xfrm>
                <a:off x="5247804" y="3352799"/>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sp>
            <p:nvSpPr>
              <p:cNvPr id="838" name="Rectangle 837"/>
              <p:cNvSpPr/>
              <p:nvPr/>
            </p:nvSpPr>
            <p:spPr>
              <a:xfrm>
                <a:off x="5052377"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sp>
            <p:nvSpPr>
              <p:cNvPr id="839" name="Rectangle 838"/>
              <p:cNvSpPr/>
              <p:nvPr/>
            </p:nvSpPr>
            <p:spPr>
              <a:xfrm>
                <a:off x="5150091"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sp>
            <p:nvSpPr>
              <p:cNvPr id="840" name="Rectangle 839"/>
              <p:cNvSpPr/>
              <p:nvPr/>
            </p:nvSpPr>
            <p:spPr>
              <a:xfrm>
                <a:off x="5247804" y="3310128"/>
                <a:ext cx="73152" cy="27432"/>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627"/>
                <a:endParaRPr lang="en-US" sz="2000" dirty="0">
                  <a:solidFill>
                    <a:srgbClr val="F0AB00"/>
                  </a:solidFill>
                </a:endParaRPr>
              </a:p>
            </p:txBody>
          </p:sp>
        </p:grpSp>
      </p:grpSp>
      <p:grpSp>
        <p:nvGrpSpPr>
          <p:cNvPr id="7" name="Group 152"/>
          <p:cNvGrpSpPr/>
          <p:nvPr/>
        </p:nvGrpSpPr>
        <p:grpSpPr>
          <a:xfrm>
            <a:off x="1199576" y="3341033"/>
            <a:ext cx="344050" cy="347049"/>
            <a:chOff x="546297" y="628609"/>
            <a:chExt cx="1809553" cy="1503309"/>
          </a:xfrm>
        </p:grpSpPr>
        <p:sp>
          <p:nvSpPr>
            <p:cNvPr id="870" name="Freeform 930"/>
            <p:cNvSpPr>
              <a:spLocks/>
            </p:cNvSpPr>
            <p:nvPr/>
          </p:nvSpPr>
          <p:spPr bwMode="auto">
            <a:xfrm>
              <a:off x="546297" y="628609"/>
              <a:ext cx="1809553" cy="1503309"/>
            </a:xfrm>
            <a:custGeom>
              <a:avLst/>
              <a:gdLst/>
              <a:ahLst/>
              <a:cxnLst>
                <a:cxn ang="0">
                  <a:pos x="170" y="0"/>
                </a:cxn>
                <a:cxn ang="0">
                  <a:pos x="3" y="0"/>
                </a:cxn>
                <a:cxn ang="0">
                  <a:pos x="0" y="2"/>
                </a:cxn>
                <a:cxn ang="0">
                  <a:pos x="0" y="113"/>
                </a:cxn>
                <a:cxn ang="0">
                  <a:pos x="3" y="116"/>
                </a:cxn>
                <a:cxn ang="0">
                  <a:pos x="68" y="116"/>
                </a:cxn>
                <a:cxn ang="0">
                  <a:pos x="66" y="138"/>
                </a:cxn>
                <a:cxn ang="0">
                  <a:pos x="56" y="144"/>
                </a:cxn>
                <a:cxn ang="0">
                  <a:pos x="56" y="145"/>
                </a:cxn>
                <a:cxn ang="0">
                  <a:pos x="117" y="145"/>
                </a:cxn>
                <a:cxn ang="0">
                  <a:pos x="117" y="144"/>
                </a:cxn>
                <a:cxn ang="0">
                  <a:pos x="106" y="138"/>
                </a:cxn>
                <a:cxn ang="0">
                  <a:pos x="104" y="116"/>
                </a:cxn>
                <a:cxn ang="0">
                  <a:pos x="170" y="116"/>
                </a:cxn>
                <a:cxn ang="0">
                  <a:pos x="172" y="113"/>
                </a:cxn>
                <a:cxn ang="0">
                  <a:pos x="172" y="2"/>
                </a:cxn>
                <a:cxn ang="0">
                  <a:pos x="170" y="0"/>
                </a:cxn>
              </a:cxnLst>
              <a:rect l="0" t="0" r="r" b="b"/>
              <a:pathLst>
                <a:path w="172" h="145">
                  <a:moveTo>
                    <a:pt x="170" y="0"/>
                  </a:moveTo>
                  <a:cubicBezTo>
                    <a:pt x="3" y="0"/>
                    <a:pt x="3" y="0"/>
                    <a:pt x="3" y="0"/>
                  </a:cubicBezTo>
                  <a:cubicBezTo>
                    <a:pt x="1" y="0"/>
                    <a:pt x="0" y="1"/>
                    <a:pt x="0" y="2"/>
                  </a:cubicBezTo>
                  <a:cubicBezTo>
                    <a:pt x="0" y="113"/>
                    <a:pt x="0" y="113"/>
                    <a:pt x="0" y="113"/>
                  </a:cubicBezTo>
                  <a:cubicBezTo>
                    <a:pt x="0" y="115"/>
                    <a:pt x="1" y="116"/>
                    <a:pt x="3" y="116"/>
                  </a:cubicBezTo>
                  <a:cubicBezTo>
                    <a:pt x="68" y="116"/>
                    <a:pt x="68" y="116"/>
                    <a:pt x="68" y="116"/>
                  </a:cubicBezTo>
                  <a:cubicBezTo>
                    <a:pt x="68" y="121"/>
                    <a:pt x="66" y="136"/>
                    <a:pt x="66" y="138"/>
                  </a:cubicBezTo>
                  <a:cubicBezTo>
                    <a:pt x="66" y="141"/>
                    <a:pt x="56" y="141"/>
                    <a:pt x="56" y="144"/>
                  </a:cubicBezTo>
                  <a:cubicBezTo>
                    <a:pt x="56" y="145"/>
                    <a:pt x="56" y="145"/>
                    <a:pt x="56" y="145"/>
                  </a:cubicBezTo>
                  <a:cubicBezTo>
                    <a:pt x="117" y="145"/>
                    <a:pt x="117" y="145"/>
                    <a:pt x="117" y="145"/>
                  </a:cubicBezTo>
                  <a:cubicBezTo>
                    <a:pt x="117" y="144"/>
                    <a:pt x="117" y="144"/>
                    <a:pt x="117" y="144"/>
                  </a:cubicBezTo>
                  <a:cubicBezTo>
                    <a:pt x="117" y="141"/>
                    <a:pt x="106" y="141"/>
                    <a:pt x="106" y="138"/>
                  </a:cubicBezTo>
                  <a:cubicBezTo>
                    <a:pt x="106" y="136"/>
                    <a:pt x="104" y="121"/>
                    <a:pt x="104" y="116"/>
                  </a:cubicBezTo>
                  <a:cubicBezTo>
                    <a:pt x="170" y="116"/>
                    <a:pt x="170" y="116"/>
                    <a:pt x="170" y="116"/>
                  </a:cubicBezTo>
                  <a:cubicBezTo>
                    <a:pt x="171" y="116"/>
                    <a:pt x="172" y="115"/>
                    <a:pt x="172" y="113"/>
                  </a:cubicBezTo>
                  <a:cubicBezTo>
                    <a:pt x="172" y="2"/>
                    <a:pt x="172" y="2"/>
                    <a:pt x="172" y="2"/>
                  </a:cubicBezTo>
                  <a:cubicBezTo>
                    <a:pt x="172" y="1"/>
                    <a:pt x="171" y="0"/>
                    <a:pt x="170" y="0"/>
                  </a:cubicBezTo>
                  <a:close/>
                </a:path>
              </a:pathLst>
            </a:custGeom>
            <a:gradFill flip="none" rotWithShape="1">
              <a:gsLst>
                <a:gs pos="0">
                  <a:srgbClr val="003283"/>
                </a:gs>
                <a:gs pos="100000">
                  <a:srgbClr val="008FD3"/>
                </a:gs>
              </a:gsLst>
              <a:lin ang="162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1" name="Freeform 932"/>
            <p:cNvSpPr>
              <a:spLocks/>
            </p:cNvSpPr>
            <p:nvPr/>
          </p:nvSpPr>
          <p:spPr bwMode="auto">
            <a:xfrm>
              <a:off x="615515" y="701824"/>
              <a:ext cx="1666175" cy="1059151"/>
            </a:xfrm>
            <a:custGeom>
              <a:avLst/>
              <a:gdLst/>
              <a:ahLst/>
              <a:cxnLst>
                <a:cxn ang="0">
                  <a:pos x="337" y="217"/>
                </a:cxn>
                <a:cxn ang="0">
                  <a:pos x="337" y="217"/>
                </a:cxn>
                <a:cxn ang="0">
                  <a:pos x="0" y="217"/>
                </a:cxn>
                <a:cxn ang="0">
                  <a:pos x="0" y="0"/>
                </a:cxn>
                <a:cxn ang="0">
                  <a:pos x="337" y="0"/>
                </a:cxn>
                <a:cxn ang="0">
                  <a:pos x="337" y="217"/>
                </a:cxn>
              </a:cxnLst>
              <a:rect l="0" t="0" r="r" b="b"/>
              <a:pathLst>
                <a:path w="337" h="217">
                  <a:moveTo>
                    <a:pt x="337" y="217"/>
                  </a:moveTo>
                  <a:lnTo>
                    <a:pt x="337" y="217"/>
                  </a:lnTo>
                  <a:lnTo>
                    <a:pt x="0" y="217"/>
                  </a:lnTo>
                  <a:lnTo>
                    <a:pt x="0" y="0"/>
                  </a:lnTo>
                  <a:lnTo>
                    <a:pt x="337" y="0"/>
                  </a:lnTo>
                  <a:lnTo>
                    <a:pt x="337" y="217"/>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2" name="Freeform 934"/>
            <p:cNvSpPr>
              <a:spLocks/>
            </p:cNvSpPr>
            <p:nvPr/>
          </p:nvSpPr>
          <p:spPr bwMode="auto">
            <a:xfrm>
              <a:off x="724286" y="760394"/>
              <a:ext cx="1463464" cy="927366"/>
            </a:xfrm>
            <a:custGeom>
              <a:avLst/>
              <a:gdLst/>
              <a:ahLst/>
              <a:cxnLst>
                <a:cxn ang="0">
                  <a:pos x="287" y="177"/>
                </a:cxn>
                <a:cxn ang="0">
                  <a:pos x="13" y="7"/>
                </a:cxn>
                <a:cxn ang="0">
                  <a:pos x="10" y="0"/>
                </a:cxn>
                <a:cxn ang="0">
                  <a:pos x="0" y="7"/>
                </a:cxn>
                <a:cxn ang="0">
                  <a:pos x="10" y="9"/>
                </a:cxn>
                <a:cxn ang="0">
                  <a:pos x="4" y="26"/>
                </a:cxn>
                <a:cxn ang="0">
                  <a:pos x="10" y="28"/>
                </a:cxn>
                <a:cxn ang="0">
                  <a:pos x="0" y="45"/>
                </a:cxn>
                <a:cxn ang="0">
                  <a:pos x="10" y="47"/>
                </a:cxn>
                <a:cxn ang="0">
                  <a:pos x="4" y="62"/>
                </a:cxn>
                <a:cxn ang="0">
                  <a:pos x="10" y="64"/>
                </a:cxn>
                <a:cxn ang="0">
                  <a:pos x="0" y="81"/>
                </a:cxn>
                <a:cxn ang="0">
                  <a:pos x="10" y="83"/>
                </a:cxn>
                <a:cxn ang="0">
                  <a:pos x="4" y="100"/>
                </a:cxn>
                <a:cxn ang="0">
                  <a:pos x="10" y="103"/>
                </a:cxn>
                <a:cxn ang="0">
                  <a:pos x="0" y="120"/>
                </a:cxn>
                <a:cxn ang="0">
                  <a:pos x="10" y="122"/>
                </a:cxn>
                <a:cxn ang="0">
                  <a:pos x="4" y="137"/>
                </a:cxn>
                <a:cxn ang="0">
                  <a:pos x="10" y="141"/>
                </a:cxn>
                <a:cxn ang="0">
                  <a:pos x="0" y="156"/>
                </a:cxn>
                <a:cxn ang="0">
                  <a:pos x="10" y="158"/>
                </a:cxn>
                <a:cxn ang="0">
                  <a:pos x="0" y="177"/>
                </a:cxn>
                <a:cxn ang="0">
                  <a:pos x="10" y="179"/>
                </a:cxn>
                <a:cxn ang="0">
                  <a:pos x="13" y="190"/>
                </a:cxn>
                <a:cxn ang="0">
                  <a:pos x="30" y="179"/>
                </a:cxn>
                <a:cxn ang="0">
                  <a:pos x="32" y="183"/>
                </a:cxn>
                <a:cxn ang="0">
                  <a:pos x="49" y="179"/>
                </a:cxn>
                <a:cxn ang="0">
                  <a:pos x="51" y="190"/>
                </a:cxn>
                <a:cxn ang="0">
                  <a:pos x="68" y="179"/>
                </a:cxn>
                <a:cxn ang="0">
                  <a:pos x="72" y="183"/>
                </a:cxn>
                <a:cxn ang="0">
                  <a:pos x="89" y="179"/>
                </a:cxn>
                <a:cxn ang="0">
                  <a:pos x="91" y="190"/>
                </a:cxn>
                <a:cxn ang="0">
                  <a:pos x="108" y="179"/>
                </a:cxn>
                <a:cxn ang="0">
                  <a:pos x="110" y="183"/>
                </a:cxn>
                <a:cxn ang="0">
                  <a:pos x="127" y="179"/>
                </a:cxn>
                <a:cxn ang="0">
                  <a:pos x="130" y="190"/>
                </a:cxn>
                <a:cxn ang="0">
                  <a:pos x="130" y="179"/>
                </a:cxn>
                <a:cxn ang="0">
                  <a:pos x="147" y="183"/>
                </a:cxn>
                <a:cxn ang="0">
                  <a:pos x="151" y="179"/>
                </a:cxn>
                <a:cxn ang="0">
                  <a:pos x="168" y="190"/>
                </a:cxn>
                <a:cxn ang="0">
                  <a:pos x="170" y="179"/>
                </a:cxn>
                <a:cxn ang="0">
                  <a:pos x="187" y="183"/>
                </a:cxn>
                <a:cxn ang="0">
                  <a:pos x="189" y="179"/>
                </a:cxn>
                <a:cxn ang="0">
                  <a:pos x="206" y="183"/>
                </a:cxn>
                <a:cxn ang="0">
                  <a:pos x="208" y="190"/>
                </a:cxn>
                <a:cxn ang="0">
                  <a:pos x="225" y="179"/>
                </a:cxn>
                <a:cxn ang="0">
                  <a:pos x="230" y="183"/>
                </a:cxn>
                <a:cxn ang="0">
                  <a:pos x="247" y="179"/>
                </a:cxn>
                <a:cxn ang="0">
                  <a:pos x="249" y="190"/>
                </a:cxn>
                <a:cxn ang="0">
                  <a:pos x="266" y="179"/>
                </a:cxn>
                <a:cxn ang="0">
                  <a:pos x="268" y="183"/>
                </a:cxn>
                <a:cxn ang="0">
                  <a:pos x="285" y="179"/>
                </a:cxn>
                <a:cxn ang="0">
                  <a:pos x="287" y="190"/>
                </a:cxn>
                <a:cxn ang="0">
                  <a:pos x="296" y="179"/>
                </a:cxn>
              </a:cxnLst>
              <a:rect l="0" t="0" r="r" b="b"/>
              <a:pathLst>
                <a:path w="296" h="190">
                  <a:moveTo>
                    <a:pt x="296" y="177"/>
                  </a:moveTo>
                  <a:lnTo>
                    <a:pt x="287" y="177"/>
                  </a:lnTo>
                  <a:lnTo>
                    <a:pt x="287" y="7"/>
                  </a:lnTo>
                  <a:lnTo>
                    <a:pt x="13" y="7"/>
                  </a:lnTo>
                  <a:lnTo>
                    <a:pt x="13" y="0"/>
                  </a:lnTo>
                  <a:lnTo>
                    <a:pt x="10" y="0"/>
                  </a:lnTo>
                  <a:lnTo>
                    <a:pt x="10" y="7"/>
                  </a:lnTo>
                  <a:lnTo>
                    <a:pt x="0" y="7"/>
                  </a:lnTo>
                  <a:lnTo>
                    <a:pt x="0" y="9"/>
                  </a:lnTo>
                  <a:lnTo>
                    <a:pt x="10" y="9"/>
                  </a:lnTo>
                  <a:lnTo>
                    <a:pt x="10" y="26"/>
                  </a:lnTo>
                  <a:lnTo>
                    <a:pt x="4" y="26"/>
                  </a:lnTo>
                  <a:lnTo>
                    <a:pt x="4" y="28"/>
                  </a:lnTo>
                  <a:lnTo>
                    <a:pt x="10" y="28"/>
                  </a:lnTo>
                  <a:lnTo>
                    <a:pt x="10" y="45"/>
                  </a:lnTo>
                  <a:lnTo>
                    <a:pt x="0" y="45"/>
                  </a:lnTo>
                  <a:lnTo>
                    <a:pt x="0" y="47"/>
                  </a:lnTo>
                  <a:lnTo>
                    <a:pt x="10" y="47"/>
                  </a:lnTo>
                  <a:lnTo>
                    <a:pt x="10" y="62"/>
                  </a:lnTo>
                  <a:lnTo>
                    <a:pt x="4" y="62"/>
                  </a:lnTo>
                  <a:lnTo>
                    <a:pt x="4" y="64"/>
                  </a:lnTo>
                  <a:lnTo>
                    <a:pt x="10" y="64"/>
                  </a:lnTo>
                  <a:lnTo>
                    <a:pt x="10" y="81"/>
                  </a:lnTo>
                  <a:lnTo>
                    <a:pt x="0" y="81"/>
                  </a:lnTo>
                  <a:lnTo>
                    <a:pt x="0" y="83"/>
                  </a:lnTo>
                  <a:lnTo>
                    <a:pt x="10" y="83"/>
                  </a:lnTo>
                  <a:lnTo>
                    <a:pt x="10" y="100"/>
                  </a:lnTo>
                  <a:lnTo>
                    <a:pt x="4" y="100"/>
                  </a:lnTo>
                  <a:lnTo>
                    <a:pt x="4" y="103"/>
                  </a:lnTo>
                  <a:lnTo>
                    <a:pt x="10" y="103"/>
                  </a:lnTo>
                  <a:lnTo>
                    <a:pt x="10" y="120"/>
                  </a:lnTo>
                  <a:lnTo>
                    <a:pt x="0" y="120"/>
                  </a:lnTo>
                  <a:lnTo>
                    <a:pt x="0" y="122"/>
                  </a:lnTo>
                  <a:lnTo>
                    <a:pt x="10" y="122"/>
                  </a:lnTo>
                  <a:lnTo>
                    <a:pt x="10" y="137"/>
                  </a:lnTo>
                  <a:lnTo>
                    <a:pt x="4" y="137"/>
                  </a:lnTo>
                  <a:lnTo>
                    <a:pt x="4" y="141"/>
                  </a:lnTo>
                  <a:lnTo>
                    <a:pt x="10" y="141"/>
                  </a:lnTo>
                  <a:lnTo>
                    <a:pt x="10" y="156"/>
                  </a:lnTo>
                  <a:lnTo>
                    <a:pt x="0" y="156"/>
                  </a:lnTo>
                  <a:lnTo>
                    <a:pt x="0" y="158"/>
                  </a:lnTo>
                  <a:lnTo>
                    <a:pt x="10" y="158"/>
                  </a:lnTo>
                  <a:lnTo>
                    <a:pt x="10" y="177"/>
                  </a:lnTo>
                  <a:lnTo>
                    <a:pt x="0" y="177"/>
                  </a:lnTo>
                  <a:lnTo>
                    <a:pt x="0" y="179"/>
                  </a:lnTo>
                  <a:lnTo>
                    <a:pt x="10" y="179"/>
                  </a:lnTo>
                  <a:lnTo>
                    <a:pt x="10" y="190"/>
                  </a:lnTo>
                  <a:lnTo>
                    <a:pt x="13" y="190"/>
                  </a:lnTo>
                  <a:lnTo>
                    <a:pt x="13" y="179"/>
                  </a:lnTo>
                  <a:lnTo>
                    <a:pt x="30" y="179"/>
                  </a:lnTo>
                  <a:lnTo>
                    <a:pt x="30" y="183"/>
                  </a:lnTo>
                  <a:lnTo>
                    <a:pt x="32" y="183"/>
                  </a:lnTo>
                  <a:lnTo>
                    <a:pt x="32" y="179"/>
                  </a:lnTo>
                  <a:lnTo>
                    <a:pt x="49" y="179"/>
                  </a:lnTo>
                  <a:lnTo>
                    <a:pt x="49" y="190"/>
                  </a:lnTo>
                  <a:lnTo>
                    <a:pt x="51" y="190"/>
                  </a:lnTo>
                  <a:lnTo>
                    <a:pt x="51" y="179"/>
                  </a:lnTo>
                  <a:lnTo>
                    <a:pt x="68" y="179"/>
                  </a:lnTo>
                  <a:lnTo>
                    <a:pt x="68" y="183"/>
                  </a:lnTo>
                  <a:lnTo>
                    <a:pt x="72" y="183"/>
                  </a:lnTo>
                  <a:lnTo>
                    <a:pt x="72" y="179"/>
                  </a:lnTo>
                  <a:lnTo>
                    <a:pt x="89" y="179"/>
                  </a:lnTo>
                  <a:lnTo>
                    <a:pt x="89" y="190"/>
                  </a:lnTo>
                  <a:lnTo>
                    <a:pt x="91" y="190"/>
                  </a:lnTo>
                  <a:lnTo>
                    <a:pt x="91" y="179"/>
                  </a:lnTo>
                  <a:lnTo>
                    <a:pt x="108" y="179"/>
                  </a:lnTo>
                  <a:lnTo>
                    <a:pt x="108" y="183"/>
                  </a:lnTo>
                  <a:lnTo>
                    <a:pt x="110" y="183"/>
                  </a:lnTo>
                  <a:lnTo>
                    <a:pt x="110" y="179"/>
                  </a:lnTo>
                  <a:lnTo>
                    <a:pt x="127" y="179"/>
                  </a:lnTo>
                  <a:lnTo>
                    <a:pt x="127" y="190"/>
                  </a:lnTo>
                  <a:lnTo>
                    <a:pt x="130" y="190"/>
                  </a:lnTo>
                  <a:lnTo>
                    <a:pt x="130" y="183"/>
                  </a:lnTo>
                  <a:lnTo>
                    <a:pt x="130" y="179"/>
                  </a:lnTo>
                  <a:lnTo>
                    <a:pt x="147" y="179"/>
                  </a:lnTo>
                  <a:lnTo>
                    <a:pt x="147" y="183"/>
                  </a:lnTo>
                  <a:lnTo>
                    <a:pt x="151" y="183"/>
                  </a:lnTo>
                  <a:lnTo>
                    <a:pt x="151" y="179"/>
                  </a:lnTo>
                  <a:lnTo>
                    <a:pt x="168" y="179"/>
                  </a:lnTo>
                  <a:lnTo>
                    <a:pt x="168" y="190"/>
                  </a:lnTo>
                  <a:lnTo>
                    <a:pt x="170" y="190"/>
                  </a:lnTo>
                  <a:lnTo>
                    <a:pt x="170" y="179"/>
                  </a:lnTo>
                  <a:lnTo>
                    <a:pt x="187" y="179"/>
                  </a:lnTo>
                  <a:lnTo>
                    <a:pt x="187" y="183"/>
                  </a:lnTo>
                  <a:lnTo>
                    <a:pt x="189" y="183"/>
                  </a:lnTo>
                  <a:lnTo>
                    <a:pt x="189" y="179"/>
                  </a:lnTo>
                  <a:lnTo>
                    <a:pt x="206" y="179"/>
                  </a:lnTo>
                  <a:lnTo>
                    <a:pt x="206" y="183"/>
                  </a:lnTo>
                  <a:lnTo>
                    <a:pt x="206" y="190"/>
                  </a:lnTo>
                  <a:lnTo>
                    <a:pt x="208" y="190"/>
                  </a:lnTo>
                  <a:lnTo>
                    <a:pt x="208" y="179"/>
                  </a:lnTo>
                  <a:lnTo>
                    <a:pt x="225" y="179"/>
                  </a:lnTo>
                  <a:lnTo>
                    <a:pt x="225" y="183"/>
                  </a:lnTo>
                  <a:lnTo>
                    <a:pt x="230" y="183"/>
                  </a:lnTo>
                  <a:lnTo>
                    <a:pt x="230" y="179"/>
                  </a:lnTo>
                  <a:lnTo>
                    <a:pt x="247" y="179"/>
                  </a:lnTo>
                  <a:lnTo>
                    <a:pt x="247" y="190"/>
                  </a:lnTo>
                  <a:lnTo>
                    <a:pt x="249" y="190"/>
                  </a:lnTo>
                  <a:lnTo>
                    <a:pt x="249" y="179"/>
                  </a:lnTo>
                  <a:lnTo>
                    <a:pt x="266" y="179"/>
                  </a:lnTo>
                  <a:lnTo>
                    <a:pt x="266" y="183"/>
                  </a:lnTo>
                  <a:lnTo>
                    <a:pt x="268" y="183"/>
                  </a:lnTo>
                  <a:lnTo>
                    <a:pt x="268" y="179"/>
                  </a:lnTo>
                  <a:lnTo>
                    <a:pt x="285" y="179"/>
                  </a:lnTo>
                  <a:lnTo>
                    <a:pt x="285" y="190"/>
                  </a:lnTo>
                  <a:lnTo>
                    <a:pt x="287" y="190"/>
                  </a:lnTo>
                  <a:lnTo>
                    <a:pt x="287" y="179"/>
                  </a:lnTo>
                  <a:lnTo>
                    <a:pt x="296" y="179"/>
                  </a:lnTo>
                  <a:lnTo>
                    <a:pt x="296" y="17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3" name="Rectangle 935"/>
            <p:cNvSpPr>
              <a:spLocks noChangeArrowheads="1"/>
            </p:cNvSpPr>
            <p:nvPr/>
          </p:nvSpPr>
          <p:spPr bwMode="auto">
            <a:xfrm>
              <a:off x="788558" y="804320"/>
              <a:ext cx="1344804" cy="819987"/>
            </a:xfrm>
            <a:prstGeom prst="rect">
              <a:avLst/>
            </a:prstGeom>
            <a:gradFill flip="none" rotWithShape="1">
              <a:gsLst>
                <a:gs pos="0">
                  <a:srgbClr val="003283"/>
                </a:gs>
                <a:gs pos="100000">
                  <a:srgbClr val="008FD3"/>
                </a:gs>
              </a:gsLst>
              <a:lin ang="16200000" scaled="0"/>
              <a:tileRect/>
            </a:gradFill>
            <a:ln w="9525">
              <a:noFill/>
              <a:miter lim="800000"/>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4" name="Freeform 936"/>
            <p:cNvSpPr>
              <a:spLocks noEditPoints="1"/>
            </p:cNvSpPr>
            <p:nvPr/>
          </p:nvSpPr>
          <p:spPr bwMode="auto">
            <a:xfrm>
              <a:off x="615515" y="701824"/>
              <a:ext cx="1666175" cy="1059151"/>
            </a:xfrm>
            <a:custGeom>
              <a:avLst/>
              <a:gdLst/>
              <a:ahLst/>
              <a:cxnLst>
                <a:cxn ang="0">
                  <a:pos x="0" y="0"/>
                </a:cxn>
                <a:cxn ang="0">
                  <a:pos x="0" y="217"/>
                </a:cxn>
                <a:cxn ang="0">
                  <a:pos x="337" y="217"/>
                </a:cxn>
                <a:cxn ang="0">
                  <a:pos x="337" y="0"/>
                </a:cxn>
                <a:cxn ang="0">
                  <a:pos x="0" y="0"/>
                </a:cxn>
                <a:cxn ang="0">
                  <a:pos x="335" y="215"/>
                </a:cxn>
                <a:cxn ang="0">
                  <a:pos x="3" y="215"/>
                </a:cxn>
                <a:cxn ang="0">
                  <a:pos x="3" y="2"/>
                </a:cxn>
                <a:cxn ang="0">
                  <a:pos x="335" y="2"/>
                </a:cxn>
                <a:cxn ang="0">
                  <a:pos x="335" y="215"/>
                </a:cxn>
              </a:cxnLst>
              <a:rect l="0" t="0" r="r" b="b"/>
              <a:pathLst>
                <a:path w="337" h="217">
                  <a:moveTo>
                    <a:pt x="0" y="0"/>
                  </a:moveTo>
                  <a:lnTo>
                    <a:pt x="0" y="217"/>
                  </a:lnTo>
                  <a:lnTo>
                    <a:pt x="337" y="217"/>
                  </a:lnTo>
                  <a:lnTo>
                    <a:pt x="337" y="0"/>
                  </a:lnTo>
                  <a:lnTo>
                    <a:pt x="0" y="0"/>
                  </a:lnTo>
                  <a:close/>
                  <a:moveTo>
                    <a:pt x="335" y="215"/>
                  </a:moveTo>
                  <a:lnTo>
                    <a:pt x="3" y="215"/>
                  </a:lnTo>
                  <a:lnTo>
                    <a:pt x="3" y="2"/>
                  </a:lnTo>
                  <a:lnTo>
                    <a:pt x="335" y="2"/>
                  </a:lnTo>
                  <a:lnTo>
                    <a:pt x="335" y="215"/>
                  </a:ln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5" name="Rectangle 937"/>
            <p:cNvSpPr>
              <a:spLocks noChangeArrowheads="1"/>
            </p:cNvSpPr>
            <p:nvPr/>
          </p:nvSpPr>
          <p:spPr bwMode="auto">
            <a:xfrm>
              <a:off x="966547" y="1346099"/>
              <a:ext cx="207654" cy="28797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6" name="Rectangle 938"/>
            <p:cNvSpPr>
              <a:spLocks noChangeArrowheads="1"/>
            </p:cNvSpPr>
            <p:nvPr/>
          </p:nvSpPr>
          <p:spPr bwMode="auto">
            <a:xfrm>
              <a:off x="1352189" y="1155743"/>
              <a:ext cx="212599" cy="478326"/>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sp>
          <p:nvSpPr>
            <p:cNvPr id="877" name="Rectangle 939"/>
            <p:cNvSpPr>
              <a:spLocks noChangeArrowheads="1"/>
            </p:cNvSpPr>
            <p:nvPr/>
          </p:nvSpPr>
          <p:spPr bwMode="auto">
            <a:xfrm>
              <a:off x="1742777" y="980032"/>
              <a:ext cx="212599" cy="654037"/>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3283"/>
                </a:solidFill>
              </a:endParaRPr>
            </a:p>
          </p:txBody>
        </p:sp>
      </p:grpSp>
      <p:grpSp>
        <p:nvGrpSpPr>
          <p:cNvPr id="8" name="Group 161"/>
          <p:cNvGrpSpPr/>
          <p:nvPr/>
        </p:nvGrpSpPr>
        <p:grpSpPr>
          <a:xfrm>
            <a:off x="1268918" y="2913492"/>
            <a:ext cx="205375" cy="351288"/>
            <a:chOff x="773077" y="569047"/>
            <a:chExt cx="1195573" cy="1474905"/>
          </a:xfrm>
        </p:grpSpPr>
        <p:sp>
          <p:nvSpPr>
            <p:cNvPr id="879" name="Freeform 520"/>
            <p:cNvSpPr>
              <a:spLocks/>
            </p:cNvSpPr>
            <p:nvPr/>
          </p:nvSpPr>
          <p:spPr bwMode="auto">
            <a:xfrm>
              <a:off x="773077" y="569047"/>
              <a:ext cx="1195573" cy="1474905"/>
            </a:xfrm>
            <a:custGeom>
              <a:avLst/>
              <a:gdLst/>
              <a:ahLst/>
              <a:cxnLst>
                <a:cxn ang="0">
                  <a:pos x="15" y="205"/>
                </a:cxn>
                <a:cxn ang="0">
                  <a:pos x="146" y="205"/>
                </a:cxn>
                <a:cxn ang="0">
                  <a:pos x="160" y="191"/>
                </a:cxn>
                <a:cxn ang="0">
                  <a:pos x="160" y="14"/>
                </a:cxn>
                <a:cxn ang="0">
                  <a:pos x="146" y="0"/>
                </a:cxn>
                <a:cxn ang="0">
                  <a:pos x="15" y="0"/>
                </a:cxn>
                <a:cxn ang="0">
                  <a:pos x="0" y="14"/>
                </a:cxn>
                <a:cxn ang="0">
                  <a:pos x="0" y="191"/>
                </a:cxn>
                <a:cxn ang="0">
                  <a:pos x="15" y="205"/>
                </a:cxn>
              </a:cxnLst>
              <a:rect l="0" t="0" r="r" b="b"/>
              <a:pathLst>
                <a:path w="160" h="205">
                  <a:moveTo>
                    <a:pt x="15" y="205"/>
                  </a:moveTo>
                  <a:cubicBezTo>
                    <a:pt x="146" y="205"/>
                    <a:pt x="146" y="205"/>
                    <a:pt x="146" y="205"/>
                  </a:cubicBezTo>
                  <a:cubicBezTo>
                    <a:pt x="155" y="205"/>
                    <a:pt x="160" y="201"/>
                    <a:pt x="160" y="191"/>
                  </a:cubicBezTo>
                  <a:cubicBezTo>
                    <a:pt x="160" y="14"/>
                    <a:pt x="160" y="14"/>
                    <a:pt x="160" y="14"/>
                  </a:cubicBezTo>
                  <a:cubicBezTo>
                    <a:pt x="160" y="4"/>
                    <a:pt x="155" y="0"/>
                    <a:pt x="146" y="0"/>
                  </a:cubicBezTo>
                  <a:cubicBezTo>
                    <a:pt x="15" y="0"/>
                    <a:pt x="15" y="0"/>
                    <a:pt x="15" y="0"/>
                  </a:cubicBezTo>
                  <a:cubicBezTo>
                    <a:pt x="5" y="0"/>
                    <a:pt x="0" y="4"/>
                    <a:pt x="0" y="14"/>
                  </a:cubicBezTo>
                  <a:cubicBezTo>
                    <a:pt x="0" y="191"/>
                    <a:pt x="0" y="191"/>
                    <a:pt x="0" y="191"/>
                  </a:cubicBezTo>
                  <a:cubicBezTo>
                    <a:pt x="0" y="201"/>
                    <a:pt x="5" y="205"/>
                    <a:pt x="15" y="205"/>
                  </a:cubicBezTo>
                  <a:close/>
                </a:path>
              </a:pathLst>
            </a:custGeom>
            <a:gradFill flip="none" rotWithShape="1">
              <a:gsLst>
                <a:gs pos="0">
                  <a:srgbClr val="008FD3"/>
                </a:gs>
                <a:gs pos="100000">
                  <a:srgbClr val="003283"/>
                </a:gs>
              </a:gsLst>
              <a:lin ang="5400000" scaled="0"/>
              <a:tileRect/>
            </a:grad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0000"/>
                </a:solidFill>
              </a:endParaRPr>
            </a:p>
          </p:txBody>
        </p:sp>
        <p:sp>
          <p:nvSpPr>
            <p:cNvPr id="880" name="Freeform 521"/>
            <p:cNvSpPr>
              <a:spLocks noEditPoints="1"/>
            </p:cNvSpPr>
            <p:nvPr/>
          </p:nvSpPr>
          <p:spPr bwMode="auto">
            <a:xfrm>
              <a:off x="913733" y="717891"/>
              <a:ext cx="903714" cy="1123093"/>
            </a:xfrm>
            <a:custGeom>
              <a:avLst/>
              <a:gdLst/>
              <a:ahLst/>
              <a:cxnLst>
                <a:cxn ang="0">
                  <a:pos x="120" y="0"/>
                </a:cxn>
                <a:cxn ang="0">
                  <a:pos x="1" y="0"/>
                </a:cxn>
                <a:cxn ang="0">
                  <a:pos x="0" y="1"/>
                </a:cxn>
                <a:cxn ang="0">
                  <a:pos x="0" y="155"/>
                </a:cxn>
                <a:cxn ang="0">
                  <a:pos x="1" y="156"/>
                </a:cxn>
                <a:cxn ang="0">
                  <a:pos x="120" y="156"/>
                </a:cxn>
                <a:cxn ang="0">
                  <a:pos x="121" y="155"/>
                </a:cxn>
                <a:cxn ang="0">
                  <a:pos x="121" y="1"/>
                </a:cxn>
                <a:cxn ang="0">
                  <a:pos x="120" y="0"/>
                </a:cxn>
                <a:cxn ang="0">
                  <a:pos x="115" y="150"/>
                </a:cxn>
                <a:cxn ang="0">
                  <a:pos x="6" y="150"/>
                </a:cxn>
                <a:cxn ang="0">
                  <a:pos x="6" y="6"/>
                </a:cxn>
                <a:cxn ang="0">
                  <a:pos x="115" y="6"/>
                </a:cxn>
                <a:cxn ang="0">
                  <a:pos x="115" y="150"/>
                </a:cxn>
              </a:cxnLst>
              <a:rect l="0" t="0" r="r" b="b"/>
              <a:pathLst>
                <a:path w="121" h="156">
                  <a:moveTo>
                    <a:pt x="120" y="0"/>
                  </a:moveTo>
                  <a:cubicBezTo>
                    <a:pt x="1" y="0"/>
                    <a:pt x="1" y="0"/>
                    <a:pt x="1" y="0"/>
                  </a:cubicBezTo>
                  <a:cubicBezTo>
                    <a:pt x="0" y="0"/>
                    <a:pt x="0" y="1"/>
                    <a:pt x="0" y="1"/>
                  </a:cubicBezTo>
                  <a:cubicBezTo>
                    <a:pt x="0" y="155"/>
                    <a:pt x="0" y="155"/>
                    <a:pt x="0" y="155"/>
                  </a:cubicBezTo>
                  <a:cubicBezTo>
                    <a:pt x="0" y="156"/>
                    <a:pt x="0" y="156"/>
                    <a:pt x="1" y="156"/>
                  </a:cubicBezTo>
                  <a:cubicBezTo>
                    <a:pt x="120" y="156"/>
                    <a:pt x="120" y="156"/>
                    <a:pt x="120" y="156"/>
                  </a:cubicBezTo>
                  <a:cubicBezTo>
                    <a:pt x="121" y="156"/>
                    <a:pt x="121" y="156"/>
                    <a:pt x="121" y="155"/>
                  </a:cubicBezTo>
                  <a:cubicBezTo>
                    <a:pt x="121" y="1"/>
                    <a:pt x="121" y="1"/>
                    <a:pt x="121" y="1"/>
                  </a:cubicBezTo>
                  <a:cubicBezTo>
                    <a:pt x="121" y="1"/>
                    <a:pt x="121" y="0"/>
                    <a:pt x="120" y="0"/>
                  </a:cubicBezTo>
                  <a:close/>
                  <a:moveTo>
                    <a:pt x="115" y="150"/>
                  </a:moveTo>
                  <a:cubicBezTo>
                    <a:pt x="6" y="150"/>
                    <a:pt x="6" y="150"/>
                    <a:pt x="6" y="150"/>
                  </a:cubicBezTo>
                  <a:cubicBezTo>
                    <a:pt x="6" y="6"/>
                    <a:pt x="6" y="6"/>
                    <a:pt x="6" y="6"/>
                  </a:cubicBezTo>
                  <a:cubicBezTo>
                    <a:pt x="115" y="6"/>
                    <a:pt x="115" y="6"/>
                    <a:pt x="115" y="6"/>
                  </a:cubicBezTo>
                  <a:lnTo>
                    <a:pt x="115" y="15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0000"/>
                </a:solidFill>
              </a:endParaRPr>
            </a:p>
          </p:txBody>
        </p:sp>
        <p:sp>
          <p:nvSpPr>
            <p:cNvPr id="881" name="Oval 522"/>
            <p:cNvSpPr>
              <a:spLocks noChangeArrowheads="1"/>
            </p:cNvSpPr>
            <p:nvPr/>
          </p:nvSpPr>
          <p:spPr bwMode="auto">
            <a:xfrm>
              <a:off x="1353283" y="1905258"/>
              <a:ext cx="77361" cy="81187"/>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defTabSz="913627"/>
              <a:endParaRPr lang="en-US" sz="2000" dirty="0">
                <a:solidFill>
                  <a:srgbClr val="000000"/>
                </a:solidFill>
              </a:endParaRPr>
            </a:p>
          </p:txBody>
        </p:sp>
      </p:grpSp>
      <p:grpSp>
        <p:nvGrpSpPr>
          <p:cNvPr id="9" name="Group 165"/>
          <p:cNvGrpSpPr/>
          <p:nvPr/>
        </p:nvGrpSpPr>
        <p:grpSpPr>
          <a:xfrm>
            <a:off x="1135386" y="5644104"/>
            <a:ext cx="472439" cy="301553"/>
            <a:chOff x="5323760" y="4389399"/>
            <a:chExt cx="1360891" cy="784593"/>
          </a:xfrm>
        </p:grpSpPr>
        <p:sp>
          <p:nvSpPr>
            <p:cNvPr id="883" name="Freeform 3"/>
            <p:cNvSpPr/>
            <p:nvPr/>
          </p:nvSpPr>
          <p:spPr>
            <a:xfrm>
              <a:off x="5685912" y="4389399"/>
              <a:ext cx="998739" cy="251785"/>
            </a:xfrm>
            <a:custGeom>
              <a:avLst/>
              <a:gdLst>
                <a:gd name="connsiteX0" fmla="*/ 0 w 561644"/>
                <a:gd name="connsiteY0" fmla="*/ 70802 h 141592"/>
                <a:gd name="connsiteX1" fmla="*/ 280809 w 561644"/>
                <a:gd name="connsiteY1" fmla="*/ 141592 h 141592"/>
                <a:gd name="connsiteX2" fmla="*/ 561644 w 561644"/>
                <a:gd name="connsiteY2" fmla="*/ 70853 h 141592"/>
                <a:gd name="connsiteX3" fmla="*/ 561644 w 561644"/>
                <a:gd name="connsiteY3" fmla="*/ 70802 h 141592"/>
                <a:gd name="connsiteX4" fmla="*/ 280809 w 561644"/>
                <a:gd name="connsiteY4" fmla="*/ 0 h 141592"/>
                <a:gd name="connsiteX5" fmla="*/ 0 w 561644"/>
                <a:gd name="connsiteY5" fmla="*/ 70802 h 141592"/>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Lst>
              <a:rect l="l" t="t" r="r" b="b"/>
              <a:pathLst>
                <a:path w="561644" h="141592">
                  <a:moveTo>
                    <a:pt x="0" y="70802"/>
                  </a:moveTo>
                  <a:cubicBezTo>
                    <a:pt x="0" y="109905"/>
                    <a:pt x="125717" y="141592"/>
                    <a:pt x="280809" y="141592"/>
                  </a:cubicBezTo>
                  <a:cubicBezTo>
                    <a:pt x="435826" y="141592"/>
                    <a:pt x="561518" y="109931"/>
                    <a:pt x="561644" y="70853"/>
                  </a:cubicBezTo>
                  <a:lnTo>
                    <a:pt x="561644" y="70802"/>
                  </a:lnTo>
                  <a:cubicBezTo>
                    <a:pt x="561644" y="31699"/>
                    <a:pt x="435914" y="0"/>
                    <a:pt x="280809" y="0"/>
                  </a:cubicBezTo>
                  <a:cubicBezTo>
                    <a:pt x="125717" y="0"/>
                    <a:pt x="0" y="31699"/>
                    <a:pt x="0" y="70802"/>
                  </a:cubicBezTo>
                </a:path>
              </a:pathLst>
            </a:custGeom>
            <a:gradFill flip="none" rotWithShape="1">
              <a:gsLst>
                <a:gs pos="0">
                  <a:srgbClr val="0076CB"/>
                </a:gs>
                <a:gs pos="100000">
                  <a:srgbClr val="003283"/>
                </a:gs>
              </a:gsLst>
              <a:lin ang="54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84" name="Freeform 3"/>
            <p:cNvSpPr/>
            <p:nvPr/>
          </p:nvSpPr>
          <p:spPr>
            <a:xfrm>
              <a:off x="5685904" y="4542474"/>
              <a:ext cx="998741" cy="237895"/>
            </a:xfrm>
            <a:custGeom>
              <a:avLst/>
              <a:gdLst>
                <a:gd name="connsiteX0" fmla="*/ 561644 w 561645"/>
                <a:gd name="connsiteY0" fmla="*/ 0 h 133781"/>
                <a:gd name="connsiteX1" fmla="*/ 280822 w 561645"/>
                <a:gd name="connsiteY1" fmla="*/ 62991 h 133781"/>
                <a:gd name="connsiteX2" fmla="*/ 0 w 561645"/>
                <a:gd name="connsiteY2" fmla="*/ 736 h 133781"/>
                <a:gd name="connsiteX3" fmla="*/ 0 w 561645"/>
                <a:gd name="connsiteY3" fmla="*/ 61124 h 133781"/>
                <a:gd name="connsiteX4" fmla="*/ 101 w 561645"/>
                <a:gd name="connsiteY4" fmla="*/ 61124 h 133781"/>
                <a:gd name="connsiteX5" fmla="*/ 0 w 561645"/>
                <a:gd name="connsiteY5" fmla="*/ 62991 h 133781"/>
                <a:gd name="connsiteX6" fmla="*/ 7544 w 561645"/>
                <a:gd name="connsiteY6" fmla="*/ 79273 h 133781"/>
                <a:gd name="connsiteX7" fmla="*/ 20154 w 561645"/>
                <a:gd name="connsiteY7" fmla="*/ 84658 h 133781"/>
                <a:gd name="connsiteX8" fmla="*/ 63004 w 561645"/>
                <a:gd name="connsiteY8" fmla="*/ 55143 h 133781"/>
                <a:gd name="connsiteX9" fmla="*/ 98221 w 561645"/>
                <a:gd name="connsiteY9" fmla="*/ 90982 h 133781"/>
                <a:gd name="connsiteX10" fmla="*/ 82423 w 561645"/>
                <a:gd name="connsiteY10" fmla="*/ 113080 h 133781"/>
                <a:gd name="connsiteX11" fmla="*/ 280822 w 561645"/>
                <a:gd name="connsiteY11" fmla="*/ 133781 h 133781"/>
                <a:gd name="connsiteX12" fmla="*/ 561644 w 561645"/>
                <a:gd name="connsiteY12" fmla="*/ 62991 h 133781"/>
                <a:gd name="connsiteX13" fmla="*/ 561518 w 561645"/>
                <a:gd name="connsiteY13" fmla="*/ 61124 h 133781"/>
                <a:gd name="connsiteX14" fmla="*/ 561644 w 561645"/>
                <a:gd name="connsiteY14" fmla="*/ 61124 h 133781"/>
                <a:gd name="connsiteX15" fmla="*/ 561644 w 561645"/>
                <a:gd name="connsiteY15" fmla="*/ 0 h 13378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Lst>
              <a:rect l="l" t="t" r="r" b="b"/>
              <a:pathLst>
                <a:path w="561645" h="133781">
                  <a:moveTo>
                    <a:pt x="561644" y="0"/>
                  </a:moveTo>
                  <a:cubicBezTo>
                    <a:pt x="549871" y="32575"/>
                    <a:pt x="435838" y="62991"/>
                    <a:pt x="280822" y="62991"/>
                  </a:cubicBezTo>
                  <a:cubicBezTo>
                    <a:pt x="125730" y="62991"/>
                    <a:pt x="16421" y="34950"/>
                    <a:pt x="0" y="736"/>
                  </a:cubicBezTo>
                  <a:lnTo>
                    <a:pt x="0" y="61124"/>
                  </a:lnTo>
                  <a:lnTo>
                    <a:pt x="101" y="61124"/>
                  </a:lnTo>
                  <a:cubicBezTo>
                    <a:pt x="50" y="61734"/>
                    <a:pt x="0" y="62356"/>
                    <a:pt x="0" y="62991"/>
                  </a:cubicBezTo>
                  <a:cubicBezTo>
                    <a:pt x="0" y="68592"/>
                    <a:pt x="2654" y="74053"/>
                    <a:pt x="7544" y="79273"/>
                  </a:cubicBezTo>
                  <a:lnTo>
                    <a:pt x="20154" y="84658"/>
                  </a:lnTo>
                  <a:lnTo>
                    <a:pt x="63004" y="55143"/>
                  </a:lnTo>
                  <a:lnTo>
                    <a:pt x="98221" y="90982"/>
                  </a:lnTo>
                  <a:lnTo>
                    <a:pt x="82423" y="113080"/>
                  </a:lnTo>
                  <a:cubicBezTo>
                    <a:pt x="133223" y="125882"/>
                    <a:pt x="203365" y="133781"/>
                    <a:pt x="280822" y="133781"/>
                  </a:cubicBezTo>
                  <a:cubicBezTo>
                    <a:pt x="435927" y="133781"/>
                    <a:pt x="561644" y="102069"/>
                    <a:pt x="561644" y="62991"/>
                  </a:cubicBezTo>
                  <a:cubicBezTo>
                    <a:pt x="561644" y="62356"/>
                    <a:pt x="561581" y="61734"/>
                    <a:pt x="561518" y="61124"/>
                  </a:cubicBezTo>
                  <a:lnTo>
                    <a:pt x="561644" y="61124"/>
                  </a:lnTo>
                  <a:lnTo>
                    <a:pt x="561644" y="0"/>
                  </a:lnTo>
                </a:path>
              </a:pathLst>
            </a:custGeom>
            <a:gradFill flip="none" rotWithShape="1">
              <a:gsLst>
                <a:gs pos="0">
                  <a:srgbClr val="0076CB"/>
                </a:gs>
                <a:gs pos="100000">
                  <a:srgbClr val="003283"/>
                </a:gs>
              </a:gsLst>
              <a:lin ang="54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85" name="Freeform 3"/>
            <p:cNvSpPr/>
            <p:nvPr/>
          </p:nvSpPr>
          <p:spPr>
            <a:xfrm>
              <a:off x="5806727" y="4684349"/>
              <a:ext cx="877918" cy="237918"/>
            </a:xfrm>
            <a:custGeom>
              <a:avLst/>
              <a:gdLst>
                <a:gd name="connsiteX0" fmla="*/ 493699 w 493700"/>
                <a:gd name="connsiteY0" fmla="*/ 0 h 133794"/>
                <a:gd name="connsiteX1" fmla="*/ 212877 w 493700"/>
                <a:gd name="connsiteY1" fmla="*/ 62991 h 133794"/>
                <a:gd name="connsiteX2" fmla="*/ 8445 w 493700"/>
                <a:gd name="connsiteY2" fmla="*/ 41706 h 133794"/>
                <a:gd name="connsiteX3" fmla="*/ 0 w 493700"/>
                <a:gd name="connsiteY3" fmla="*/ 53530 h 133794"/>
                <a:gd name="connsiteX4" fmla="*/ 10198 w 493700"/>
                <a:gd name="connsiteY4" fmla="*/ 78778 h 133794"/>
                <a:gd name="connsiteX5" fmla="*/ 61366 w 493700"/>
                <a:gd name="connsiteY5" fmla="*/ 88213 h 133794"/>
                <a:gd name="connsiteX6" fmla="*/ 61048 w 493700"/>
                <a:gd name="connsiteY6" fmla="*/ 122542 h 133794"/>
                <a:gd name="connsiteX7" fmla="*/ 212877 w 493700"/>
                <a:gd name="connsiteY7" fmla="*/ 133794 h 133794"/>
                <a:gd name="connsiteX8" fmla="*/ 493699 w 493700"/>
                <a:gd name="connsiteY8" fmla="*/ 62991 h 133794"/>
                <a:gd name="connsiteX9" fmla="*/ 493572 w 493700"/>
                <a:gd name="connsiteY9" fmla="*/ 61124 h 133794"/>
                <a:gd name="connsiteX10" fmla="*/ 493699 w 493700"/>
                <a:gd name="connsiteY10" fmla="*/ 61124 h 133794"/>
                <a:gd name="connsiteX11" fmla="*/ 493699 w 493700"/>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3700" h="133794">
                  <a:moveTo>
                    <a:pt x="493699" y="0"/>
                  </a:moveTo>
                  <a:cubicBezTo>
                    <a:pt x="481926" y="32562"/>
                    <a:pt x="367893" y="62991"/>
                    <a:pt x="212877" y="62991"/>
                  </a:cubicBezTo>
                  <a:cubicBezTo>
                    <a:pt x="128739" y="62991"/>
                    <a:pt x="58127" y="54736"/>
                    <a:pt x="8445" y="41706"/>
                  </a:cubicBezTo>
                  <a:lnTo>
                    <a:pt x="0" y="53530"/>
                  </a:lnTo>
                  <a:lnTo>
                    <a:pt x="10198" y="78778"/>
                  </a:lnTo>
                  <a:lnTo>
                    <a:pt x="61366" y="88213"/>
                  </a:lnTo>
                  <a:lnTo>
                    <a:pt x="61048" y="122542"/>
                  </a:lnTo>
                  <a:cubicBezTo>
                    <a:pt x="104825" y="129654"/>
                    <a:pt x="156908" y="133794"/>
                    <a:pt x="212877" y="133794"/>
                  </a:cubicBezTo>
                  <a:cubicBezTo>
                    <a:pt x="367982" y="133794"/>
                    <a:pt x="493699" y="102082"/>
                    <a:pt x="493699" y="62991"/>
                  </a:cubicBezTo>
                  <a:cubicBezTo>
                    <a:pt x="493699" y="62357"/>
                    <a:pt x="493636" y="61734"/>
                    <a:pt x="493572" y="61124"/>
                  </a:cubicBezTo>
                  <a:lnTo>
                    <a:pt x="493699" y="61124"/>
                  </a:lnTo>
                  <a:lnTo>
                    <a:pt x="493699" y="0"/>
                  </a:lnTo>
                </a:path>
              </a:pathLst>
            </a:custGeom>
            <a:gradFill flip="none" rotWithShape="1">
              <a:gsLst>
                <a:gs pos="0">
                  <a:srgbClr val="0076CB"/>
                </a:gs>
                <a:gs pos="100000">
                  <a:srgbClr val="003283"/>
                </a:gs>
              </a:gsLst>
              <a:lin ang="54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86" name="Freeform 3"/>
            <p:cNvSpPr/>
            <p:nvPr/>
          </p:nvSpPr>
          <p:spPr>
            <a:xfrm>
              <a:off x="5804832" y="4827505"/>
              <a:ext cx="879814" cy="237918"/>
            </a:xfrm>
            <a:custGeom>
              <a:avLst/>
              <a:gdLst>
                <a:gd name="connsiteX0" fmla="*/ 494766 w 494766"/>
                <a:gd name="connsiteY0" fmla="*/ 0 h 133794"/>
                <a:gd name="connsiteX1" fmla="*/ 213943 w 494766"/>
                <a:gd name="connsiteY1" fmla="*/ 62991 h 133794"/>
                <a:gd name="connsiteX2" fmla="*/ 62001 w 494766"/>
                <a:gd name="connsiteY2" fmla="*/ 52438 h 133794"/>
                <a:gd name="connsiteX3" fmla="*/ 61950 w 494766"/>
                <a:gd name="connsiteY3" fmla="*/ 57949 h 133794"/>
                <a:gd name="connsiteX4" fmla="*/ 10667 w 494766"/>
                <a:gd name="connsiteY4" fmla="*/ 66420 h 133794"/>
                <a:gd name="connsiteX5" fmla="*/ 0 w 494766"/>
                <a:gd name="connsiteY5" fmla="*/ 91528 h 133794"/>
                <a:gd name="connsiteX6" fmla="*/ 14668 w 494766"/>
                <a:gd name="connsiteY6" fmla="*/ 112864 h 133794"/>
                <a:gd name="connsiteX7" fmla="*/ 213943 w 494766"/>
                <a:gd name="connsiteY7" fmla="*/ 133794 h 133794"/>
                <a:gd name="connsiteX8" fmla="*/ 494766 w 494766"/>
                <a:gd name="connsiteY8" fmla="*/ 62991 h 133794"/>
                <a:gd name="connsiteX9" fmla="*/ 494639 w 494766"/>
                <a:gd name="connsiteY9" fmla="*/ 61124 h 133794"/>
                <a:gd name="connsiteX10" fmla="*/ 494766 w 494766"/>
                <a:gd name="connsiteY10" fmla="*/ 61124 h 133794"/>
                <a:gd name="connsiteX11" fmla="*/ 494766 w 494766"/>
                <a:gd name="connsiteY11" fmla="*/ 0 h 133794"/>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Lst>
              <a:rect l="l" t="t" r="r" b="b"/>
              <a:pathLst>
                <a:path w="494766" h="133794">
                  <a:moveTo>
                    <a:pt x="494766" y="0"/>
                  </a:moveTo>
                  <a:cubicBezTo>
                    <a:pt x="482993" y="32575"/>
                    <a:pt x="368960" y="62991"/>
                    <a:pt x="213943" y="62991"/>
                  </a:cubicBezTo>
                  <a:cubicBezTo>
                    <a:pt x="156121" y="62991"/>
                    <a:pt x="104660" y="59080"/>
                    <a:pt x="62001" y="52438"/>
                  </a:cubicBezTo>
                  <a:lnTo>
                    <a:pt x="61950" y="57949"/>
                  </a:lnTo>
                  <a:lnTo>
                    <a:pt x="10667" y="66420"/>
                  </a:lnTo>
                  <a:lnTo>
                    <a:pt x="0" y="91528"/>
                  </a:lnTo>
                  <a:lnTo>
                    <a:pt x="14668" y="112864"/>
                  </a:lnTo>
                  <a:cubicBezTo>
                    <a:pt x="65544" y="125793"/>
                    <a:pt x="136054" y="133794"/>
                    <a:pt x="213943" y="133794"/>
                  </a:cubicBezTo>
                  <a:cubicBezTo>
                    <a:pt x="369049" y="133794"/>
                    <a:pt x="494766" y="102082"/>
                    <a:pt x="494766" y="62991"/>
                  </a:cubicBezTo>
                  <a:cubicBezTo>
                    <a:pt x="494766" y="62357"/>
                    <a:pt x="494703" y="61747"/>
                    <a:pt x="494639" y="61124"/>
                  </a:cubicBezTo>
                  <a:lnTo>
                    <a:pt x="494766" y="61124"/>
                  </a:lnTo>
                  <a:lnTo>
                    <a:pt x="494766" y="0"/>
                  </a:lnTo>
                </a:path>
              </a:pathLst>
            </a:custGeom>
            <a:gradFill flip="none" rotWithShape="1">
              <a:gsLst>
                <a:gs pos="0">
                  <a:srgbClr val="0076CB"/>
                </a:gs>
                <a:gs pos="100000">
                  <a:srgbClr val="003283"/>
                </a:gs>
              </a:gsLst>
              <a:lin ang="54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87" name="Freeform 886"/>
            <p:cNvSpPr/>
            <p:nvPr/>
          </p:nvSpPr>
          <p:spPr>
            <a:xfrm>
              <a:off x="5323760" y="4592327"/>
              <a:ext cx="581777" cy="581665"/>
            </a:xfrm>
            <a:custGeom>
              <a:avLst/>
              <a:gdLst>
                <a:gd name="connsiteX0" fmla="*/ 141770 w 327164"/>
                <a:gd name="connsiteY0" fmla="*/ 326758 h 327101"/>
                <a:gd name="connsiteX1" fmla="*/ 182384 w 327164"/>
                <a:gd name="connsiteY1" fmla="*/ 327101 h 327101"/>
                <a:gd name="connsiteX2" fmla="*/ 191515 w 327164"/>
                <a:gd name="connsiteY2" fmla="*/ 277621 h 327101"/>
                <a:gd name="connsiteX3" fmla="*/ 222668 w 327164"/>
                <a:gd name="connsiteY3" fmla="*/ 265061 h 327101"/>
                <a:gd name="connsiteX4" fmla="*/ 263588 w 327164"/>
                <a:gd name="connsiteY4" fmla="*/ 294335 h 327101"/>
                <a:gd name="connsiteX5" fmla="*/ 292544 w 327164"/>
                <a:gd name="connsiteY5" fmla="*/ 265925 h 327101"/>
                <a:gd name="connsiteX6" fmla="*/ 263994 w 327164"/>
                <a:gd name="connsiteY6" fmla="*/ 224447 h 327101"/>
                <a:gd name="connsiteX7" fmla="*/ 277139 w 327164"/>
                <a:gd name="connsiteY7" fmla="*/ 193522 h 327101"/>
                <a:gd name="connsiteX8" fmla="*/ 326783 w 327164"/>
                <a:gd name="connsiteY8" fmla="*/ 185318 h 327101"/>
                <a:gd name="connsiteX9" fmla="*/ 327164 w 327164"/>
                <a:gd name="connsiteY9" fmla="*/ 144741 h 327101"/>
                <a:gd name="connsiteX10" fmla="*/ 277647 w 327164"/>
                <a:gd name="connsiteY10" fmla="*/ 135610 h 327101"/>
                <a:gd name="connsiteX11" fmla="*/ 265086 w 327164"/>
                <a:gd name="connsiteY11" fmla="*/ 104482 h 327101"/>
                <a:gd name="connsiteX12" fmla="*/ 294385 w 327164"/>
                <a:gd name="connsiteY12" fmla="*/ 63525 h 327101"/>
                <a:gd name="connsiteX13" fmla="*/ 265950 w 327164"/>
                <a:gd name="connsiteY13" fmla="*/ 34569 h 327101"/>
                <a:gd name="connsiteX14" fmla="*/ 224497 w 327164"/>
                <a:gd name="connsiteY14" fmla="*/ 63119 h 327101"/>
                <a:gd name="connsiteX15" fmla="*/ 193611 w 327164"/>
                <a:gd name="connsiteY15" fmla="*/ 49987 h 327101"/>
                <a:gd name="connsiteX16" fmla="*/ 185368 w 327164"/>
                <a:gd name="connsiteY16" fmla="*/ 343 h 327101"/>
                <a:gd name="connsiteX17" fmla="*/ 144767 w 327164"/>
                <a:gd name="connsiteY17" fmla="*/ 0 h 327101"/>
                <a:gd name="connsiteX18" fmla="*/ 135661 w 327164"/>
                <a:gd name="connsiteY18" fmla="*/ 49479 h 327101"/>
                <a:gd name="connsiteX19" fmla="*/ 104507 w 327164"/>
                <a:gd name="connsiteY19" fmla="*/ 62014 h 327101"/>
                <a:gd name="connsiteX20" fmla="*/ 63563 w 327164"/>
                <a:gd name="connsiteY20" fmla="*/ 32753 h 327101"/>
                <a:gd name="connsiteX21" fmla="*/ 34619 w 327164"/>
                <a:gd name="connsiteY21" fmla="*/ 61163 h 327101"/>
                <a:gd name="connsiteX22" fmla="*/ 63169 w 327164"/>
                <a:gd name="connsiteY22" fmla="*/ 102641 h 327101"/>
                <a:gd name="connsiteX23" fmla="*/ 50063 w 327164"/>
                <a:gd name="connsiteY23" fmla="*/ 133540 h 327101"/>
                <a:gd name="connsiteX24" fmla="*/ 355 w 327164"/>
                <a:gd name="connsiteY24" fmla="*/ 141795 h 327101"/>
                <a:gd name="connsiteX25" fmla="*/ 0 w 327164"/>
                <a:gd name="connsiteY25" fmla="*/ 182359 h 327101"/>
                <a:gd name="connsiteX26" fmla="*/ 49529 w 327164"/>
                <a:gd name="connsiteY26" fmla="*/ 191465 h 327101"/>
                <a:gd name="connsiteX27" fmla="*/ 62064 w 327164"/>
                <a:gd name="connsiteY27" fmla="*/ 222593 h 327101"/>
                <a:gd name="connsiteX28" fmla="*/ 32791 w 327164"/>
                <a:gd name="connsiteY28" fmla="*/ 263537 h 327101"/>
                <a:gd name="connsiteX29" fmla="*/ 61201 w 327164"/>
                <a:gd name="connsiteY29" fmla="*/ 292481 h 327101"/>
                <a:gd name="connsiteX30" fmla="*/ 102679 w 327164"/>
                <a:gd name="connsiteY30" fmla="*/ 263956 h 327101"/>
                <a:gd name="connsiteX31" fmla="*/ 133565 w 327164"/>
                <a:gd name="connsiteY31" fmla="*/ 277037 h 327101"/>
                <a:gd name="connsiteX32" fmla="*/ 141770 w 327164"/>
                <a:gd name="connsiteY32" fmla="*/ 326758 h 327101"/>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 ang="15">
                  <a:pos x="connsiteX15" y="connsiteY15"/>
                </a:cxn>
                <a:cxn ang="16">
                  <a:pos x="connsiteX16" y="connsiteY16"/>
                </a:cxn>
                <a:cxn ang="17">
                  <a:pos x="connsiteX17" y="connsiteY17"/>
                </a:cxn>
                <a:cxn ang="18">
                  <a:pos x="connsiteX18" y="connsiteY18"/>
                </a:cxn>
                <a:cxn ang="19">
                  <a:pos x="connsiteX19" y="connsiteY19"/>
                </a:cxn>
                <a:cxn ang="20">
                  <a:pos x="connsiteX20" y="connsiteY20"/>
                </a:cxn>
                <a:cxn ang="21">
                  <a:pos x="connsiteX21" y="connsiteY21"/>
                </a:cxn>
                <a:cxn ang="22">
                  <a:pos x="connsiteX22" y="connsiteY22"/>
                </a:cxn>
                <a:cxn ang="23">
                  <a:pos x="connsiteX23" y="connsiteY23"/>
                </a:cxn>
                <a:cxn ang="24">
                  <a:pos x="connsiteX24" y="connsiteY24"/>
                </a:cxn>
                <a:cxn ang="25">
                  <a:pos x="connsiteX25" y="connsiteY25"/>
                </a:cxn>
                <a:cxn ang="26">
                  <a:pos x="connsiteX26" y="connsiteY26"/>
                </a:cxn>
                <a:cxn ang="27">
                  <a:pos x="connsiteX27" y="connsiteY27"/>
                </a:cxn>
                <a:cxn ang="28">
                  <a:pos x="connsiteX28" y="connsiteY28"/>
                </a:cxn>
                <a:cxn ang="29">
                  <a:pos x="connsiteX29" y="connsiteY29"/>
                </a:cxn>
                <a:cxn ang="30">
                  <a:pos x="connsiteX30" y="connsiteY30"/>
                </a:cxn>
                <a:cxn ang="31">
                  <a:pos x="connsiteX31" y="connsiteY31"/>
                </a:cxn>
                <a:cxn ang="32">
                  <a:pos x="connsiteX32" y="connsiteY32"/>
                </a:cxn>
              </a:cxnLst>
              <a:rect l="l" t="t" r="r" b="b"/>
              <a:pathLst>
                <a:path w="327164" h="327101">
                  <a:moveTo>
                    <a:pt x="141770" y="326758"/>
                  </a:moveTo>
                  <a:lnTo>
                    <a:pt x="182384" y="327101"/>
                  </a:lnTo>
                  <a:lnTo>
                    <a:pt x="191515" y="277621"/>
                  </a:lnTo>
                  <a:lnTo>
                    <a:pt x="222668" y="265061"/>
                  </a:lnTo>
                  <a:lnTo>
                    <a:pt x="263588" y="294335"/>
                  </a:lnTo>
                  <a:lnTo>
                    <a:pt x="292544" y="265925"/>
                  </a:lnTo>
                  <a:lnTo>
                    <a:pt x="263994" y="224447"/>
                  </a:lnTo>
                  <a:lnTo>
                    <a:pt x="277139" y="193522"/>
                  </a:lnTo>
                  <a:lnTo>
                    <a:pt x="326783" y="185318"/>
                  </a:lnTo>
                  <a:lnTo>
                    <a:pt x="327164" y="144741"/>
                  </a:lnTo>
                  <a:lnTo>
                    <a:pt x="277647" y="135610"/>
                  </a:lnTo>
                  <a:lnTo>
                    <a:pt x="265086" y="104482"/>
                  </a:lnTo>
                  <a:lnTo>
                    <a:pt x="294385" y="63525"/>
                  </a:lnTo>
                  <a:lnTo>
                    <a:pt x="265950" y="34569"/>
                  </a:lnTo>
                  <a:lnTo>
                    <a:pt x="224497" y="63119"/>
                  </a:lnTo>
                  <a:lnTo>
                    <a:pt x="193611" y="49987"/>
                  </a:lnTo>
                  <a:lnTo>
                    <a:pt x="185368" y="343"/>
                  </a:lnTo>
                  <a:lnTo>
                    <a:pt x="144767" y="0"/>
                  </a:lnTo>
                  <a:lnTo>
                    <a:pt x="135661" y="49479"/>
                  </a:lnTo>
                  <a:lnTo>
                    <a:pt x="104507" y="62014"/>
                  </a:lnTo>
                  <a:lnTo>
                    <a:pt x="63563" y="32753"/>
                  </a:lnTo>
                  <a:lnTo>
                    <a:pt x="34619" y="61163"/>
                  </a:lnTo>
                  <a:lnTo>
                    <a:pt x="63169" y="102641"/>
                  </a:lnTo>
                  <a:lnTo>
                    <a:pt x="50063" y="133540"/>
                  </a:lnTo>
                  <a:lnTo>
                    <a:pt x="355" y="141795"/>
                  </a:lnTo>
                  <a:lnTo>
                    <a:pt x="0" y="182359"/>
                  </a:lnTo>
                  <a:lnTo>
                    <a:pt x="49529" y="191465"/>
                  </a:lnTo>
                  <a:lnTo>
                    <a:pt x="62064" y="222593"/>
                  </a:lnTo>
                  <a:lnTo>
                    <a:pt x="32791" y="263537"/>
                  </a:lnTo>
                  <a:lnTo>
                    <a:pt x="61201" y="292481"/>
                  </a:lnTo>
                  <a:lnTo>
                    <a:pt x="102679" y="263956"/>
                  </a:lnTo>
                  <a:lnTo>
                    <a:pt x="133565" y="277037"/>
                  </a:lnTo>
                  <a:lnTo>
                    <a:pt x="141770" y="326758"/>
                  </a:lnTo>
                </a:path>
              </a:pathLst>
            </a:custGeom>
            <a:gradFill flip="none" rotWithShape="1">
              <a:gsLst>
                <a:gs pos="0">
                  <a:srgbClr val="0076CB"/>
                </a:gs>
                <a:gs pos="100000">
                  <a:srgbClr val="003283"/>
                </a:gs>
              </a:gsLst>
              <a:lin ang="5400000" scaled="0"/>
              <a:tileRect/>
            </a:gra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sp>
          <p:nvSpPr>
            <p:cNvPr id="888" name="Freeform 3"/>
            <p:cNvSpPr/>
            <p:nvPr/>
          </p:nvSpPr>
          <p:spPr>
            <a:xfrm>
              <a:off x="5532736" y="4795790"/>
              <a:ext cx="170258" cy="170256"/>
            </a:xfrm>
            <a:custGeom>
              <a:avLst/>
              <a:gdLst>
                <a:gd name="connsiteX0" fmla="*/ 47866 w 95745"/>
                <a:gd name="connsiteY0" fmla="*/ 95745 h 95744"/>
                <a:gd name="connsiteX1" fmla="*/ 0 w 95745"/>
                <a:gd name="connsiteY1" fmla="*/ 47853 h 95744"/>
                <a:gd name="connsiteX2" fmla="*/ 47866 w 95745"/>
                <a:gd name="connsiteY2" fmla="*/ 0 h 95744"/>
                <a:gd name="connsiteX3" fmla="*/ 95745 w 95745"/>
                <a:gd name="connsiteY3" fmla="*/ 47853 h 95744"/>
                <a:gd name="connsiteX4" fmla="*/ 47866 w 95745"/>
                <a:gd name="connsiteY4" fmla="*/ 95745 h 95744"/>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95745" h="95744">
                  <a:moveTo>
                    <a:pt x="47866" y="95745"/>
                  </a:moveTo>
                  <a:cubicBezTo>
                    <a:pt x="21425" y="95745"/>
                    <a:pt x="0" y="74307"/>
                    <a:pt x="0" y="47853"/>
                  </a:cubicBezTo>
                  <a:cubicBezTo>
                    <a:pt x="0" y="21412"/>
                    <a:pt x="21425" y="0"/>
                    <a:pt x="47866" y="0"/>
                  </a:cubicBezTo>
                  <a:cubicBezTo>
                    <a:pt x="74307" y="0"/>
                    <a:pt x="95745" y="21412"/>
                    <a:pt x="95745" y="47853"/>
                  </a:cubicBezTo>
                  <a:cubicBezTo>
                    <a:pt x="95745" y="74307"/>
                    <a:pt x="74307" y="95745"/>
                    <a:pt x="47866" y="95745"/>
                  </a:cubicBezTo>
                </a:path>
              </a:pathLst>
            </a:custGeom>
            <a:solidFill>
              <a:schemeClr val="bg1"/>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627"/>
              <a:endParaRPr lang="en-US" altLang="zh-CN" sz="2000" dirty="0">
                <a:solidFill>
                  <a:srgbClr val="FFFFFF"/>
                </a:solidFill>
              </a:endParaRPr>
            </a:p>
          </p:txBody>
        </p:sp>
      </p:grpSp>
      <p:sp>
        <p:nvSpPr>
          <p:cNvPr id="889" name="Text Box 129"/>
          <p:cNvSpPr txBox="1">
            <a:spLocks noChangeArrowheads="1"/>
          </p:cNvSpPr>
          <p:nvPr/>
        </p:nvSpPr>
        <p:spPr bwMode="gray">
          <a:xfrm>
            <a:off x="3506379" y="5305643"/>
            <a:ext cx="2921365" cy="251244"/>
          </a:xfrm>
          <a:prstGeom prst="rect">
            <a:avLst/>
          </a:prstGeom>
          <a:noFill/>
          <a:ln w="9525" algn="ctr">
            <a:noFill/>
            <a:miter lim="800000"/>
            <a:headEnd/>
            <a:tailEnd/>
          </a:ln>
          <a:effectLst/>
        </p:spPr>
        <p:txBody>
          <a:bodyPr wrap="square" lIns="63397" tIns="32967" rIns="63397" bIns="32967">
            <a:spAutoFit/>
          </a:bodyPr>
          <a:lstStyle/>
          <a:p>
            <a:pPr algn="ctr" defTabSz="644086">
              <a:buClr>
                <a:srgbClr val="F0AB00"/>
              </a:buClr>
              <a:defRPr/>
            </a:pPr>
            <a:r>
              <a:rPr lang="en-US" sz="1200" b="1" dirty="0">
                <a:solidFill>
                  <a:srgbClr val="FFFFFF"/>
                </a:solidFill>
              </a:rPr>
              <a:t>Embedded sustainable operations</a:t>
            </a:r>
          </a:p>
        </p:txBody>
      </p:sp>
      <p:sp>
        <p:nvSpPr>
          <p:cNvPr id="890" name="Parallelogramm 11"/>
          <p:cNvSpPr>
            <a:spLocks noChangeArrowheads="1"/>
          </p:cNvSpPr>
          <p:nvPr/>
        </p:nvSpPr>
        <p:spPr bwMode="gray">
          <a:xfrm>
            <a:off x="2014872" y="5615321"/>
            <a:ext cx="5501755" cy="348626"/>
          </a:xfrm>
          <a:prstGeom prst="parallelogram">
            <a:avLst>
              <a:gd name="adj" fmla="val 0"/>
            </a:avLst>
          </a:prstGeom>
          <a:solidFill>
            <a:schemeClr val="accent2">
              <a:lumMod val="60000"/>
              <a:lumOff val="40000"/>
            </a:schemeClr>
          </a:solidFill>
          <a:ln w="6350" algn="ctr">
            <a:noFill/>
            <a:miter lim="800000"/>
            <a:headEnd/>
            <a:tailEnd/>
          </a:ln>
        </p:spPr>
        <p:txBody>
          <a:bodyPr lIns="50714" tIns="25356" rIns="50714" bIns="25356" rtlCol="0" anchor="ctr"/>
          <a:lstStyle/>
          <a:p>
            <a:pPr defTabSz="913627" fontAlgn="base">
              <a:spcBef>
                <a:spcPct val="50000"/>
              </a:spcBef>
              <a:spcAft>
                <a:spcPct val="0"/>
              </a:spcAft>
              <a:buClr>
                <a:srgbClr val="F0AB00"/>
              </a:buClr>
              <a:buSzPct val="80000"/>
            </a:pPr>
            <a:endParaRPr lang="en-US" sz="1200" dirty="0">
              <a:solidFill>
                <a:srgbClr val="FFFFFF"/>
              </a:solidFill>
            </a:endParaRPr>
          </a:p>
        </p:txBody>
      </p:sp>
      <p:sp>
        <p:nvSpPr>
          <p:cNvPr id="891" name="TextBox 890"/>
          <p:cNvSpPr txBox="1"/>
          <p:nvPr/>
        </p:nvSpPr>
        <p:spPr>
          <a:xfrm>
            <a:off x="2067637" y="5703730"/>
            <a:ext cx="5463763" cy="247723"/>
          </a:xfrm>
          <a:prstGeom prst="rect">
            <a:avLst/>
          </a:prstGeom>
          <a:noFill/>
        </p:spPr>
        <p:txBody>
          <a:bodyPr wrap="square" lIns="0" tIns="0" rIns="0" bIns="0" rtlCol="0">
            <a:noAutofit/>
          </a:bodyPr>
          <a:lstStyle/>
          <a:p>
            <a:pPr algn="ctr" defTabSz="913627" fontAlgn="base">
              <a:spcBef>
                <a:spcPct val="50000"/>
              </a:spcBef>
              <a:spcAft>
                <a:spcPct val="0"/>
              </a:spcAft>
              <a:buClr>
                <a:srgbClr val="F0AB00"/>
              </a:buClr>
              <a:buSzPct val="80000"/>
            </a:pPr>
            <a:r>
              <a:rPr lang="en-US" sz="1200" b="1" dirty="0">
                <a:solidFill>
                  <a:srgbClr val="FFFFFF"/>
                </a:solidFill>
              </a:rPr>
              <a:t>Manage big data, understand the past and predict the future</a:t>
            </a:r>
          </a:p>
        </p:txBody>
      </p:sp>
      <p:sp>
        <p:nvSpPr>
          <p:cNvPr id="892" name="TextBox 891"/>
          <p:cNvSpPr txBox="1"/>
          <p:nvPr/>
        </p:nvSpPr>
        <p:spPr>
          <a:xfrm>
            <a:off x="2289253" y="3402732"/>
            <a:ext cx="4995242" cy="264112"/>
          </a:xfrm>
          <a:prstGeom prst="rect">
            <a:avLst/>
          </a:prstGeom>
          <a:noFill/>
        </p:spPr>
        <p:txBody>
          <a:bodyPr wrap="square" lIns="0" tIns="0" rIns="0" bIns="0" rtlCol="0">
            <a:noAutofit/>
          </a:bodyPr>
          <a:lstStyle/>
          <a:p>
            <a:pPr algn="ctr" defTabSz="913627" fontAlgn="base">
              <a:spcBef>
                <a:spcPct val="50000"/>
              </a:spcBef>
              <a:spcAft>
                <a:spcPct val="0"/>
              </a:spcAft>
              <a:buClr>
                <a:srgbClr val="F0AB00"/>
              </a:buClr>
              <a:buSzPct val="80000"/>
            </a:pPr>
            <a:r>
              <a:rPr lang="en-US" sz="1200" b="1" dirty="0">
                <a:solidFill>
                  <a:srgbClr val="FFFFFF"/>
                </a:solidFill>
              </a:rPr>
              <a:t>360 degree analytics on products, assets and services</a:t>
            </a:r>
          </a:p>
        </p:txBody>
      </p:sp>
      <p:sp>
        <p:nvSpPr>
          <p:cNvPr id="893" name="TextBox 892"/>
          <p:cNvSpPr txBox="1"/>
          <p:nvPr/>
        </p:nvSpPr>
        <p:spPr>
          <a:xfrm>
            <a:off x="2269961" y="2993053"/>
            <a:ext cx="4995242" cy="248917"/>
          </a:xfrm>
          <a:prstGeom prst="rect">
            <a:avLst/>
          </a:prstGeom>
          <a:noFill/>
        </p:spPr>
        <p:txBody>
          <a:bodyPr wrap="square" lIns="0" tIns="0" rIns="0" bIns="0" rtlCol="0">
            <a:noAutofit/>
          </a:bodyPr>
          <a:lstStyle/>
          <a:p>
            <a:pPr algn="ctr" defTabSz="913627" fontAlgn="base">
              <a:spcBef>
                <a:spcPct val="50000"/>
              </a:spcBef>
              <a:spcAft>
                <a:spcPct val="0"/>
              </a:spcAft>
              <a:buClr>
                <a:srgbClr val="F0AB00"/>
              </a:buClr>
              <a:buSzPct val="80000"/>
            </a:pPr>
            <a:r>
              <a:rPr lang="en-US" sz="1200" b="1" dirty="0">
                <a:solidFill>
                  <a:srgbClr val="FFFFFF"/>
                </a:solidFill>
              </a:rPr>
              <a:t>Mobilize and flexible work force </a:t>
            </a:r>
          </a:p>
        </p:txBody>
      </p:sp>
      <p:sp>
        <p:nvSpPr>
          <p:cNvPr id="894" name="TextBox 66"/>
          <p:cNvSpPr txBox="1">
            <a:spLocks noChangeArrowheads="1"/>
          </p:cNvSpPr>
          <p:nvPr/>
        </p:nvSpPr>
        <p:spPr bwMode="gray">
          <a:xfrm>
            <a:off x="4356835" y="6099397"/>
            <a:ext cx="604375" cy="138499"/>
          </a:xfrm>
          <a:prstGeom prst="rect">
            <a:avLst/>
          </a:prstGeom>
          <a:noFill/>
          <a:ln w="9525">
            <a:noFill/>
            <a:miter lim="800000"/>
            <a:headEnd/>
            <a:tailEnd/>
          </a:ln>
        </p:spPr>
        <p:txBody>
          <a:bodyPr wrap="square" lIns="0" tIns="0" rIns="0" bIns="0" anchor="ctr">
            <a:spAutoFit/>
          </a:bodyPr>
          <a:lstStyle/>
          <a:p>
            <a:pPr algn="ctr" defTabSz="644086">
              <a:defRPr/>
            </a:pPr>
            <a:r>
              <a:rPr lang="en-US" sz="900" kern="0" dirty="0">
                <a:solidFill>
                  <a:srgbClr val="FFFFFF"/>
                </a:solidFill>
              </a:rPr>
              <a:t>SAP </a:t>
            </a:r>
            <a:r>
              <a:rPr lang="en-US" sz="900" kern="0" dirty="0" smtClean="0">
                <a:solidFill>
                  <a:srgbClr val="FFFFFF"/>
                </a:solidFill>
              </a:rPr>
              <a:t>M2M</a:t>
            </a:r>
            <a:endParaRPr lang="en-US" sz="900" kern="0" dirty="0">
              <a:solidFill>
                <a:srgbClr val="FFFFFF"/>
              </a:solidFill>
            </a:endParaRPr>
          </a:p>
        </p:txBody>
      </p:sp>
      <p:sp>
        <p:nvSpPr>
          <p:cNvPr id="895" name="Text Box 129"/>
          <p:cNvSpPr txBox="1">
            <a:spLocks noChangeArrowheads="1"/>
          </p:cNvSpPr>
          <p:nvPr/>
        </p:nvSpPr>
        <p:spPr bwMode="gray">
          <a:xfrm>
            <a:off x="3635992" y="3811678"/>
            <a:ext cx="2724575" cy="251244"/>
          </a:xfrm>
          <a:prstGeom prst="rect">
            <a:avLst/>
          </a:prstGeom>
          <a:noFill/>
          <a:ln w="9525" algn="ctr">
            <a:noFill/>
            <a:miter lim="800000"/>
            <a:headEnd/>
            <a:tailEnd/>
          </a:ln>
          <a:effectLst/>
        </p:spPr>
        <p:txBody>
          <a:bodyPr wrap="square" lIns="63397" tIns="32967" rIns="63397" bIns="32967">
            <a:spAutoFit/>
          </a:bodyPr>
          <a:lstStyle/>
          <a:p>
            <a:pPr algn="ctr" defTabSz="644086">
              <a:buClr>
                <a:srgbClr val="F0AB00"/>
              </a:buClr>
              <a:defRPr/>
            </a:pPr>
            <a:r>
              <a:rPr lang="en-US" sz="1200" b="1" dirty="0">
                <a:solidFill>
                  <a:srgbClr val="FFFFFF"/>
                </a:solidFill>
              </a:rPr>
              <a:t>Collaboration across boundaries </a:t>
            </a:r>
          </a:p>
        </p:txBody>
      </p:sp>
      <p:grpSp>
        <p:nvGrpSpPr>
          <p:cNvPr id="10" name="Group 179"/>
          <p:cNvGrpSpPr/>
          <p:nvPr/>
        </p:nvGrpSpPr>
        <p:grpSpPr>
          <a:xfrm>
            <a:off x="3272142" y="2262510"/>
            <a:ext cx="654580" cy="582716"/>
            <a:chOff x="5416440" y="1779038"/>
            <a:chExt cx="1132344" cy="755650"/>
          </a:xfrm>
        </p:grpSpPr>
        <p:sp>
          <p:nvSpPr>
            <p:cNvPr id="897" name="Rectangle 896"/>
            <p:cNvSpPr/>
            <p:nvPr/>
          </p:nvSpPr>
          <p:spPr bwMode="gray">
            <a:xfrm>
              <a:off x="5416440" y="1779038"/>
              <a:ext cx="1132344" cy="755650"/>
            </a:xfrm>
            <a:prstGeom prst="rect">
              <a:avLst/>
            </a:prstGeom>
            <a:solidFill>
              <a:schemeClr val="bg1"/>
            </a:solidFill>
            <a:ln w="6350" algn="ctr">
              <a:noFill/>
              <a:miter lim="800000"/>
              <a:headEnd/>
              <a:tailEnd/>
            </a:ln>
          </p:spPr>
          <p:txBody>
            <a:bodyPr lIns="90000" tIns="72000" rIns="90000" bIns="72000" rtlCol="0" anchor="ctr"/>
            <a:lstStyle/>
            <a:p>
              <a:pPr algn="ctr" defTabSz="767042">
                <a:spcBef>
                  <a:spcPct val="50000"/>
                </a:spcBef>
                <a:buClr>
                  <a:srgbClr val="F0AB00"/>
                </a:buClr>
                <a:buSzPct val="80000"/>
              </a:pPr>
              <a:endParaRPr lang="en-US" sz="2000" kern="0" dirty="0">
                <a:solidFill>
                  <a:srgbClr val="000000"/>
                </a:solidFill>
                <a:ea typeface="Arial Unicode MS" pitchFamily="34" charset="-128"/>
                <a:cs typeface="Arial Unicode MS" pitchFamily="34" charset="-128"/>
              </a:endParaRPr>
            </a:p>
          </p:txBody>
        </p:sp>
        <p:pic>
          <p:nvPicPr>
            <p:cNvPr id="898" name="Picture 2" descr="C:\SAP\Sicher\EL Paso\Due Dilligent 2\AA_GTM post Merger\For Thomas\6 Renders\Render5.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90767" y="1779038"/>
              <a:ext cx="1007533" cy="755650"/>
            </a:xfrm>
            <a:prstGeom prst="rect">
              <a:avLst/>
            </a:prstGeom>
            <a:noFill/>
          </p:spPr>
        </p:pic>
      </p:grpSp>
      <p:grpSp>
        <p:nvGrpSpPr>
          <p:cNvPr id="11" name="Group 898"/>
          <p:cNvGrpSpPr/>
          <p:nvPr/>
        </p:nvGrpSpPr>
        <p:grpSpPr>
          <a:xfrm>
            <a:off x="6526054" y="2262510"/>
            <a:ext cx="654580" cy="582716"/>
            <a:chOff x="6706264" y="1779038"/>
            <a:chExt cx="1132344" cy="755650"/>
          </a:xfrm>
        </p:grpSpPr>
        <p:sp>
          <p:nvSpPr>
            <p:cNvPr id="900" name="Rectangle 899"/>
            <p:cNvSpPr/>
            <p:nvPr/>
          </p:nvSpPr>
          <p:spPr bwMode="gray">
            <a:xfrm>
              <a:off x="6706264" y="1779038"/>
              <a:ext cx="1132344" cy="755650"/>
            </a:xfrm>
            <a:prstGeom prst="rect">
              <a:avLst/>
            </a:prstGeom>
            <a:solidFill>
              <a:schemeClr val="bg1"/>
            </a:solidFill>
            <a:ln w="6350" algn="ctr">
              <a:noFill/>
              <a:miter lim="800000"/>
              <a:headEnd/>
              <a:tailEnd/>
            </a:ln>
          </p:spPr>
          <p:txBody>
            <a:bodyPr lIns="90000" tIns="72000" rIns="90000" bIns="72000" rtlCol="0" anchor="ctr"/>
            <a:lstStyle/>
            <a:p>
              <a:pPr algn="ctr" defTabSz="767042">
                <a:spcBef>
                  <a:spcPct val="50000"/>
                </a:spcBef>
                <a:buClr>
                  <a:srgbClr val="F0AB00"/>
                </a:buClr>
                <a:buSzPct val="80000"/>
              </a:pPr>
              <a:endParaRPr lang="en-US" sz="2000" kern="0" dirty="0">
                <a:solidFill>
                  <a:srgbClr val="000000"/>
                </a:solidFill>
                <a:ea typeface="Arial Unicode MS" pitchFamily="34" charset="-128"/>
                <a:cs typeface="Arial Unicode MS" pitchFamily="34" charset="-128"/>
              </a:endParaRPr>
            </a:p>
          </p:txBody>
        </p:sp>
        <p:pic>
          <p:nvPicPr>
            <p:cNvPr id="901" name="Picture 2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90357" y="1779038"/>
              <a:ext cx="623665" cy="755650"/>
            </a:xfrm>
            <a:prstGeom prst="rect">
              <a:avLst/>
            </a:prstGeom>
            <a:noFill/>
            <a:ln w="9525">
              <a:noFill/>
              <a:miter lim="800000"/>
              <a:headEnd/>
              <a:tailEnd/>
            </a:ln>
          </p:spPr>
        </p:pic>
      </p:grpSp>
      <p:pic>
        <p:nvPicPr>
          <p:cNvPr id="902" name="Picture 2" descr="C:\SAP\Marketing\Solutions\Visual Enterprise\Demos Videos Graphics\For Thomas\6 Renders\VEA_Screensho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370170" y="2261306"/>
            <a:ext cx="656151" cy="587477"/>
          </a:xfrm>
          <a:prstGeom prst="rect">
            <a:avLst/>
          </a:prstGeom>
          <a:noFill/>
        </p:spPr>
      </p:pic>
      <p:pic>
        <p:nvPicPr>
          <p:cNvPr id="903" name="Picture 2" descr="C:\Users\AlexandrG\Desktop\SAP Peter Meyer PPT\back image 1.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46869" y="2262503"/>
            <a:ext cx="654938" cy="589096"/>
          </a:xfrm>
          <a:prstGeom prst="rect">
            <a:avLst/>
          </a:prstGeom>
          <a:noFill/>
        </p:spPr>
      </p:pic>
      <p:pic>
        <p:nvPicPr>
          <p:cNvPr id="904" name="Picture 2" descr="C:\SAP\Marketing\Solutions\Visual Enterprise\Demos Videos Graphics\For Thomas\6 Renders\Oilrig.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366784" y="2060576"/>
            <a:ext cx="622991" cy="604116"/>
          </a:xfrm>
          <a:prstGeom prst="rect">
            <a:avLst/>
          </a:prstGeom>
          <a:noFill/>
        </p:spPr>
      </p:pic>
      <p:pic>
        <p:nvPicPr>
          <p:cNvPr id="905" name="Picture 3" descr="C:\SAP\Marketing\Solutions\Visual Enterprise\Demos Videos Graphics\For Thomas\6 Renders\Oil Rig 6.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588430" y="2060582"/>
            <a:ext cx="593282" cy="593437"/>
          </a:xfrm>
          <a:prstGeom prst="rect">
            <a:avLst/>
          </a:prstGeom>
          <a:noFill/>
        </p:spPr>
      </p:pic>
      <p:pic>
        <p:nvPicPr>
          <p:cNvPr id="906" name="Picture 4" descr="C:\SAP\Marketing\Solutions\Visual Enterprise\Demos Videos Graphics\For Thomas\6 Renders\OilRig2.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46075" y="2060575"/>
            <a:ext cx="615104" cy="609600"/>
          </a:xfrm>
          <a:prstGeom prst="rect">
            <a:avLst/>
          </a:prstGeom>
          <a:noFill/>
        </p:spPr>
      </p:pic>
      <p:pic>
        <p:nvPicPr>
          <p:cNvPr id="907" name="Picture 6"/>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25436" y="2060582"/>
            <a:ext cx="595158" cy="592721"/>
          </a:xfrm>
          <a:prstGeom prst="rect">
            <a:avLst/>
          </a:prstGeom>
          <a:noFill/>
          <a:ln w="9525">
            <a:noFill/>
            <a:miter lim="800000"/>
            <a:headEnd/>
            <a:tailEnd/>
          </a:ln>
        </p:spPr>
      </p:pic>
      <p:pic>
        <p:nvPicPr>
          <p:cNvPr id="908" name="Picture 8" descr="C:\SAP\Marketing\Solutions\Visual Enterprise\Demos Videos Graphics\For Thomas\6 Renders\Render 3.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453110" y="2260607"/>
            <a:ext cx="571351" cy="609600"/>
          </a:xfrm>
          <a:prstGeom prst="rect">
            <a:avLst/>
          </a:prstGeom>
          <a:noFill/>
        </p:spPr>
      </p:pic>
      <p:pic>
        <p:nvPicPr>
          <p:cNvPr id="909" name="Picture 5" descr="C:\SAP\Marketing\Solutions\Visual Enterprise\Demos Videos Graphics\For Thomas\6 Renders\Oil Rig 5.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751987" y="2060575"/>
            <a:ext cx="608576" cy="608734"/>
          </a:xfrm>
          <a:prstGeom prst="rect">
            <a:avLst/>
          </a:prstGeom>
          <a:noFill/>
        </p:spPr>
      </p:pic>
      <p:sp>
        <p:nvSpPr>
          <p:cNvPr id="910" name="Freeform 141"/>
          <p:cNvSpPr>
            <a:spLocks/>
          </p:cNvSpPr>
          <p:nvPr/>
        </p:nvSpPr>
        <p:spPr bwMode="auto">
          <a:xfrm>
            <a:off x="1175938" y="5008351"/>
            <a:ext cx="406617" cy="260407"/>
          </a:xfrm>
          <a:custGeom>
            <a:avLst/>
            <a:gdLst/>
            <a:ahLst/>
            <a:cxnLst>
              <a:cxn ang="0">
                <a:pos x="152" y="28"/>
              </a:cxn>
              <a:cxn ang="0">
                <a:pos x="183" y="28"/>
              </a:cxn>
              <a:cxn ang="0">
                <a:pos x="191" y="47"/>
              </a:cxn>
              <a:cxn ang="0">
                <a:pos x="205" y="65"/>
              </a:cxn>
              <a:cxn ang="0">
                <a:pos x="178" y="84"/>
              </a:cxn>
              <a:cxn ang="0">
                <a:pos x="164" y="92"/>
              </a:cxn>
              <a:cxn ang="0">
                <a:pos x="144" y="93"/>
              </a:cxn>
              <a:cxn ang="0">
                <a:pos x="133" y="88"/>
              </a:cxn>
              <a:cxn ang="0">
                <a:pos x="119" y="88"/>
              </a:cxn>
              <a:cxn ang="0">
                <a:pos x="110" y="85"/>
              </a:cxn>
              <a:cxn ang="0">
                <a:pos x="96" y="92"/>
              </a:cxn>
              <a:cxn ang="0">
                <a:pos x="73" y="94"/>
              </a:cxn>
              <a:cxn ang="0">
                <a:pos x="58" y="90"/>
              </a:cxn>
              <a:cxn ang="0">
                <a:pos x="35" y="92"/>
              </a:cxn>
              <a:cxn ang="0">
                <a:pos x="3" y="64"/>
              </a:cxn>
              <a:cxn ang="0">
                <a:pos x="28" y="41"/>
              </a:cxn>
              <a:cxn ang="0">
                <a:pos x="32" y="31"/>
              </a:cxn>
              <a:cxn ang="0">
                <a:pos x="62" y="21"/>
              </a:cxn>
              <a:cxn ang="0">
                <a:pos x="70" y="25"/>
              </a:cxn>
              <a:cxn ang="0">
                <a:pos x="85" y="6"/>
              </a:cxn>
              <a:cxn ang="0">
                <a:pos x="124" y="3"/>
              </a:cxn>
              <a:cxn ang="0">
                <a:pos x="153" y="18"/>
              </a:cxn>
              <a:cxn ang="0">
                <a:pos x="152" y="28"/>
              </a:cxn>
            </a:cxnLst>
            <a:rect l="0" t="0" r="r" b="b"/>
            <a:pathLst>
              <a:path w="211" h="95">
                <a:moveTo>
                  <a:pt x="152" y="28"/>
                </a:moveTo>
                <a:cubicBezTo>
                  <a:pt x="152" y="28"/>
                  <a:pt x="169" y="23"/>
                  <a:pt x="183" y="28"/>
                </a:cubicBezTo>
                <a:cubicBezTo>
                  <a:pt x="196" y="34"/>
                  <a:pt x="191" y="47"/>
                  <a:pt x="191" y="47"/>
                </a:cubicBezTo>
                <a:cubicBezTo>
                  <a:pt x="191" y="47"/>
                  <a:pt x="211" y="49"/>
                  <a:pt x="205" y="65"/>
                </a:cubicBezTo>
                <a:cubicBezTo>
                  <a:pt x="200" y="81"/>
                  <a:pt x="178" y="84"/>
                  <a:pt x="178" y="84"/>
                </a:cubicBezTo>
                <a:cubicBezTo>
                  <a:pt x="178" y="84"/>
                  <a:pt x="174" y="90"/>
                  <a:pt x="164" y="92"/>
                </a:cubicBezTo>
                <a:cubicBezTo>
                  <a:pt x="157" y="94"/>
                  <a:pt x="150" y="94"/>
                  <a:pt x="144" y="93"/>
                </a:cubicBezTo>
                <a:cubicBezTo>
                  <a:pt x="139" y="92"/>
                  <a:pt x="133" y="88"/>
                  <a:pt x="133" y="88"/>
                </a:cubicBezTo>
                <a:cubicBezTo>
                  <a:pt x="133" y="88"/>
                  <a:pt x="125" y="90"/>
                  <a:pt x="119" y="88"/>
                </a:cubicBezTo>
                <a:cubicBezTo>
                  <a:pt x="114" y="87"/>
                  <a:pt x="110" y="85"/>
                  <a:pt x="110" y="85"/>
                </a:cubicBezTo>
                <a:cubicBezTo>
                  <a:pt x="110" y="85"/>
                  <a:pt x="105" y="90"/>
                  <a:pt x="96" y="92"/>
                </a:cubicBezTo>
                <a:cubicBezTo>
                  <a:pt x="89" y="94"/>
                  <a:pt x="80" y="95"/>
                  <a:pt x="73" y="94"/>
                </a:cubicBezTo>
                <a:cubicBezTo>
                  <a:pt x="65" y="92"/>
                  <a:pt x="58" y="90"/>
                  <a:pt x="58" y="90"/>
                </a:cubicBezTo>
                <a:cubicBezTo>
                  <a:pt x="58" y="90"/>
                  <a:pt x="47" y="94"/>
                  <a:pt x="35" y="92"/>
                </a:cubicBezTo>
                <a:cubicBezTo>
                  <a:pt x="15" y="90"/>
                  <a:pt x="0" y="77"/>
                  <a:pt x="3" y="64"/>
                </a:cubicBezTo>
                <a:cubicBezTo>
                  <a:pt x="7" y="46"/>
                  <a:pt x="28" y="41"/>
                  <a:pt x="28" y="41"/>
                </a:cubicBezTo>
                <a:cubicBezTo>
                  <a:pt x="28" y="41"/>
                  <a:pt x="28" y="35"/>
                  <a:pt x="32" y="31"/>
                </a:cubicBezTo>
                <a:cubicBezTo>
                  <a:pt x="39" y="24"/>
                  <a:pt x="47" y="19"/>
                  <a:pt x="62" y="21"/>
                </a:cubicBezTo>
                <a:cubicBezTo>
                  <a:pt x="67" y="22"/>
                  <a:pt x="70" y="25"/>
                  <a:pt x="70" y="25"/>
                </a:cubicBezTo>
                <a:cubicBezTo>
                  <a:pt x="70" y="25"/>
                  <a:pt x="69" y="11"/>
                  <a:pt x="85" y="6"/>
                </a:cubicBezTo>
                <a:cubicBezTo>
                  <a:pt x="103" y="0"/>
                  <a:pt x="116" y="1"/>
                  <a:pt x="124" y="3"/>
                </a:cubicBezTo>
                <a:cubicBezTo>
                  <a:pt x="140" y="5"/>
                  <a:pt x="150" y="11"/>
                  <a:pt x="153" y="18"/>
                </a:cubicBezTo>
                <a:cubicBezTo>
                  <a:pt x="154" y="24"/>
                  <a:pt x="152" y="28"/>
                  <a:pt x="152" y="28"/>
                </a:cubicBezTo>
                <a:close/>
              </a:path>
            </a:pathLst>
          </a:custGeom>
          <a:gradFill flip="none" rotWithShape="1">
            <a:gsLst>
              <a:gs pos="0">
                <a:srgbClr val="008FD3"/>
              </a:gs>
              <a:gs pos="100000">
                <a:srgbClr val="003283"/>
              </a:gs>
            </a:gsLst>
            <a:lin ang="5400000" scaled="0"/>
            <a:tileRect/>
          </a:gradFill>
          <a:ln w="9525">
            <a:noFill/>
            <a:round/>
            <a:headEnd/>
            <a:tailEnd/>
          </a:ln>
        </p:spPr>
        <p:txBody>
          <a:bodyPr vert="horz" wrap="square" lIns="76705" tIns="38352" rIns="76705" bIns="38352" numCol="1" anchor="t" anchorCtr="0" compatLnSpc="1">
            <a:prstTxWarp prst="textNoShape">
              <a:avLst/>
            </a:prstTxWarp>
          </a:bodyPr>
          <a:lstStyle/>
          <a:p>
            <a:pPr defTabSz="913627"/>
            <a:endParaRPr lang="en-US" sz="2000" dirty="0">
              <a:solidFill>
                <a:srgbClr val="000000"/>
              </a:solidFill>
            </a:endParaRPr>
          </a:p>
        </p:txBody>
      </p:sp>
    </p:spTree>
    <p:extLst>
      <p:ext uri="{BB962C8B-B14F-4D97-AF65-F5344CB8AC3E}">
        <p14:creationId xmlns:p14="http://schemas.microsoft.com/office/powerpoint/2010/main" val="48082196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
        <p:nvSpPr>
          <p:cNvPr id="3" name="Text Placeholder 2"/>
          <p:cNvSpPr>
            <a:spLocks noGrp="1"/>
          </p:cNvSpPr>
          <p:nvPr>
            <p:ph type="body" sz="quarter" idx="10"/>
          </p:nvPr>
        </p:nvSpPr>
        <p:spPr>
          <a:xfrm>
            <a:off x="352575" y="4449378"/>
            <a:ext cx="8496300" cy="620713"/>
          </a:xfrm>
        </p:spPr>
        <p:txBody>
          <a:bodyPr/>
          <a:lstStyle/>
          <a:p>
            <a:pPr>
              <a:spcBef>
                <a:spcPts val="0"/>
              </a:spcBef>
              <a:buClr>
                <a:srgbClr val="F0AB00"/>
              </a:buClr>
            </a:pPr>
            <a:endParaRPr lang="en-US" dirty="0" smtClean="0">
              <a:solidFill>
                <a:srgbClr val="000000"/>
              </a:solidFill>
            </a:endParaRPr>
          </a:p>
          <a:p>
            <a:pPr>
              <a:spcBef>
                <a:spcPts val="0"/>
              </a:spcBef>
              <a:buClr>
                <a:srgbClr val="F0AB00"/>
              </a:buClr>
            </a:pPr>
            <a:r>
              <a:rPr lang="en-US" dirty="0" smtClean="0">
                <a:solidFill>
                  <a:srgbClr val="000000"/>
                </a:solidFill>
              </a:rPr>
              <a:t>Heiko Flohr </a:t>
            </a:r>
          </a:p>
          <a:p>
            <a:pPr>
              <a:spcBef>
                <a:spcPts val="0"/>
              </a:spcBef>
              <a:buClr>
                <a:srgbClr val="F0AB00"/>
              </a:buClr>
            </a:pPr>
            <a:r>
              <a:rPr lang="en-US" dirty="0" smtClean="0">
                <a:solidFill>
                  <a:srgbClr val="000000"/>
                </a:solidFill>
              </a:rPr>
              <a:t>Global Lead Industrial Machinery &amp; Components </a:t>
            </a:r>
          </a:p>
          <a:p>
            <a:r>
              <a:rPr lang="en-US" dirty="0" smtClean="0"/>
              <a:t>SAP AG</a:t>
            </a:r>
          </a:p>
          <a:p>
            <a:r>
              <a:rPr lang="en-US" dirty="0" smtClean="0">
                <a:hlinkClick r:id="rId2"/>
              </a:rPr>
              <a:t>Heiko.Flohr@sap.com</a:t>
            </a:r>
            <a:r>
              <a:rPr lang="en-US" dirty="0" smtClean="0"/>
              <a:t> </a:t>
            </a:r>
            <a:endParaRPr lang="en-US" dirty="0"/>
          </a:p>
        </p:txBody>
      </p:sp>
    </p:spTree>
    <p:extLst>
      <p:ext uri="{BB962C8B-B14F-4D97-AF65-F5344CB8AC3E}">
        <p14:creationId xmlns:p14="http://schemas.microsoft.com/office/powerpoint/2010/main" val="36126832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3570826" y="2530549"/>
            <a:ext cx="2203900" cy="1533904"/>
            <a:chOff x="2969347" y="2763679"/>
            <a:chExt cx="2939299" cy="1888282"/>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0372" y="2763679"/>
              <a:ext cx="2697249" cy="1330643"/>
            </a:xfrm>
            <a:prstGeom prst="rect">
              <a:avLst/>
            </a:prstGeom>
          </p:spPr>
        </p:pic>
        <p:sp>
          <p:nvSpPr>
            <p:cNvPr id="11" name="TextBox 10"/>
            <p:cNvSpPr txBox="1"/>
            <p:nvPr/>
          </p:nvSpPr>
          <p:spPr>
            <a:xfrm>
              <a:off x="2969347" y="4436467"/>
              <a:ext cx="2939299" cy="215494"/>
            </a:xfrm>
            <a:prstGeom prst="rect">
              <a:avLst/>
            </a:prstGeom>
            <a:noFill/>
          </p:spPr>
          <p:txBody>
            <a:bodyPr wrap="square" lIns="0" tIns="0" rIns="0" bIns="0" rtlCol="0">
              <a:spAutoFit/>
            </a:bodyPr>
            <a:lstStyle/>
            <a:p>
              <a:pPr algn="ctr" defTabSz="913627" fontAlgn="base">
                <a:spcBef>
                  <a:spcPct val="50000"/>
                </a:spcBef>
                <a:spcAft>
                  <a:spcPct val="0"/>
                </a:spcAft>
                <a:buClr>
                  <a:srgbClr val="F0AB00"/>
                </a:buClr>
                <a:buSzPct val="80000"/>
              </a:pPr>
              <a:r>
                <a:rPr lang="en-US" sz="1400" kern="0" dirty="0">
                  <a:solidFill>
                    <a:srgbClr val="000000"/>
                  </a:solidFill>
                  <a:latin typeface="BentonSans Bold" pitchFamily="2" charset="0"/>
                  <a:ea typeface="Arial Unicode MS" pitchFamily="34" charset="-128"/>
                  <a:cs typeface="Arial Unicode MS" pitchFamily="34" charset="-128"/>
                </a:rPr>
                <a:t>www.sap.com</a:t>
              </a:r>
            </a:p>
          </p:txBody>
        </p:sp>
      </p:grpSp>
    </p:spTree>
    <p:extLst>
      <p:ext uri="{BB962C8B-B14F-4D97-AF65-F5344CB8AC3E}">
        <p14:creationId xmlns:p14="http://schemas.microsoft.com/office/powerpoint/2010/main" val="37602803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6cOIYovSECSJJPM50R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D28LnUAeEi.SI_j0pX_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j2v95D7iUWf1cdjIi0X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D28LnUAeEi.SI_j0pX_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j2v95D7iUWf1cdjIi0X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6cOIYovSECSJJPM50R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H.NhEIF2kS4HV6ZnJc1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D28LnUAeEi.SI_j0pX_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j2v95D7iUWf1cdjIi0X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28LnUAeEi.SI_j0pX_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j2v95D7iUWf1cdjIi0X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28LnUAeEi.SI_j0pX_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j2v95D7iUWf1cdjIi0XmA"/>
</p:tagLst>
</file>

<file path=ppt/theme/theme1.xml><?xml version="1.0" encoding="utf-8"?>
<a:theme xmlns:a="http://schemas.openxmlformats.org/drawingml/2006/main" name="SAP_2013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1_SAP_2011_v1.2">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3.xml><?xml version="1.0" encoding="utf-8"?>
<a:theme xmlns:a="http://schemas.openxmlformats.org/drawingml/2006/main" name="SAP_2013_16x9_v1.0">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1_SAP_2011_v1.0">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5.xml><?xml version="1.0" encoding="utf-8"?>
<a:theme xmlns:a="http://schemas.openxmlformats.org/drawingml/2006/main" name="2_SAP_2011_v1.0">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6.xml><?xml version="1.0" encoding="utf-8"?>
<a:theme xmlns:a="http://schemas.openxmlformats.org/drawingml/2006/main" name="1_SAP_Next_Business_and_Technology_Powerpoint_template_16_9">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20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7.xml><?xml version="1.0" encoding="utf-8"?>
<a:theme xmlns:a="http://schemas.openxmlformats.org/drawingml/2006/main" name="SAP_2011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spPr>
      <a:bodyPr wrap="square" rtlCol="0" anchor="ctr" anchorCtr="1">
        <a:noAutofit/>
      </a:bodyPr>
      <a:lstStyle>
        <a:defPPr algn="ctr">
          <a:defRPr sz="1200" dirty="0" smtClean="0">
            <a:solidFill>
              <a:schemeClr val="bg1"/>
            </a:solidFill>
            <a:cs typeface="Arial"/>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8.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0</TotalTime>
  <Words>1163</Words>
  <Application>Microsoft Office PowerPoint</Application>
  <PresentationFormat>On-screen Show (4:3)</PresentationFormat>
  <Paragraphs>182</Paragraphs>
  <Slides>9</Slides>
  <Notes>8</Notes>
  <HiddenSlides>0</HiddenSlides>
  <MMClips>0</MMClips>
  <ScaleCrop>false</ScaleCrop>
  <HeadingPairs>
    <vt:vector size="4" baseType="variant">
      <vt:variant>
        <vt:lpstr>Theme</vt:lpstr>
      </vt:variant>
      <vt:variant>
        <vt:i4>7</vt:i4>
      </vt:variant>
      <vt:variant>
        <vt:lpstr>Slide Titles</vt:lpstr>
      </vt:variant>
      <vt:variant>
        <vt:i4>9</vt:i4>
      </vt:variant>
    </vt:vector>
  </HeadingPairs>
  <TitlesOfParts>
    <vt:vector size="16" baseType="lpstr">
      <vt:lpstr>SAP_2013_v1.0</vt:lpstr>
      <vt:lpstr>1_SAP_2011_v1.2</vt:lpstr>
      <vt:lpstr>SAP_2013_16x9_v1.0</vt:lpstr>
      <vt:lpstr>1_SAP_2011_v1.0</vt:lpstr>
      <vt:lpstr>2_SAP_2011_v1.0</vt:lpstr>
      <vt:lpstr>1_SAP_Next_Business_and_Technology_Powerpoint_template_16_9</vt:lpstr>
      <vt:lpstr>SAP_2011_v1.1</vt:lpstr>
      <vt:lpstr>SAP for Industrial Machinery &amp; Components  Industrie 4.0 für den Anlagen &amp; Maschinenbau </vt:lpstr>
      <vt:lpstr>Our Industry Expertise Helps Companies Run Better</vt:lpstr>
      <vt:lpstr>The Next Generation Business Model Solution Provider Network </vt:lpstr>
      <vt:lpstr> SAP for Industrial Machinery &amp; Components 5 Elements of Industry 4.0 / Integrated Industry </vt:lpstr>
      <vt:lpstr>SAP for Industrial Machinery &amp; Components 5 Elements of Industry 4.0 / Integrated Industry: The future will come automatically- </vt:lpstr>
      <vt:lpstr>The Machinery Cloud Emerges: Emerging Applications Some Examples</vt:lpstr>
      <vt:lpstr>Industry 4.0: Idea to Performance  Integrated Business Solutions to Accelerate Idea to Product and Service Performance </vt:lpstr>
      <vt:lpstr>Thank you</vt:lpstr>
      <vt:lpstr>PowerPoint Presentation</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Vatsan Govindarajan</dc:creator>
  <cp:lastModifiedBy>Flohr, Heiko</cp:lastModifiedBy>
  <cp:revision>839</cp:revision>
  <cp:lastPrinted>2013-04-24T07:51:27Z</cp:lastPrinted>
  <dcterms:created xsi:type="dcterms:W3CDTF">2012-10-10T06:43:02Z</dcterms:created>
  <dcterms:modified xsi:type="dcterms:W3CDTF">2013-05-06T05:5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734294641</vt:i4>
  </property>
  <property fmtid="{D5CDD505-2E9C-101B-9397-08002B2CF9AE}" pid="3" name="_NewReviewCycle">
    <vt:lpwstr/>
  </property>
  <property fmtid="{D5CDD505-2E9C-101B-9397-08002B2CF9AE}" pid="4" name="_EmailSubject">
    <vt:lpwstr>Industry/LOB Workshop on 17.-19. April 2013 - Agenda and Call for Content</vt:lpwstr>
  </property>
  <property fmtid="{D5CDD505-2E9C-101B-9397-08002B2CF9AE}" pid="5" name="_AuthorEmail">
    <vt:lpwstr>christian.hock@sap.com</vt:lpwstr>
  </property>
  <property fmtid="{D5CDD505-2E9C-101B-9397-08002B2CF9AE}" pid="6" name="_AuthorEmailDisplayName">
    <vt:lpwstr>Hock, Christian</vt:lpwstr>
  </property>
  <property fmtid="{D5CDD505-2E9C-101B-9397-08002B2CF9AE}" pid="7" name="_PreviousAdHocReviewCycleID">
    <vt:i4>-1364106585</vt:i4>
  </property>
</Properties>
</file>